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3.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4.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5.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6.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7.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8.xml" ContentType="application/vnd.openxmlformats-officedocument.theme+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5.xml" ContentType="application/vnd.openxmlformats-officedocument.presentationml.tags+xml"/>
  <Override PartName="/ppt/notesSlides/notesSlide36.xml" ContentType="application/vnd.openxmlformats-officedocument.presentationml.notesSlide+xml"/>
  <Override PartName="/ppt/tags/tag6.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7.xml" ContentType="application/vnd.openxmlformats-officedocument.presentationml.tags+xml"/>
  <Override PartName="/ppt/notesSlides/notesSlide39.xml" ContentType="application/vnd.openxmlformats-officedocument.presentationml.notesSlide+xml"/>
  <Override PartName="/ppt/tags/tag8.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803" r:id="rId2"/>
    <p:sldMasterId id="2147484175" r:id="rId3"/>
    <p:sldMasterId id="2147484216" r:id="rId4"/>
    <p:sldMasterId id="2147484255" r:id="rId5"/>
    <p:sldMasterId id="2147484298" r:id="rId6"/>
    <p:sldMasterId id="2147484342" r:id="rId7"/>
    <p:sldMasterId id="2147484363" r:id="rId8"/>
    <p:sldMasterId id="2147484433" r:id="rId9"/>
  </p:sldMasterIdLst>
  <p:notesMasterIdLst>
    <p:notesMasterId r:id="rId71"/>
  </p:notesMasterIdLst>
  <p:handoutMasterIdLst>
    <p:handoutMasterId r:id="rId72"/>
  </p:handoutMasterIdLst>
  <p:sldIdLst>
    <p:sldId id="792" r:id="rId10"/>
    <p:sldId id="448" r:id="rId11"/>
    <p:sldId id="661" r:id="rId12"/>
    <p:sldId id="258" r:id="rId13"/>
    <p:sldId id="793" r:id="rId14"/>
    <p:sldId id="317" r:id="rId15"/>
    <p:sldId id="330" r:id="rId16"/>
    <p:sldId id="337" r:id="rId17"/>
    <p:sldId id="669" r:id="rId18"/>
    <p:sldId id="304" r:id="rId19"/>
    <p:sldId id="626" r:id="rId20"/>
    <p:sldId id="343" r:id="rId21"/>
    <p:sldId id="348" r:id="rId22"/>
    <p:sldId id="722" r:id="rId23"/>
    <p:sldId id="723" r:id="rId24"/>
    <p:sldId id="361" r:id="rId25"/>
    <p:sldId id="798" r:id="rId26"/>
    <p:sldId id="1036" r:id="rId27"/>
    <p:sldId id="1080" r:id="rId28"/>
    <p:sldId id="2270" r:id="rId29"/>
    <p:sldId id="1081" r:id="rId30"/>
    <p:sldId id="4608" r:id="rId31"/>
    <p:sldId id="4610" r:id="rId32"/>
    <p:sldId id="4609" r:id="rId33"/>
    <p:sldId id="1082" r:id="rId34"/>
    <p:sldId id="1083" r:id="rId35"/>
    <p:sldId id="1085" r:id="rId36"/>
    <p:sldId id="1084" r:id="rId37"/>
    <p:sldId id="3446" r:id="rId38"/>
    <p:sldId id="590" r:id="rId39"/>
    <p:sldId id="3448" r:id="rId40"/>
    <p:sldId id="332" r:id="rId41"/>
    <p:sldId id="8382" r:id="rId42"/>
    <p:sldId id="276" r:id="rId43"/>
    <p:sldId id="2282" r:id="rId44"/>
    <p:sldId id="796" r:id="rId45"/>
    <p:sldId id="797" r:id="rId46"/>
    <p:sldId id="799" r:id="rId47"/>
    <p:sldId id="800" r:id="rId48"/>
    <p:sldId id="532" r:id="rId49"/>
    <p:sldId id="1079" r:id="rId50"/>
    <p:sldId id="1037" r:id="rId51"/>
    <p:sldId id="815" r:id="rId52"/>
    <p:sldId id="801" r:id="rId53"/>
    <p:sldId id="802" r:id="rId54"/>
    <p:sldId id="541" r:id="rId55"/>
    <p:sldId id="608" r:id="rId56"/>
    <p:sldId id="816" r:id="rId57"/>
    <p:sldId id="803" r:id="rId58"/>
    <p:sldId id="804" r:id="rId59"/>
    <p:sldId id="628" r:id="rId60"/>
    <p:sldId id="638" r:id="rId61"/>
    <p:sldId id="576" r:id="rId62"/>
    <p:sldId id="629" r:id="rId63"/>
    <p:sldId id="809" r:id="rId64"/>
    <p:sldId id="810" r:id="rId65"/>
    <p:sldId id="811" r:id="rId66"/>
    <p:sldId id="812" r:id="rId67"/>
    <p:sldId id="813" r:id="rId68"/>
    <p:sldId id="814" r:id="rId69"/>
    <p:sldId id="695" r:id="rId70"/>
  </p:sldIdLst>
  <p:sldSz cx="12192000" cy="6858000"/>
  <p:notesSz cx="7010400" cy="9296400"/>
  <p:defaultText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userDrawn="1">
          <p15:clr>
            <a:srgbClr val="A4A3A4"/>
          </p15:clr>
        </p15:guide>
        <p15:guide id="2" pos="2880" userDrawn="1">
          <p15:clr>
            <a:srgbClr val="A4A3A4"/>
          </p15:clr>
        </p15:guide>
        <p15:guide id="3" pos="7368" userDrawn="1">
          <p15:clr>
            <a:srgbClr val="A4A3A4"/>
          </p15:clr>
        </p15:guide>
        <p15:guide id="4" pos="141" userDrawn="1">
          <p15:clr>
            <a:srgbClr val="A4A3A4"/>
          </p15:clr>
        </p15:guide>
        <p15:guide id="5" orient="horz" pos="2160" userDrawn="1">
          <p15:clr>
            <a:srgbClr val="A4A3A4"/>
          </p15:clr>
        </p15:guide>
        <p15:guide id="6" pos="499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C04A"/>
    <a:srgbClr val="71BD44"/>
    <a:srgbClr val="000000"/>
    <a:srgbClr val="4F585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939" autoAdjust="0"/>
  </p:normalViewPr>
  <p:slideViewPr>
    <p:cSldViewPr>
      <p:cViewPr varScale="1">
        <p:scale>
          <a:sx n="114" d="100"/>
          <a:sy n="114" d="100"/>
        </p:scale>
        <p:origin x="474" y="114"/>
      </p:cViewPr>
      <p:guideLst>
        <p:guide orient="horz" pos="360"/>
        <p:guide pos="2880"/>
        <p:guide pos="7368"/>
        <p:guide pos="141"/>
        <p:guide orient="horz" pos="2160"/>
        <p:guide pos="4992"/>
      </p:guideLst>
    </p:cSldViewPr>
  </p:slideViewPr>
  <p:notesTextViewPr>
    <p:cViewPr>
      <p:scale>
        <a:sx n="3" d="2"/>
        <a:sy n="3" d="2"/>
      </p:scale>
      <p:origin x="0" y="0"/>
    </p:cViewPr>
  </p:notesTextViewPr>
  <p:sorterViewPr>
    <p:cViewPr>
      <p:scale>
        <a:sx n="200" d="100"/>
        <a:sy n="200" d="100"/>
      </p:scale>
      <p:origin x="0" y="0"/>
    </p:cViewPr>
  </p:sorterViewPr>
  <p:notesViewPr>
    <p:cSldViewPr>
      <p:cViewPr varScale="1">
        <p:scale>
          <a:sx n="74" d="100"/>
          <a:sy n="74" d="100"/>
        </p:scale>
        <p:origin x="2880"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018061164894899"/>
          <c:y val="0.18157543391188299"/>
          <c:w val="0.27963914599066197"/>
          <c:h val="0.63684913217623496"/>
        </c:manualLayout>
      </c:layout>
      <c:doughnutChart>
        <c:varyColors val="1"/>
        <c:ser>
          <c:idx val="0"/>
          <c:order val="0"/>
          <c:tx>
            <c:strRef>
              <c:f>Sheet1!$B$1</c:f>
              <c:strCache>
                <c:ptCount val="1"/>
                <c:pt idx="0">
                  <c:v>Column1</c:v>
                </c:pt>
              </c:strCache>
            </c:strRef>
          </c:tx>
          <c:spPr>
            <a:ln w="15875">
              <a:solidFill>
                <a:schemeClr val="bg1"/>
              </a:solidFill>
            </a:ln>
          </c:spPr>
          <c:dPt>
            <c:idx val="2"/>
            <c:bubble3D val="0"/>
            <c:spPr>
              <a:solidFill>
                <a:schemeClr val="bg2"/>
              </a:solidFill>
              <a:ln w="15875">
                <a:solidFill>
                  <a:schemeClr val="bg1"/>
                </a:solidFill>
              </a:ln>
            </c:spPr>
            <c:extLst>
              <c:ext xmlns:c16="http://schemas.microsoft.com/office/drawing/2014/chart" uri="{C3380CC4-5D6E-409C-BE32-E72D297353CC}">
                <c16:uniqueId val="{00000001-1091-44B0-8C8A-987EACD49BE8}"/>
              </c:ext>
            </c:extLst>
          </c:dPt>
          <c:dPt>
            <c:idx val="4"/>
            <c:bubble3D val="0"/>
            <c:spPr>
              <a:solidFill>
                <a:schemeClr val="accent5"/>
              </a:solidFill>
              <a:ln w="15875">
                <a:solidFill>
                  <a:schemeClr val="bg1"/>
                </a:solidFill>
              </a:ln>
            </c:spPr>
            <c:extLst>
              <c:ext xmlns:c16="http://schemas.microsoft.com/office/drawing/2014/chart" uri="{C3380CC4-5D6E-409C-BE32-E72D297353CC}">
                <c16:uniqueId val="{00000003-1091-44B0-8C8A-987EACD49BE8}"/>
              </c:ext>
            </c:extLst>
          </c:dPt>
          <c:dPt>
            <c:idx val="5"/>
            <c:bubble3D val="0"/>
            <c:spPr>
              <a:solidFill>
                <a:schemeClr val="accent3"/>
              </a:solidFill>
              <a:ln w="15875">
                <a:solidFill>
                  <a:schemeClr val="bg1"/>
                </a:solidFill>
              </a:ln>
            </c:spPr>
            <c:extLst>
              <c:ext xmlns:c16="http://schemas.microsoft.com/office/drawing/2014/chart" uri="{C3380CC4-5D6E-409C-BE32-E72D297353CC}">
                <c16:uniqueId val="{00000005-1091-44B0-8C8A-987EACD49BE8}"/>
              </c:ext>
            </c:extLst>
          </c:dPt>
          <c:dPt>
            <c:idx val="6"/>
            <c:bubble3D val="0"/>
            <c:spPr>
              <a:solidFill>
                <a:schemeClr val="accent6"/>
              </a:solidFill>
              <a:ln w="15875">
                <a:solidFill>
                  <a:schemeClr val="bg1"/>
                </a:solidFill>
              </a:ln>
            </c:spPr>
            <c:extLst>
              <c:ext xmlns:c16="http://schemas.microsoft.com/office/drawing/2014/chart" uri="{C3380CC4-5D6E-409C-BE32-E72D297353CC}">
                <c16:uniqueId val="{00000007-1091-44B0-8C8A-987EACD49BE8}"/>
              </c:ext>
            </c:extLst>
          </c:dPt>
          <c:cat>
            <c:strRef>
              <c:f>Sheet1!$A$2:$A$8</c:f>
              <c:strCache>
                <c:ptCount val="7"/>
                <c:pt idx="0">
                  <c:v>Life Sciences</c:v>
                </c:pt>
                <c:pt idx="1">
                  <c:v>Industrial Products</c:v>
                </c:pt>
                <c:pt idx="2">
                  <c:v>Federal, Aerospace &amp; Defense</c:v>
                </c:pt>
                <c:pt idx="3">
                  <c:v>Electronics and High Tech</c:v>
                </c:pt>
                <c:pt idx="4">
                  <c:v>Automotive</c:v>
                </c:pt>
                <c:pt idx="5">
                  <c:v>Retail &amp; Consumer</c:v>
                </c:pt>
                <c:pt idx="6">
                  <c:v>Other</c:v>
                </c:pt>
              </c:strCache>
            </c:strRef>
          </c:cat>
          <c:val>
            <c:numRef>
              <c:f>Sheet1!$B$2:$B$8</c:f>
              <c:numCache>
                <c:formatCode>General</c:formatCode>
                <c:ptCount val="7"/>
                <c:pt idx="0">
                  <c:v>0.05</c:v>
                </c:pt>
                <c:pt idx="1">
                  <c:v>0.32</c:v>
                </c:pt>
                <c:pt idx="2">
                  <c:v>0.15</c:v>
                </c:pt>
                <c:pt idx="3">
                  <c:v>0.16</c:v>
                </c:pt>
                <c:pt idx="4">
                  <c:v>0.14000000000000001</c:v>
                </c:pt>
                <c:pt idx="5">
                  <c:v>0.08</c:v>
                </c:pt>
                <c:pt idx="6">
                  <c:v>0.1</c:v>
                </c:pt>
              </c:numCache>
            </c:numRef>
          </c:val>
          <c:extLst>
            <c:ext xmlns:c16="http://schemas.microsoft.com/office/drawing/2014/chart" uri="{C3380CC4-5D6E-409C-BE32-E72D297353CC}">
              <c16:uniqueId val="{00000000-8394-45D5-9BF8-5B3FC459DFAF}"/>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bg2"/>
              </a:solidFill>
              <a:ln w="19050">
                <a:noFill/>
              </a:ln>
              <a:effectLst/>
            </c:spPr>
            <c:extLst>
              <c:ext xmlns:c16="http://schemas.microsoft.com/office/drawing/2014/chart" uri="{C3380CC4-5D6E-409C-BE32-E72D297353CC}">
                <c16:uniqueId val="{00000001-0F55-48C6-BB22-ED298CBBA44A}"/>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0F55-48C6-BB22-ED298CBBA44A}"/>
              </c:ext>
            </c:extLst>
          </c:dPt>
          <c:dPt>
            <c:idx val="2"/>
            <c:bubble3D val="0"/>
            <c:spPr>
              <a:solidFill>
                <a:schemeClr val="tx2">
                  <a:lumMod val="40000"/>
                  <a:lumOff val="60000"/>
                </a:schemeClr>
              </a:solidFill>
              <a:ln w="19050">
                <a:noFill/>
              </a:ln>
              <a:effectLst/>
            </c:spPr>
            <c:extLst>
              <c:ext xmlns:c16="http://schemas.microsoft.com/office/drawing/2014/chart" uri="{C3380CC4-5D6E-409C-BE32-E72D297353CC}">
                <c16:uniqueId val="{00000005-0F55-48C6-BB22-ED298CBBA44A}"/>
              </c:ext>
            </c:extLst>
          </c:dPt>
          <c:dPt>
            <c:idx val="3"/>
            <c:bubble3D val="0"/>
            <c:spPr>
              <a:solidFill>
                <a:schemeClr val="tx2">
                  <a:lumMod val="60000"/>
                  <a:lumOff val="40000"/>
                </a:schemeClr>
              </a:solidFill>
              <a:ln w="19050">
                <a:noFill/>
              </a:ln>
              <a:effectLst/>
            </c:spPr>
            <c:extLst>
              <c:ext xmlns:c16="http://schemas.microsoft.com/office/drawing/2014/chart" uri="{C3380CC4-5D6E-409C-BE32-E72D297353CC}">
                <c16:uniqueId val="{00000007-0F55-48C6-BB22-ED298CBBA44A}"/>
              </c:ext>
            </c:extLst>
          </c:dPt>
          <c:dPt>
            <c:idx val="4"/>
            <c:bubble3D val="0"/>
            <c:spPr>
              <a:solidFill>
                <a:schemeClr val="bg1">
                  <a:lumMod val="75000"/>
                </a:schemeClr>
              </a:solidFill>
              <a:ln w="19050">
                <a:noFill/>
              </a:ln>
              <a:effectLst/>
            </c:spPr>
            <c:extLst>
              <c:ext xmlns:c16="http://schemas.microsoft.com/office/drawing/2014/chart" uri="{C3380CC4-5D6E-409C-BE32-E72D297353CC}">
                <c16:uniqueId val="{00000009-0F55-48C6-BB22-ED298CBBA44A}"/>
              </c:ext>
            </c:extLst>
          </c:dPt>
          <c:dPt>
            <c:idx val="5"/>
            <c:bubble3D val="0"/>
            <c:spPr>
              <a:solidFill>
                <a:schemeClr val="bg1">
                  <a:lumMod val="65000"/>
                </a:schemeClr>
              </a:solidFill>
              <a:ln w="19050">
                <a:noFill/>
              </a:ln>
              <a:effectLst/>
            </c:spPr>
            <c:extLst>
              <c:ext xmlns:c16="http://schemas.microsoft.com/office/drawing/2014/chart" uri="{C3380CC4-5D6E-409C-BE32-E72D297353CC}">
                <c16:uniqueId val="{0000000B-0F55-48C6-BB22-ED298CBBA44A}"/>
              </c:ext>
            </c:extLst>
          </c:dPt>
          <c:dPt>
            <c:idx val="6"/>
            <c:bubble3D val="0"/>
            <c:spPr>
              <a:solidFill>
                <a:schemeClr val="bg1">
                  <a:lumMod val="50000"/>
                </a:schemeClr>
              </a:solidFill>
              <a:ln w="19050">
                <a:noFill/>
              </a:ln>
              <a:effectLst/>
            </c:spPr>
            <c:extLst>
              <c:ext xmlns:c16="http://schemas.microsoft.com/office/drawing/2014/chart" uri="{C3380CC4-5D6E-409C-BE32-E72D297353CC}">
                <c16:uniqueId val="{0000000D-0F55-48C6-BB22-ED298CBBA44A}"/>
              </c:ext>
            </c:extLst>
          </c:dPt>
          <c:cat>
            <c:strRef>
              <c:f>Sheet1!$A$2:$A$8</c:f>
              <c:strCache>
                <c:ptCount val="7"/>
                <c:pt idx="0">
                  <c:v>Vuforia</c:v>
                </c:pt>
                <c:pt idx="1">
                  <c:v>Metaio</c:v>
                </c:pt>
                <c:pt idx="2">
                  <c:v>Wikitude</c:v>
                </c:pt>
                <c:pt idx="3">
                  <c:v>ARToolKit</c:v>
                </c:pt>
                <c:pt idx="4">
                  <c:v>Catchoom</c:v>
                </c:pt>
                <c:pt idx="5">
                  <c:v>EasyAR</c:v>
                </c:pt>
                <c:pt idx="6">
                  <c:v>Other</c:v>
                </c:pt>
              </c:strCache>
            </c:strRef>
          </c:cat>
          <c:val>
            <c:numRef>
              <c:f>Sheet1!$B$2:$B$8</c:f>
              <c:numCache>
                <c:formatCode>General</c:formatCode>
                <c:ptCount val="7"/>
                <c:pt idx="0">
                  <c:v>0.81</c:v>
                </c:pt>
                <c:pt idx="1">
                  <c:v>0.03</c:v>
                </c:pt>
                <c:pt idx="2">
                  <c:v>0.03</c:v>
                </c:pt>
                <c:pt idx="3">
                  <c:v>0.01</c:v>
                </c:pt>
                <c:pt idx="4">
                  <c:v>0.01</c:v>
                </c:pt>
                <c:pt idx="5">
                  <c:v>0.01</c:v>
                </c:pt>
                <c:pt idx="6">
                  <c:v>0.1</c:v>
                </c:pt>
              </c:numCache>
            </c:numRef>
          </c:val>
          <c:extLst>
            <c:ext xmlns:c16="http://schemas.microsoft.com/office/drawing/2014/chart" uri="{C3380CC4-5D6E-409C-BE32-E72D297353CC}">
              <c16:uniqueId val="{0000000E-0F55-48C6-BB22-ED298CBBA44A}"/>
            </c:ext>
          </c:extLst>
        </c:ser>
        <c:dLbls>
          <c:showLegendKey val="0"/>
          <c:showVal val="0"/>
          <c:showCatName val="0"/>
          <c:showSerName val="0"/>
          <c:showPercent val="0"/>
          <c:showBubbleSize val="0"/>
          <c:showLeaderLines val="1"/>
        </c:dLbls>
        <c:firstSliceAng val="36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413" cy="465781"/>
          </a:xfrm>
          <a:prstGeom prst="rect">
            <a:avLst/>
          </a:prstGeom>
        </p:spPr>
        <p:txBody>
          <a:bodyPr vert="horz" lIns="92226" tIns="46113" rIns="92226" bIns="46113" rtlCol="0"/>
          <a:lstStyle>
            <a:lvl1pPr algn="l">
              <a:defRPr sz="1200"/>
            </a:lvl1pPr>
          </a:lstStyle>
          <a:p>
            <a:endParaRPr lang="en-US" dirty="0"/>
          </a:p>
        </p:txBody>
      </p:sp>
      <p:sp>
        <p:nvSpPr>
          <p:cNvPr id="3" name="Date Placeholder 2"/>
          <p:cNvSpPr>
            <a:spLocks noGrp="1"/>
          </p:cNvSpPr>
          <p:nvPr>
            <p:ph type="dt" sz="quarter" idx="1"/>
          </p:nvPr>
        </p:nvSpPr>
        <p:spPr>
          <a:xfrm>
            <a:off x="3971386" y="0"/>
            <a:ext cx="3037413" cy="465781"/>
          </a:xfrm>
          <a:prstGeom prst="rect">
            <a:avLst/>
          </a:prstGeom>
        </p:spPr>
        <p:txBody>
          <a:bodyPr vert="horz" lIns="92226" tIns="46113" rIns="92226" bIns="46113" rtlCol="0"/>
          <a:lstStyle>
            <a:lvl1pPr algn="r">
              <a:defRPr sz="1200"/>
            </a:lvl1pPr>
          </a:lstStyle>
          <a:p>
            <a:fld id="{05F7DC6E-5AF3-42A8-A7B3-5C7109695AA3}" type="datetimeFigureOut">
              <a:rPr lang="en-US" smtClean="0"/>
              <a:t>6/26/2020</a:t>
            </a:fld>
            <a:endParaRPr lang="en-US" dirty="0"/>
          </a:p>
        </p:txBody>
      </p:sp>
      <p:sp>
        <p:nvSpPr>
          <p:cNvPr id="4" name="Footer Placeholder 3"/>
          <p:cNvSpPr>
            <a:spLocks noGrp="1"/>
          </p:cNvSpPr>
          <p:nvPr>
            <p:ph type="ftr" sz="quarter" idx="2"/>
          </p:nvPr>
        </p:nvSpPr>
        <p:spPr>
          <a:xfrm>
            <a:off x="0" y="8830620"/>
            <a:ext cx="3037413" cy="465780"/>
          </a:xfrm>
          <a:prstGeom prst="rect">
            <a:avLst/>
          </a:prstGeom>
        </p:spPr>
        <p:txBody>
          <a:bodyPr vert="horz" lIns="92226" tIns="46113" rIns="92226" bIns="4611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1386" y="8830620"/>
            <a:ext cx="3037413" cy="465780"/>
          </a:xfrm>
          <a:prstGeom prst="rect">
            <a:avLst/>
          </a:prstGeom>
        </p:spPr>
        <p:txBody>
          <a:bodyPr vert="horz" lIns="92226" tIns="46113" rIns="92226" bIns="46113" rtlCol="0" anchor="b"/>
          <a:lstStyle>
            <a:lvl1pPr algn="r">
              <a:defRPr sz="1200"/>
            </a:lvl1pPr>
          </a:lstStyle>
          <a:p>
            <a:fld id="{062EFBA0-EA7E-4C23-A42F-D4BB1AE24E77}" type="slidenum">
              <a:rPr lang="en-US" smtClean="0"/>
              <a:t>‹#›</a:t>
            </a:fld>
            <a:endParaRPr lang="en-US" dirty="0"/>
          </a:p>
        </p:txBody>
      </p:sp>
    </p:spTree>
    <p:extLst>
      <p:ext uri="{BB962C8B-B14F-4D97-AF65-F5344CB8AC3E}">
        <p14:creationId xmlns:p14="http://schemas.microsoft.com/office/powerpoint/2010/main" val="40687729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5536EAFB-1BD7-40DB-8862-16B432381D1F}" type="datetimeFigureOut">
              <a:rPr lang="en-US" smtClean="0"/>
              <a:t>6/26/20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DE318937-AB7C-4156-A7EA-6F6EF7A06D51}" type="slidenum">
              <a:rPr lang="en-US" smtClean="0"/>
              <a:t>‹#›</a:t>
            </a:fld>
            <a:endParaRPr lang="en-US"/>
          </a:p>
        </p:txBody>
      </p:sp>
    </p:spTree>
    <p:extLst>
      <p:ext uri="{BB962C8B-B14F-4D97-AF65-F5344CB8AC3E}">
        <p14:creationId xmlns:p14="http://schemas.microsoft.com/office/powerpoint/2010/main" val="17423282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B9DC8F7E-B6E9-4E09-9B72-9F38DA1C3D1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32238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09CD8D84-2332-44B3-A8E2-D27327E80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47" name="Rectangle 2"/>
          <p:cNvSpPr>
            <a:spLocks noGrp="1" noRot="1" noChangeAspect="1" noChangeArrowheads="1" noTextEdit="1"/>
          </p:cNvSpPr>
          <p:nvPr>
            <p:ph type="sldImg"/>
          </p:nvPr>
        </p:nvSpPr>
        <p:spPr>
          <a:xfrm>
            <a:off x="203200" y="377825"/>
            <a:ext cx="6492875" cy="3652838"/>
          </a:xfrm>
          <a:ln/>
        </p:spPr>
      </p:sp>
      <p:sp>
        <p:nvSpPr>
          <p:cNvPr id="31748" name="Rectangle 3"/>
          <p:cNvSpPr>
            <a:spLocks noGrp="1" noChangeArrowheads="1"/>
          </p:cNvSpPr>
          <p:nvPr>
            <p:ph type="body" idx="1"/>
          </p:nvPr>
        </p:nvSpPr>
        <p:spPr>
          <a:xfrm>
            <a:off x="380704" y="4184995"/>
            <a:ext cx="6257873" cy="4636866"/>
          </a:xfrm>
          <a:noFill/>
          <a:ln/>
        </p:spPr>
        <p:txBody>
          <a:bodyPr lIns="91019" tIns="45512" rIns="91019" bIns="45512"/>
          <a:lstStyle/>
          <a:p>
            <a:pPr eaLnBrk="1" hangingPunct="1"/>
            <a:r>
              <a:rPr lang="en-US" dirty="0"/>
              <a:t>PTC’s customers include some of the most recognized brands across industries</a:t>
            </a:r>
          </a:p>
          <a:p>
            <a:pPr eaLnBrk="1" hangingPunct="1"/>
            <a:endParaRPr lang="en-US" dirty="0"/>
          </a:p>
          <a:p>
            <a:pPr eaLnBrk="1" hangingPunct="1"/>
            <a:endParaRPr lang="en-US" dirty="0"/>
          </a:p>
        </p:txBody>
      </p:sp>
    </p:spTree>
    <p:extLst>
      <p:ext uri="{BB962C8B-B14F-4D97-AF65-F5344CB8AC3E}">
        <p14:creationId xmlns:p14="http://schemas.microsoft.com/office/powerpoint/2010/main" val="41594928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09CD8D84-2332-44B3-A8E2-D27327E80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47" name="Rectangle 2"/>
          <p:cNvSpPr>
            <a:spLocks noGrp="1" noRot="1" noChangeAspect="1" noChangeArrowheads="1" noTextEdit="1"/>
          </p:cNvSpPr>
          <p:nvPr>
            <p:ph type="sldImg"/>
          </p:nvPr>
        </p:nvSpPr>
        <p:spPr>
          <a:xfrm>
            <a:off x="211138" y="377825"/>
            <a:ext cx="6486525" cy="3657600"/>
          </a:xfrm>
          <a:ln/>
        </p:spPr>
      </p:sp>
      <p:sp>
        <p:nvSpPr>
          <p:cNvPr id="31748" name="Rectangle 3"/>
          <p:cNvSpPr>
            <a:spLocks noGrp="1" noChangeArrowheads="1"/>
          </p:cNvSpPr>
          <p:nvPr>
            <p:ph type="body" idx="1"/>
          </p:nvPr>
        </p:nvSpPr>
        <p:spPr>
          <a:xfrm>
            <a:off x="381221" y="4189283"/>
            <a:ext cx="6266376" cy="4641617"/>
          </a:xfrm>
          <a:noFill/>
          <a:ln/>
        </p:spPr>
        <p:txBody>
          <a:bodyPr lIns="91119" tIns="45562" rIns="91119" bIns="45562"/>
          <a:lstStyle/>
          <a:p>
            <a:r>
              <a:rPr lang="en-US" dirty="0"/>
              <a:t>Given all the change in the way things are created and all the value and even disruption that can be created by the Internet of Things, companies are looking for help with their transformation to remain relevant and competitive in this new world. </a:t>
            </a:r>
          </a:p>
          <a:p>
            <a:endParaRPr lang="en-US" dirty="0"/>
          </a:p>
          <a:p>
            <a:r>
              <a:rPr lang="en-US" dirty="0"/>
              <a:t>PTC  can help them. We are a provider both of next-generation technology platforms, vertical enterprise applications for the manufacturing industry,</a:t>
            </a:r>
            <a:r>
              <a:rPr lang="en-US" baseline="0" dirty="0"/>
              <a:t> and have assembled a vibrant ecosystem of developers and partners.</a:t>
            </a:r>
            <a:endParaRPr lang="en-US" dirty="0"/>
          </a:p>
          <a:p>
            <a:pPr eaLnBrk="1" hangingPunct="1"/>
            <a:endParaRPr lang="en-US" dirty="0"/>
          </a:p>
        </p:txBody>
      </p:sp>
    </p:spTree>
    <p:extLst>
      <p:ext uri="{BB962C8B-B14F-4D97-AF65-F5344CB8AC3E}">
        <p14:creationId xmlns:p14="http://schemas.microsoft.com/office/powerpoint/2010/main" val="2842021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sz="1200" b="1" u="sng" dirty="0"/>
              <a:t>Source</a:t>
            </a:r>
            <a:r>
              <a:rPr lang="en-US" sz="1200" dirty="0"/>
              <a:t> </a:t>
            </a:r>
            <a:r>
              <a:rPr lang="mr-IN" sz="1200" dirty="0"/>
              <a:t>–</a:t>
            </a:r>
            <a:r>
              <a:rPr lang="en-US" sz="1200" dirty="0"/>
              <a:t> Incorporate and aggregate data from anywhere – directly from </a:t>
            </a:r>
            <a:r>
              <a:rPr lang="en-US" sz="1200" dirty="0" err="1"/>
              <a:t>sensored</a:t>
            </a:r>
            <a:r>
              <a:rPr lang="en-US" sz="1200" dirty="0"/>
              <a:t> products and systems, from PLCs, IoT gateways on the factory floor, from existing product clouds, from your 3D design and engineering systems, and from other business systems like CRM, ERP and PLM.</a:t>
            </a:r>
            <a:endParaRPr lang="en-US" sz="1200" b="1" u="sng" dirty="0"/>
          </a:p>
          <a:p>
            <a:pPr marL="285750" indent="-285750">
              <a:buFont typeface="Arial"/>
              <a:buChar char="•"/>
            </a:pPr>
            <a:r>
              <a:rPr lang="en-US" sz="1200" b="1" u="sng" dirty="0"/>
              <a:t>Contextualize</a:t>
            </a:r>
            <a:r>
              <a:rPr lang="en-US" sz="1200" dirty="0"/>
              <a:t> </a:t>
            </a:r>
            <a:r>
              <a:rPr lang="mr-IN" sz="1200" dirty="0"/>
              <a:t>–</a:t>
            </a:r>
            <a:r>
              <a:rPr lang="en-US" sz="1200" dirty="0"/>
              <a:t> Structure the data in a way that makes sense - organize digital data from your physical systems and products, and enrich it with additional data, like 3D geometry, essentially creating a digital twin</a:t>
            </a:r>
            <a:endParaRPr lang="en-US" sz="1200" b="1" u="sng" dirty="0"/>
          </a:p>
          <a:p>
            <a:pPr marL="285750" indent="-285750">
              <a:buFont typeface="Arial"/>
              <a:buChar char="•"/>
            </a:pPr>
            <a:r>
              <a:rPr lang="en-US" sz="1200" b="1" u="sng" dirty="0"/>
              <a:t>Synthesize</a:t>
            </a:r>
            <a:r>
              <a:rPr lang="en-US" sz="1200" dirty="0"/>
              <a:t> </a:t>
            </a:r>
            <a:r>
              <a:rPr lang="mr-IN" sz="1200" dirty="0"/>
              <a:t>–</a:t>
            </a:r>
            <a:r>
              <a:rPr lang="en-US" sz="1200" dirty="0"/>
              <a:t> Gain valuable insight – analyze, simulate and predict physical product and system behaviors and performance using included analytics capabilities or third party tools.</a:t>
            </a:r>
            <a:endParaRPr lang="en-US" sz="1200" b="1" u="sng" dirty="0"/>
          </a:p>
          <a:p>
            <a:pPr marL="285750" indent="-285750">
              <a:buFont typeface="Arial"/>
              <a:buChar char="•"/>
            </a:pPr>
            <a:r>
              <a:rPr lang="en-US" sz="1200" b="1" u="sng" dirty="0"/>
              <a:t>Orchestrate</a:t>
            </a:r>
            <a:r>
              <a:rPr lang="en-US" sz="1200" dirty="0"/>
              <a:t> </a:t>
            </a:r>
            <a:r>
              <a:rPr lang="mr-IN" sz="1200" dirty="0"/>
              <a:t>–</a:t>
            </a:r>
            <a:r>
              <a:rPr lang="en-US" sz="1200" dirty="0"/>
              <a:t> Drive action and results in physical and digital systems - automate processes that connect business systems data, products and physical operations.</a:t>
            </a:r>
            <a:endParaRPr lang="en-US" sz="1200" b="1" u="sng" dirty="0"/>
          </a:p>
          <a:p>
            <a:pPr marL="285750" indent="-285750">
              <a:buFont typeface="Arial"/>
              <a:buChar char="•"/>
            </a:pPr>
            <a:r>
              <a:rPr lang="en-US" sz="1200" b="1" u="sng" dirty="0"/>
              <a:t>Engage</a:t>
            </a:r>
            <a:r>
              <a:rPr lang="en-US" sz="1200" dirty="0"/>
              <a:t> </a:t>
            </a:r>
            <a:r>
              <a:rPr lang="mr-IN" sz="1200" dirty="0"/>
              <a:t>–</a:t>
            </a:r>
            <a:r>
              <a:rPr lang="en-US" sz="1200" dirty="0"/>
              <a:t> Enable people to better perform and make decisions – clearly present relevant, compelling information on desktop, web &amp; mobile apps </a:t>
            </a:r>
            <a:r>
              <a:rPr lang="mr-IN" sz="1200" dirty="0"/>
              <a:t>–</a:t>
            </a:r>
            <a:r>
              <a:rPr lang="en-US" sz="1200" dirty="0"/>
              <a:t> as well as cutting-edge augmented reality experiences</a:t>
            </a:r>
          </a:p>
          <a:p>
            <a:pPr marL="285750" indent="-285750">
              <a:buFont typeface="Arial"/>
              <a:buChar char="•"/>
            </a:pPr>
            <a:endParaRPr lang="en-US" sz="1200" dirty="0"/>
          </a:p>
          <a:p>
            <a:pPr marL="0" indent="0">
              <a:buFont typeface="Arial"/>
              <a:buNone/>
            </a:pPr>
            <a:r>
              <a:rPr lang="en-US" sz="1200" dirty="0"/>
              <a:t>Architecture, Engineering and Construction (AEC)</a:t>
            </a:r>
          </a:p>
          <a:p>
            <a:pPr marL="0" indent="0">
              <a:buFont typeface="Arial"/>
              <a:buNone/>
            </a:pPr>
            <a:r>
              <a:rPr lang="en-US" sz="1200" dirty="0"/>
              <a:t>Building Information Modeling (BIM)</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Building Information Management (BIM)</a:t>
            </a:r>
          </a:p>
          <a:p>
            <a:endParaRPr lang="en-US"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FFD4A0EB-2764-45D9-A11B-14FCC09392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3032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4538"/>
            <a:ext cx="6619875" cy="3724275"/>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8137935-FE62-465D-8303-6AC26997D79D}" type="slidenum">
              <a:rPr lang="en-CA" smtClean="0">
                <a:solidFill>
                  <a:prstClr val="black"/>
                </a:solidFill>
              </a:rPr>
              <a:pPr/>
              <a:t>18</a:t>
            </a:fld>
            <a:endParaRPr lang="en-CA">
              <a:solidFill>
                <a:prstClr val="black"/>
              </a:solidFill>
            </a:endParaRPr>
          </a:p>
        </p:txBody>
      </p:sp>
    </p:spTree>
    <p:extLst>
      <p:ext uri="{BB962C8B-B14F-4D97-AF65-F5344CB8AC3E}">
        <p14:creationId xmlns:p14="http://schemas.microsoft.com/office/powerpoint/2010/main" val="36219408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4538"/>
            <a:ext cx="6619875" cy="3724275"/>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8137935-FE62-465D-8303-6AC26997D79D}" type="slidenum">
              <a:rPr lang="en-CA" smtClean="0">
                <a:solidFill>
                  <a:prstClr val="black"/>
                </a:solidFill>
              </a:rPr>
              <a:pPr/>
              <a:t>19</a:t>
            </a:fld>
            <a:endParaRPr lang="en-CA">
              <a:solidFill>
                <a:prstClr val="black"/>
              </a:solidFill>
            </a:endParaRPr>
          </a:p>
        </p:txBody>
      </p:sp>
    </p:spTree>
    <p:extLst>
      <p:ext uri="{BB962C8B-B14F-4D97-AF65-F5344CB8AC3E}">
        <p14:creationId xmlns:p14="http://schemas.microsoft.com/office/powerpoint/2010/main" val="23419329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p:txBody>
      </p:sp>
      <p:sp>
        <p:nvSpPr>
          <p:cNvPr id="4" name="Slide Number Placeholder 3"/>
          <p:cNvSpPr>
            <a:spLocks noGrp="1"/>
          </p:cNvSpPr>
          <p:nvPr>
            <p:ph type="sldNum" sz="quarter" idx="5"/>
          </p:nvPr>
        </p:nvSpPr>
        <p:spPr/>
        <p:txBody>
          <a:bodyPr/>
          <a:lstStyle/>
          <a:p>
            <a:fld id="{94BFB343-D0C4-477D-BD89-382A4ADCE2F8}" type="slidenum">
              <a:rPr lang="en-US" smtClean="0"/>
              <a:t>20</a:t>
            </a:fld>
            <a:endParaRPr lang="en-US"/>
          </a:p>
        </p:txBody>
      </p:sp>
    </p:spTree>
    <p:extLst>
      <p:ext uri="{BB962C8B-B14F-4D97-AF65-F5344CB8AC3E}">
        <p14:creationId xmlns:p14="http://schemas.microsoft.com/office/powerpoint/2010/main" val="12530114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F6CFA2-E031-4982-97B7-5ABD811C6623}" type="slidenum">
              <a:rPr lang="en-US" smtClean="0"/>
              <a:pPr/>
              <a:t>23</a:t>
            </a:fld>
            <a:endParaRPr lang="en-US"/>
          </a:p>
        </p:txBody>
      </p:sp>
    </p:spTree>
    <p:extLst>
      <p:ext uri="{BB962C8B-B14F-4D97-AF65-F5344CB8AC3E}">
        <p14:creationId xmlns:p14="http://schemas.microsoft.com/office/powerpoint/2010/main" val="17964863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303">
              <a:defRPr/>
            </a:pPr>
            <a:r>
              <a:rPr lang="en-US" dirty="0"/>
              <a:t>To</a:t>
            </a:r>
            <a:r>
              <a:rPr lang="en-US" baseline="0" dirty="0"/>
              <a:t> summarize and conclude:</a:t>
            </a:r>
          </a:p>
          <a:p>
            <a:pPr defTabSz="913303">
              <a:defRPr/>
            </a:pPr>
            <a:endParaRPr lang="en-US" baseline="0" dirty="0"/>
          </a:p>
          <a:p>
            <a:pPr marL="171244" indent="-171244" defTabSz="913303">
              <a:buFont typeface="Arial" panose="020B0604020202020204" pitchFamily="34" charset="0"/>
              <a:buChar char="•"/>
              <a:defRPr/>
            </a:pPr>
            <a:r>
              <a:rPr lang="en-US" dirty="0"/>
              <a:t>PTC is UNIQUELY POSITIONED to help you capitalize</a:t>
            </a:r>
            <a:r>
              <a:rPr lang="en-US" baseline="0" dirty="0"/>
              <a:t> on the opportunity created by this physical and digital convergence by providing BOTH Solutions and a Platform, that extend and multiply the value of each. </a:t>
            </a:r>
          </a:p>
          <a:p>
            <a:pPr marL="171244" indent="-171244" defTabSz="913303">
              <a:buFont typeface="Arial" panose="020B0604020202020204" pitchFamily="34" charset="0"/>
              <a:buChar char="•"/>
              <a:defRPr/>
            </a:pPr>
            <a:r>
              <a:rPr lang="en-US" baseline="0" dirty="0"/>
              <a:t>This provides customers with BOTH complete Solutions &amp; a Platform to build your own</a:t>
            </a:r>
          </a:p>
          <a:p>
            <a:pPr marL="171244" indent="-171244" defTabSz="913303">
              <a:buFont typeface="Arial" panose="020B0604020202020204" pitchFamily="34" charset="0"/>
              <a:buChar char="•"/>
              <a:defRPr/>
            </a:pPr>
            <a:r>
              <a:rPr lang="en-US" dirty="0"/>
              <a:t>This</a:t>
            </a:r>
            <a:r>
              <a:rPr lang="en-US" baseline="0" dirty="0"/>
              <a:t> </a:t>
            </a:r>
            <a:r>
              <a:rPr lang="en-US" dirty="0"/>
              <a:t>broad</a:t>
            </a:r>
            <a:r>
              <a:rPr lang="en-US" baseline="0" dirty="0"/>
              <a:t> set of capabilities enables developers and solution builders to connect their devices, analyze them, implement applications and user interfaces, manage and remotely control devices, and deliver new types of experiences through technologies like augmented reality. All on a secure and scalable architecture.</a:t>
            </a:r>
          </a:p>
          <a:p>
            <a:pPr marL="171244" indent="-171244" defTabSz="913303">
              <a:buFont typeface="Arial" panose="020B0604020202020204" pitchFamily="34" charset="0"/>
              <a:buChar char="•"/>
              <a:defRPr/>
            </a:pPr>
            <a:r>
              <a:rPr lang="en-US" baseline="0" dirty="0"/>
              <a:t>No other platform in the market provides this many integrated capabilities in one place – making solution development quick, and time-to-market faster.</a:t>
            </a:r>
          </a:p>
          <a:p>
            <a:pPr marL="171244" indent="-171244" defTabSz="913303">
              <a:buFont typeface="Arial" panose="020B0604020202020204" pitchFamily="34" charset="0"/>
              <a:buChar char="•"/>
              <a:defRPr/>
            </a:pPr>
            <a:r>
              <a:rPr lang="en-US" baseline="0" dirty="0"/>
              <a:t>Solutions built on ThingWorx help enterprises make money, save money and reduce risk all from one, integrated platform.</a:t>
            </a:r>
          </a:p>
        </p:txBody>
      </p:sp>
      <p:sp>
        <p:nvSpPr>
          <p:cNvPr id="4" name="Slide Number Placeholder 3"/>
          <p:cNvSpPr>
            <a:spLocks noGrp="1"/>
          </p:cNvSpPr>
          <p:nvPr>
            <p:ph type="sldNum" sz="quarter" idx="10"/>
          </p:nvPr>
        </p:nvSpPr>
        <p:spPr/>
        <p:txBody>
          <a:bodyPr/>
          <a:lstStyle/>
          <a:p>
            <a:fld id="{13106E9B-4521-40D2-92B0-11D9407C5A35}" type="slidenum">
              <a:rPr lang="en-US" smtClean="0"/>
              <a:t>27</a:t>
            </a:fld>
            <a:endParaRPr lang="en-US" dirty="0"/>
          </a:p>
        </p:txBody>
      </p:sp>
    </p:spTree>
    <p:extLst>
      <p:ext uri="{BB962C8B-B14F-4D97-AF65-F5344CB8AC3E}">
        <p14:creationId xmlns:p14="http://schemas.microsoft.com/office/powerpoint/2010/main" val="650014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New in 8.3</a:t>
            </a:r>
          </a:p>
          <a:p>
            <a:pPr marL="171450" indent="-171450">
              <a:buFont typeface="Arial" panose="020B0604020202020204" pitchFamily="34" charset="0"/>
              <a:buChar char="•"/>
            </a:pPr>
            <a:r>
              <a:rPr lang="en-US"/>
              <a:t>A variety of </a:t>
            </a:r>
            <a:r>
              <a:rPr lang="en-US" sz="1200" kern="1200">
                <a:solidFill>
                  <a:schemeClr val="tx1"/>
                </a:solidFill>
                <a:effectLst/>
                <a:latin typeface="+mn-lt"/>
                <a:ea typeface="+mn-ea"/>
                <a:cs typeface="+mn-cs"/>
              </a:rPr>
              <a:t>pre-built calculations and other transformations useful in both general IoT application development and as a preparation step in changing raw data into something useful for predictive analytics training and scor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The calculation and transform services are augmented by statistical monitoring calculations commonly used in manufacturing and other applications to monitor data and determine if it stays in statistical control</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fld id="{DE61FF3F-42C5-41F5-B1B5-2F6ED29D10F2}" type="slidenum">
              <a:rPr lang="en-US" smtClean="0"/>
              <a:t>29</a:t>
            </a:fld>
            <a:endParaRPr lang="en-US"/>
          </a:p>
        </p:txBody>
      </p:sp>
    </p:spTree>
    <p:extLst>
      <p:ext uri="{BB962C8B-B14F-4D97-AF65-F5344CB8AC3E}">
        <p14:creationId xmlns:p14="http://schemas.microsoft.com/office/powerpoint/2010/main" val="35734680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3" name="Rectangle 2"/>
          <p:cNvSpPr>
            <a:spLocks noGrp="1" noRot="1" noChangeAspect="1" noChangeArrowheads="1" noTextEdit="1"/>
          </p:cNvSpPr>
          <p:nvPr>
            <p:ph type="sldImg"/>
          </p:nvPr>
        </p:nvSpPr>
        <p:spPr>
          <a:ln/>
        </p:spPr>
      </p:sp>
      <p:sp>
        <p:nvSpPr>
          <p:cNvPr id="202754" name="Rectangle 3"/>
          <p:cNvSpPr>
            <a:spLocks noGrp="1" noChangeArrowheads="1"/>
          </p:cNvSpPr>
          <p:nvPr>
            <p:ph type="body" idx="1"/>
          </p:nvPr>
        </p:nvSpPr>
        <p:spPr>
          <a:xfrm>
            <a:off x="702788" y="4424885"/>
            <a:ext cx="5623892" cy="4191236"/>
          </a:xfrm>
          <a:noFill/>
          <a:ln/>
        </p:spPr>
        <p:txBody>
          <a:bodyPr/>
          <a:lstStyle/>
          <a:p>
            <a:r>
              <a:rPr lang="en-US" altLang="ja-JP" dirty="0"/>
              <a:t>Capability Highlights</a:t>
            </a:r>
          </a:p>
          <a:p>
            <a:pPr lvl="1"/>
            <a:r>
              <a:rPr lang="en-US" altLang="ja-JP" dirty="0"/>
              <a:t>Transactional software change management to ensure consistent updates of configurations, reducing the chances of broken builds</a:t>
            </a:r>
          </a:p>
          <a:p>
            <a:pPr lvl="1"/>
            <a:r>
              <a:rPr lang="en-US" altLang="ja-JP" dirty="0"/>
              <a:t>Automate the release of software build to product bill-of-materials</a:t>
            </a:r>
          </a:p>
          <a:p>
            <a:pPr lvl="1"/>
            <a:r>
              <a:rPr lang="en-US" altLang="ja-JP" dirty="0"/>
              <a:t>Immutable baselines of software configurations</a:t>
            </a:r>
          </a:p>
          <a:p>
            <a:endParaRPr lang="en-GB" dirty="0"/>
          </a:p>
        </p:txBody>
      </p:sp>
    </p:spTree>
    <p:extLst>
      <p:ext uri="{BB962C8B-B14F-4D97-AF65-F5344CB8AC3E}">
        <p14:creationId xmlns:p14="http://schemas.microsoft.com/office/powerpoint/2010/main" val="4091331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TC is UNIQUELY POSITIONED to help you capitalize</a:t>
            </a:r>
            <a:r>
              <a:rPr lang="en-US" baseline="0" dirty="0"/>
              <a:t> on the opportunity created by this physical and digital convergence</a:t>
            </a:r>
          </a:p>
          <a:p>
            <a:pPr marL="171450" indent="-171450">
              <a:buFont typeface="Arial" panose="020B0604020202020204" pitchFamily="34" charset="0"/>
              <a:buChar char="•"/>
            </a:pPr>
            <a:r>
              <a:rPr lang="en-US" dirty="0"/>
              <a:t>PTC is the only company with BOTH the capabilities</a:t>
            </a:r>
            <a:r>
              <a:rPr lang="en-US" baseline="0" dirty="0"/>
              <a:t> and expertise in the Digital world of Things AND the capabilities and expertise in connecting to and experiencing the Physical world of Things</a:t>
            </a:r>
          </a:p>
          <a:p>
            <a:pPr marL="171450" indent="-171450">
              <a:buFont typeface="Arial" panose="020B0604020202020204" pitchFamily="34" charset="0"/>
              <a:buChar char="•"/>
            </a:pPr>
            <a:r>
              <a:rPr lang="en-US" baseline="0" dirty="0"/>
              <a:t>DIGITAL: Starting with our innovation around 3D parametric modeling 30 years ago, PTC has been at the leading edge of innovation around the digital definition, software, and lifecycle management of Things across our CAD, PLM, ALM and SLM solutions.</a:t>
            </a:r>
          </a:p>
          <a:p>
            <a:pPr marL="171450" indent="-171450">
              <a:buFont typeface="Arial" panose="020B0604020202020204" pitchFamily="34" charset="0"/>
              <a:buChar char="•"/>
            </a:pPr>
            <a:r>
              <a:rPr lang="en-US" baseline="0" dirty="0"/>
              <a:t>PHYSICAL: Over the past 3 years PTC has invested $700M in acquisitions and organic development of technology that connects to, analyzes the data from, creates applications for, and creates new experiences for the Physical world. This brings together decades of experience and best in class technology in </a:t>
            </a:r>
            <a:r>
              <a:rPr lang="en-US" baseline="0" dirty="0" err="1"/>
              <a:t>IoT</a:t>
            </a:r>
            <a:r>
              <a:rPr lang="en-US" baseline="0" dirty="0"/>
              <a:t> and AR. </a:t>
            </a:r>
            <a:endParaRPr lang="en-US" dirty="0"/>
          </a:p>
        </p:txBody>
      </p:sp>
      <p:sp>
        <p:nvSpPr>
          <p:cNvPr id="4" name="Slide Number Placeholder 3"/>
          <p:cNvSpPr>
            <a:spLocks noGrp="1"/>
          </p:cNvSpPr>
          <p:nvPr>
            <p:ph type="sldNum" sz="quarter" idx="10"/>
          </p:nvPr>
        </p:nvSpPr>
        <p:spPr/>
        <p:txBody>
          <a:bodyPr/>
          <a:lstStyle/>
          <a:p>
            <a:fld id="{495F688D-3F93-4DCD-BE4F-1CFAE96663DE}" type="slidenum">
              <a:rPr lang="en-US" smtClean="0"/>
              <a:t>3</a:t>
            </a:fld>
            <a:endParaRPr lang="en-US" dirty="0"/>
          </a:p>
        </p:txBody>
      </p:sp>
    </p:spTree>
    <p:extLst>
      <p:ext uri="{BB962C8B-B14F-4D97-AF65-F5344CB8AC3E}">
        <p14:creationId xmlns:p14="http://schemas.microsoft.com/office/powerpoint/2010/main" val="3027380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ThingWorx enables companies to securely connect to nearly any device using our SDKs, Edge </a:t>
            </a:r>
            <a:r>
              <a:rPr lang="en-US" sz="2400" dirty="0" err="1"/>
              <a:t>MicroServer</a:t>
            </a:r>
            <a:r>
              <a:rPr lang="en-US" sz="2400" dirty="0"/>
              <a:t>, or by leveraging standard and proprietary communication protocols. Devices can connect over any network via wired, wireless or cellular methods. </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2400" dirty="0"/>
              <a:t>ThingWorx “</a:t>
            </a:r>
            <a:r>
              <a:rPr lang="en-US" sz="2400" dirty="0" err="1"/>
              <a:t>AlwaysOn</a:t>
            </a:r>
            <a:r>
              <a:rPr lang="en-US" sz="2400" dirty="0"/>
              <a:t>” connectivity, via ThingWorx SDKs and the Edge </a:t>
            </a:r>
            <a:r>
              <a:rPr lang="en-US" sz="2400" dirty="0" err="1"/>
              <a:t>MicroServer</a:t>
            </a:r>
            <a:r>
              <a:rPr lang="en-US" sz="2400" dirty="0"/>
              <a:t>, provides a scalable, secure, and easily deployable communication technology designed for continuous bi-directional connectivity between sensors, devices, equipment, and the ThingWorx server - regardless of the network architecture </a:t>
            </a:r>
          </a:p>
          <a:p>
            <a:r>
              <a:rPr lang="en-US" sz="2400" dirty="0"/>
              <a:t>ThingWorx and its Industrial</a:t>
            </a:r>
            <a:r>
              <a:rPr lang="en-US" sz="2400" baseline="0" dirty="0"/>
              <a:t> Connectivity Module powered by </a:t>
            </a:r>
            <a:r>
              <a:rPr lang="en-US" sz="2400" dirty="0" err="1"/>
              <a:t>Kepware</a:t>
            </a:r>
            <a:r>
              <a:rPr lang="en-US" sz="2400" dirty="0"/>
              <a:t> each deliver data drivers to enable out-of-the-box connectivity with a wide variety of devices. There</a:t>
            </a:r>
            <a:r>
              <a:rPr lang="en-US" sz="2400" baseline="0" dirty="0"/>
              <a:t> are over</a:t>
            </a:r>
            <a:r>
              <a:rPr lang="en-US" sz="2400" dirty="0"/>
              <a:t> 150 protocols adapters to access real-time data from industrial equipment. </a:t>
            </a:r>
          </a:p>
          <a:p>
            <a:r>
              <a:rPr lang="en-US" sz="2400" dirty="0"/>
              <a:t>ThingWorx enables distributed, real-time edge computing capabilities with an edge ‘solution stack’ that collects and aggregates data from sensors, performs highly automated machine learning and executes business logic. Keeping the entire </a:t>
            </a:r>
            <a:r>
              <a:rPr lang="en-US" sz="2400" dirty="0" err="1"/>
              <a:t>IoT</a:t>
            </a:r>
            <a:r>
              <a:rPr lang="en-US" sz="2400" dirty="0"/>
              <a:t> computing operation onsite or close to the point of data acquisition can address potential latency, cost and security concerns associated with reliance on cloud only solutions. </a:t>
            </a:r>
            <a:endParaRPr lang="en-US" sz="2200" dirty="0">
              <a:solidFill>
                <a:schemeClr val="tx1"/>
              </a:solidFill>
            </a:endParaRPr>
          </a:p>
          <a:p>
            <a:pPr marL="273582" indent="-273582">
              <a:spcBef>
                <a:spcPts val="2139"/>
              </a:spcBef>
            </a:pPr>
            <a:r>
              <a:rPr lang="en-US" sz="2200" dirty="0">
                <a:solidFill>
                  <a:schemeClr val="tx1"/>
                </a:solidFill>
              </a:rPr>
              <a:t>Edge </a:t>
            </a:r>
            <a:r>
              <a:rPr lang="en-US" sz="2200" dirty="0" err="1">
                <a:solidFill>
                  <a:schemeClr val="tx1"/>
                </a:solidFill>
              </a:rPr>
              <a:t>MicroServer</a:t>
            </a:r>
            <a:endParaRPr lang="en-US" sz="2200" dirty="0">
              <a:solidFill>
                <a:schemeClr val="tx1"/>
              </a:solidFill>
            </a:endParaRPr>
          </a:p>
          <a:p>
            <a:pPr lvl="1"/>
            <a:r>
              <a:rPr lang="en-US" sz="1900" dirty="0"/>
              <a:t>Prebuilt “agent” application that can “drop in and run” in a Windows or Linux environment</a:t>
            </a:r>
          </a:p>
          <a:p>
            <a:pPr lvl="1"/>
            <a:r>
              <a:rPr lang="en-US" sz="1900" dirty="0"/>
              <a:t>Can run on a gateway or be directly embedded into a device</a:t>
            </a:r>
            <a:endParaRPr lang="en-US" b="1" baseline="0" dirty="0"/>
          </a:p>
          <a:p>
            <a:pPr marL="273582" indent="-273582">
              <a:spcBef>
                <a:spcPts val="2139"/>
              </a:spcBef>
            </a:pPr>
            <a:r>
              <a:rPr lang="en-US" sz="2200" dirty="0">
                <a:solidFill>
                  <a:schemeClr val="tx1"/>
                </a:solidFill>
              </a:rPr>
              <a:t>Software Development Kits (SDK)</a:t>
            </a:r>
          </a:p>
          <a:p>
            <a:pPr lvl="1"/>
            <a:r>
              <a:rPr lang="en-US" sz="1900" dirty="0"/>
              <a:t>Software libraries that allow customers to create their own custom agent</a:t>
            </a:r>
          </a:p>
          <a:p>
            <a:pPr lvl="1"/>
            <a:r>
              <a:rPr lang="en-US" sz="1900" dirty="0"/>
              <a:t>Several platforms/programming languages available – Java, C, .NET, iOS</a:t>
            </a:r>
          </a:p>
          <a:p>
            <a:pPr lvl="1"/>
            <a:r>
              <a:rPr lang="en-US" sz="1900" dirty="0"/>
              <a:t>Can be deployed in gateways or devices</a:t>
            </a:r>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13106E9B-4521-40D2-92B0-11D9407C5A35}" type="slidenum">
              <a:rPr kumimoji="0" lang="en-US" sz="1200" b="0" i="0" u="none" strike="noStrike" kern="1200" cap="none" spc="0" normalizeH="0" baseline="0" noProof="0" smtClean="0">
                <a:ln>
                  <a:noFill/>
                </a:ln>
                <a:solidFill>
                  <a:srgbClr val="3D4647"/>
                </a:solidFill>
                <a:effectLst/>
                <a:uLnTx/>
                <a:uFillTx/>
                <a:latin typeface="Century Gothic" panose="020B0502020202020204" pitchFamily="34" charset="0"/>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3D4647"/>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8418565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Notes:</a:t>
            </a:r>
          </a:p>
          <a:p>
            <a:r>
              <a:rPr lang="en-US"/>
              <a:t>Runtime is important</a:t>
            </a:r>
          </a:p>
          <a:p>
            <a:r>
              <a:rPr lang="en-US"/>
              <a:t>Persistence provider is boring and can be shorten</a:t>
            </a:r>
          </a:p>
          <a:p>
            <a:endParaRPr lang="en-US"/>
          </a:p>
          <a:p>
            <a:r>
              <a:rPr lang="en-US"/>
              <a:t>ThingWorx</a:t>
            </a:r>
            <a:r>
              <a:rPr lang="en-US" baseline="0"/>
              <a:t> analytics</a:t>
            </a:r>
          </a:p>
          <a:p>
            <a:r>
              <a:rPr lang="en-US" baseline="0"/>
              <a:t>Analytics server</a:t>
            </a:r>
          </a:p>
          <a:p>
            <a:r>
              <a:rPr lang="en-US" baseline="0"/>
              <a:t>Move details and put up a foundation specific version</a:t>
            </a:r>
          </a:p>
          <a:p>
            <a:endParaRPr lang="en-US" baseline="0"/>
          </a:p>
          <a:p>
            <a:r>
              <a:rPr lang="en-US" baseline="0"/>
              <a:t>ThingWorx studio</a:t>
            </a:r>
            <a:endParaRPr lang="en-US"/>
          </a:p>
          <a:p>
            <a:endParaRPr lang="en-US"/>
          </a:p>
          <a:p>
            <a:r>
              <a:rPr lang="en-US"/>
              <a:t>Mashup builder is not actually used to create mobile apps (A dotted line)</a:t>
            </a:r>
          </a:p>
          <a:p>
            <a:r>
              <a:rPr lang="en-US"/>
              <a:t>We have customers that build apps that give it to their customers.</a:t>
            </a:r>
          </a:p>
          <a:p>
            <a:r>
              <a:rPr lang="en-US"/>
              <a:t>Model</a:t>
            </a:r>
            <a:r>
              <a:rPr lang="en-US" baseline="0"/>
              <a:t> tags (tag configuration) inside the </a:t>
            </a:r>
            <a:r>
              <a:rPr lang="en-US" baseline="0" err="1"/>
              <a:t>thingworx</a:t>
            </a:r>
            <a:r>
              <a:rPr lang="en-US" baseline="0"/>
              <a:t> core which is used for industrial connectivity.</a:t>
            </a:r>
          </a:p>
          <a:p>
            <a:r>
              <a:rPr lang="en-US" baseline="0"/>
              <a:t>Ability to write services to map to end points- Salesforce SAP Windchill (app key involved)</a:t>
            </a:r>
          </a:p>
          <a:p>
            <a:r>
              <a:rPr lang="en-US" baseline="0"/>
              <a:t>Base type connector- Generic connector, Swagger connector, Windchill connector, </a:t>
            </a:r>
          </a:p>
          <a:p>
            <a:r>
              <a:rPr lang="en-US" baseline="0"/>
              <a:t>Connect it to the URL of </a:t>
            </a:r>
            <a:r>
              <a:rPr lang="en-US" baseline="0" err="1"/>
              <a:t>windchil</a:t>
            </a:r>
            <a:r>
              <a:rPr lang="en-US" baseline="0"/>
              <a:t>/SAP and once connected, we can create a route services. We can create mapping in composer of </a:t>
            </a:r>
            <a:r>
              <a:rPr lang="en-US" baseline="0" err="1"/>
              <a:t>Windchil</a:t>
            </a:r>
            <a:r>
              <a:rPr lang="en-US" baseline="0"/>
              <a:t> data.</a:t>
            </a:r>
            <a:endParaRPr lang="en-US"/>
          </a:p>
          <a:p>
            <a:endParaRPr lang="en-US"/>
          </a:p>
          <a:p>
            <a:r>
              <a:rPr lang="en-US"/>
              <a:t>Ryan Orwoll-</a:t>
            </a:r>
            <a:r>
              <a:rPr lang="en-US" baseline="0"/>
              <a:t> </a:t>
            </a:r>
            <a:br>
              <a:rPr lang="en-US" baseline="0"/>
            </a:br>
            <a:br>
              <a:rPr lang="en-US" baseline="0"/>
            </a:br>
            <a:r>
              <a:rPr lang="en-US" baseline="0"/>
              <a:t>Studio</a:t>
            </a:r>
            <a:endParaRPr lang="en-US"/>
          </a:p>
          <a:p>
            <a:r>
              <a:rPr lang="en-US"/>
              <a:t>Ken Rawlings Feedback-</a:t>
            </a:r>
          </a:p>
          <a:p>
            <a:r>
              <a:rPr lang="en-US"/>
              <a:t>Additional Extensions</a:t>
            </a:r>
          </a:p>
          <a:p>
            <a:r>
              <a:rPr lang="en-US"/>
              <a:t>Navigate integration systems</a:t>
            </a:r>
          </a:p>
          <a:p>
            <a:r>
              <a:rPr lang="en-US"/>
              <a:t>Business/IT</a:t>
            </a:r>
            <a:r>
              <a:rPr lang="en-US" baseline="0"/>
              <a:t> systems</a:t>
            </a:r>
            <a:endParaRPr lang="en-US"/>
          </a:p>
        </p:txBody>
      </p:sp>
      <p:sp>
        <p:nvSpPr>
          <p:cNvPr id="4" name="Slide Number Placeholder 3"/>
          <p:cNvSpPr>
            <a:spLocks noGrp="1"/>
          </p:cNvSpPr>
          <p:nvPr>
            <p:ph type="sldNum" sz="quarter" idx="10"/>
          </p:nvPr>
        </p:nvSpPr>
        <p:spPr/>
        <p:txBody>
          <a:bodyPr/>
          <a:lstStyle/>
          <a:p>
            <a:fld id="{22928A96-9214-4B19-8C14-46E2B25BE4CB}" type="slidenum">
              <a:rPr lang="en-US" smtClean="0"/>
              <a:t>33</a:t>
            </a:fld>
            <a:endParaRPr lang="en-US"/>
          </a:p>
        </p:txBody>
      </p:sp>
    </p:spTree>
    <p:extLst>
      <p:ext uri="{BB962C8B-B14F-4D97-AF65-F5344CB8AC3E}">
        <p14:creationId xmlns:p14="http://schemas.microsoft.com/office/powerpoint/2010/main" val="22798914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495F688D-3F93-4DCD-BE4F-1CFAE96663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84280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495F688D-3F93-4DCD-BE4F-1CFAE96663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0573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DE318937-AB7C-4156-A7EA-6F6EF7A06D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6399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28AE7155-86E5-479D-9901-95D96D4746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5583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2150"/>
            <a:ext cx="6146800" cy="3457575"/>
          </a:xfrm>
        </p:spPr>
      </p:sp>
      <p:sp>
        <p:nvSpPr>
          <p:cNvPr id="3" name="Notes Placeholder 2"/>
          <p:cNvSpPr>
            <a:spLocks noGrp="1"/>
          </p:cNvSpPr>
          <p:nvPr>
            <p:ph type="body" idx="1"/>
          </p:nvPr>
        </p:nvSpPr>
        <p:spPr/>
        <p:txBody>
          <a:bodyPr/>
          <a:lstStyle/>
          <a:p>
            <a:r>
              <a:rPr lang="en-US" dirty="0"/>
              <a:t>ThingWorx spans existing software investments and enables the creation of a Service Oriented Architecture (SOA).  It is important to note that a standards-based services layer is not the same as standardization of technology.  Software technology harmonization programs are not the same as standards-based services layer vision.  Software technology harmonization may result in a common commercial solution being selected for the enterprise.  For most enterprises, these standardization of technology initiatives are cost-prohibitive and impractical.   A standards-based services layer means that work processes spanning multiple systems are modeled as independent services for consumption in composite applications as needed.  A rip-and-replace strategy is too expensive and is not necessary to achieve smart, connected operations.</a:t>
            </a:r>
          </a:p>
        </p:txBody>
      </p:sp>
      <p:sp>
        <p:nvSpPr>
          <p:cNvPr id="4" name="Slide Number Placeholder 3"/>
          <p:cNvSpPr>
            <a:spLocks noGrp="1"/>
          </p:cNvSpPr>
          <p:nvPr>
            <p:ph type="sldNum" sz="quarter" idx="10"/>
          </p:nvPr>
        </p:nvSpPr>
        <p:spPr/>
        <p:txBody>
          <a:bodyPr/>
          <a:lstStyle/>
          <a:p>
            <a:fld id="{368E6640-CEF3-4BBD-85B1-F96849F77092}" type="slidenum">
              <a:rPr lang="en-US" smtClean="0"/>
              <a:t>40</a:t>
            </a:fld>
            <a:endParaRPr lang="en-US"/>
          </a:p>
        </p:txBody>
      </p:sp>
    </p:spTree>
    <p:extLst>
      <p:ext uri="{BB962C8B-B14F-4D97-AF65-F5344CB8AC3E}">
        <p14:creationId xmlns:p14="http://schemas.microsoft.com/office/powerpoint/2010/main" val="12253364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pware Diagram</a:t>
            </a:r>
          </a:p>
        </p:txBody>
      </p:sp>
      <p:sp>
        <p:nvSpPr>
          <p:cNvPr id="4" name="Slide Number Placeholder 3"/>
          <p:cNvSpPr>
            <a:spLocks noGrp="1"/>
          </p:cNvSpPr>
          <p:nvPr>
            <p:ph type="sldNum" sz="quarter" idx="10"/>
          </p:nvPr>
        </p:nvSpPr>
        <p:spPr/>
        <p:txBody>
          <a:bodyPr/>
          <a:lstStyle/>
          <a:p>
            <a:pPr>
              <a:defRPr/>
            </a:pPr>
            <a:fld id="{446812B8-42C9-A84D-868A-1100D8F38F96}" type="slidenum">
              <a:rPr lang="en-US" smtClean="0">
                <a:solidFill>
                  <a:prstClr val="black"/>
                </a:solidFill>
              </a:rPr>
              <a:pPr>
                <a:defRPr/>
              </a:pPr>
              <a:t>41</a:t>
            </a:fld>
            <a:endParaRPr lang="en-US">
              <a:solidFill>
                <a:prstClr val="black"/>
              </a:solidFill>
            </a:endParaRPr>
          </a:p>
        </p:txBody>
      </p:sp>
    </p:spTree>
    <p:extLst>
      <p:ext uri="{BB962C8B-B14F-4D97-AF65-F5344CB8AC3E}">
        <p14:creationId xmlns:p14="http://schemas.microsoft.com/office/powerpoint/2010/main" val="33309970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troducing ThingWorx Manufacturing App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ransform your results by giving your team members unprecedented capabilities to see, understand and act in real time. ThingWorx manufacturing apps accelerate your time-to-value and offer unmatched flexibilit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uilt on PTC’s industry-leading IoT platform, ThingWorx, this set of role-based apps can be installed and configured in under an hour without impacting production. They are 100% web-enabled and accessible via any browser—providing you and your team members the ability to view, understand, and act on industrial data in real tim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cludes:</a:t>
            </a:r>
          </a:p>
          <a:p>
            <a:r>
              <a:rPr lang="en-US" sz="1200" b="0" i="0" kern="1200" dirty="0">
                <a:solidFill>
                  <a:schemeClr val="tx1"/>
                </a:solidFill>
                <a:effectLst/>
                <a:latin typeface="+mn-lt"/>
                <a:ea typeface="+mn-ea"/>
                <a:cs typeface="+mn-cs"/>
              </a:rPr>
              <a:t>Production Advisor</a:t>
            </a:r>
          </a:p>
          <a:p>
            <a:r>
              <a:rPr lang="en-US" sz="1200" b="0" i="0" kern="1200" dirty="0">
                <a:solidFill>
                  <a:schemeClr val="tx1"/>
                </a:solidFill>
                <a:effectLst/>
                <a:latin typeface="+mn-lt"/>
                <a:ea typeface="+mn-ea"/>
                <a:cs typeface="+mn-cs"/>
              </a:rPr>
              <a:t>Asset Advisor</a:t>
            </a:r>
          </a:p>
          <a:p>
            <a:r>
              <a:rPr lang="en-US" sz="1200" b="0" i="0" kern="1200" dirty="0">
                <a:solidFill>
                  <a:schemeClr val="tx1"/>
                </a:solidFill>
                <a:effectLst/>
                <a:latin typeface="+mn-lt"/>
                <a:ea typeface="+mn-ea"/>
                <a:cs typeface="+mn-cs"/>
              </a:rPr>
              <a:t>Controls Adviso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4AABA7-8D1E-4543-A80B-397A4F3BB00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33557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Purpose-built Industrial IoT Platform</a:t>
            </a:r>
          </a:p>
          <a:p>
            <a:pPr lvl="1"/>
            <a:r>
              <a:rPr lang="en-US" sz="1600" dirty="0"/>
              <a:t>The ThingWorx Platform is a proven, industrial IoT platform that is designed to connect the digital and physical worlds.</a:t>
            </a:r>
          </a:p>
          <a:p>
            <a:pPr lvl="1"/>
            <a:r>
              <a:rPr lang="en-US" sz="1600" dirty="0"/>
              <a:t>The ThingWorx Platform consists of technology modules that enable you to rapidly deliver powerful apps and cutting-edge AR experiences.</a:t>
            </a:r>
          </a:p>
          <a:p>
            <a:pPr lvl="1"/>
            <a:r>
              <a:rPr lang="en-US" sz="1600" dirty="0"/>
              <a:t>The ThingWorx Platform contains specific functionality designed for industrial businesses </a:t>
            </a:r>
            <a:r>
              <a:rPr lang="mr-IN" sz="1600" dirty="0"/>
              <a:t>–</a:t>
            </a:r>
            <a:r>
              <a:rPr lang="en-US" sz="1600" dirty="0"/>
              <a:t> such as native industrial connectivity, anomaly detection and a model-based development environment.</a:t>
            </a:r>
          </a:p>
          <a:p>
            <a:r>
              <a:rPr lang="en-US" u="sng" dirty="0"/>
              <a:t>Quickly and Easily Develop, Deploy and Extend</a:t>
            </a:r>
          </a:p>
          <a:p>
            <a:pPr lvl="1"/>
            <a:r>
              <a:rPr lang="en-US" sz="1600" dirty="0"/>
              <a:t>Integral platform modules, built around the ThingModel, makes app and AR experience development, deployment and extension fast and easy.</a:t>
            </a:r>
          </a:p>
          <a:p>
            <a:pPr lvl="1"/>
            <a:r>
              <a:rPr lang="en-US" sz="1600" dirty="0"/>
              <a:t>The ThingModel makes development easier by providing you a true digital twin of a physical object that is accessible to all modules of the platform and other systems.</a:t>
            </a:r>
          </a:p>
          <a:p>
            <a:pPr lvl="1"/>
            <a:r>
              <a:rPr lang="en-US" sz="1600" dirty="0"/>
              <a:t>ThingWorx Studio delivers a quick way for you to deliver immersive industrial AR experiences at scale.</a:t>
            </a:r>
          </a:p>
          <a:p>
            <a:r>
              <a:rPr lang="en-US" u="sng" dirty="0"/>
              <a:t>Ultimate Flexibility</a:t>
            </a:r>
            <a:endParaRPr lang="en-US" sz="1400" u="sng" dirty="0"/>
          </a:p>
          <a:p>
            <a:pPr lvl="1"/>
            <a:r>
              <a:rPr lang="en-US" sz="1600" dirty="0"/>
              <a:t>The ThingWorx Platform can be deployed in a variety of ways - in the cloud, on premise or with a hybrid approach.</a:t>
            </a:r>
          </a:p>
          <a:p>
            <a:pPr lvl="1"/>
            <a:r>
              <a:rPr lang="en-US" sz="1600" dirty="0"/>
              <a:t>The ThingWorx Platform’s integration with leading cloud vendors, such as AWS IoT, Azure IoT Hub and GE Predix, enable you to seamlessly have the best of both worlds </a:t>
            </a:r>
            <a:r>
              <a:rPr lang="mr-IN" sz="1600" dirty="0"/>
              <a:t>–</a:t>
            </a:r>
            <a:r>
              <a:rPr lang="en-US" sz="1600" dirty="0"/>
              <a:t> the cloud of your choice and all of the rapid development capabilities the ThingWorx Platform provides.</a:t>
            </a:r>
          </a:p>
          <a:p>
            <a:pPr lvl="1"/>
            <a:r>
              <a:rPr lang="en-US" sz="1600" dirty="0"/>
              <a:t>The platform delivers more meaningful experiences for you by integrating a wide-range of data sources into apps and AR experiences.</a:t>
            </a:r>
          </a:p>
          <a:p>
            <a:pPr lvl="1"/>
            <a:r>
              <a:rPr lang="en-US" sz="1600" dirty="0"/>
              <a:t>You can deploy apps and cutting-edge AR experiences with a wide-range of options:</a:t>
            </a:r>
          </a:p>
          <a:p>
            <a:pPr lvl="2"/>
            <a:r>
              <a:rPr lang="en-US" sz="1600" dirty="0"/>
              <a:t>Desktop | Web | Mobile | Augmented Reality </a:t>
            </a:r>
            <a:r>
              <a:rPr lang="mr-IN" sz="1600" dirty="0"/>
              <a:t>–</a:t>
            </a:r>
            <a:r>
              <a:rPr lang="en-US" sz="1600" dirty="0"/>
              <a:t> Including Microsoft HoloLens </a:t>
            </a:r>
          </a:p>
          <a:p>
            <a:r>
              <a:rPr lang="en-US" u="sng" dirty="0"/>
              <a:t>Vibrant Ecosystem</a:t>
            </a:r>
          </a:p>
          <a:p>
            <a:pPr lvl="1"/>
            <a:r>
              <a:rPr lang="en-US" sz="1600" dirty="0"/>
              <a:t>The ThingWorx partner ecosystem has one of the largest networks of industrial IoT focused companies in the world.</a:t>
            </a:r>
          </a:p>
          <a:p>
            <a:pPr lvl="1"/>
            <a:r>
              <a:rPr lang="en-US" sz="1600" dirty="0"/>
              <a:t>ThingWorx partners are ready to help you get started, accelerate and even build your app or AR experiences for you so you can begin to quickly monetize your IIoT strategy.</a:t>
            </a:r>
          </a:p>
          <a:p>
            <a:pPr lvl="1"/>
            <a:r>
              <a:rPr lang="en-US" sz="1600" dirty="0"/>
              <a:t>ThingWorx Marketplace contains the largest set of industrial IoT apps and extensions certified to work with the ThingWorx Platform - making it simple to add functionality or features to any app you build.</a:t>
            </a:r>
          </a:p>
          <a:p>
            <a:pPr lvl="1"/>
            <a:r>
              <a:rPr lang="en-US" sz="1600" dirty="0"/>
              <a:t>ThingWorx Ready partners, such as HPE, National Instruments, Cisco, Dell and Avantech, deliver complimentary IIoT technologies so you can quickly choose the right hardware to compliment the ThingWorx Platform.</a:t>
            </a:r>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FFD4A0EB-2764-45D9-A11B-14FCC09392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1066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AF6CFA2-E031-4982-97B7-5ABD811C6623}" type="slidenum">
              <a:rPr lang="en-US" smtClean="0"/>
              <a:pPr/>
              <a:t>4</a:t>
            </a:fld>
            <a:endParaRPr lang="en-US" dirty="0"/>
          </a:p>
        </p:txBody>
      </p:sp>
    </p:spTree>
    <p:extLst>
      <p:ext uri="{BB962C8B-B14F-4D97-AF65-F5344CB8AC3E}">
        <p14:creationId xmlns:p14="http://schemas.microsoft.com/office/powerpoint/2010/main" val="28704127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303">
              <a:defRPr/>
            </a:pPr>
            <a:r>
              <a:rPr lang="en-US" dirty="0"/>
              <a:t>To</a:t>
            </a:r>
            <a:r>
              <a:rPr lang="en-US" baseline="0" dirty="0"/>
              <a:t> summarize and conclude:</a:t>
            </a:r>
          </a:p>
          <a:p>
            <a:pPr defTabSz="913303">
              <a:defRPr/>
            </a:pPr>
            <a:endParaRPr lang="en-US" baseline="0" dirty="0"/>
          </a:p>
          <a:p>
            <a:pPr marL="171244" indent="-171244" defTabSz="913303">
              <a:buFont typeface="Arial" panose="020B0604020202020204" pitchFamily="34" charset="0"/>
              <a:buChar char="•"/>
              <a:defRPr/>
            </a:pPr>
            <a:r>
              <a:rPr lang="en-US" dirty="0"/>
              <a:t>PTC is UNIQUELY POSITIONED to help you capitalize</a:t>
            </a:r>
            <a:r>
              <a:rPr lang="en-US" baseline="0" dirty="0"/>
              <a:t> on the opportunity created by this physical and digital convergence by providing BOTH Solutions and a Platform, that extend and multiply the value of each. </a:t>
            </a:r>
          </a:p>
          <a:p>
            <a:pPr marL="171244" indent="-171244" defTabSz="913303">
              <a:buFont typeface="Arial" panose="020B0604020202020204" pitchFamily="34" charset="0"/>
              <a:buChar char="•"/>
              <a:defRPr/>
            </a:pPr>
            <a:r>
              <a:rPr lang="en-US" baseline="0" dirty="0"/>
              <a:t>This provides customers with BOTH complete Solutions &amp; a Platform to build your own</a:t>
            </a:r>
          </a:p>
          <a:p>
            <a:pPr marL="171244" indent="-171244" defTabSz="913303">
              <a:buFont typeface="Arial" panose="020B0604020202020204" pitchFamily="34" charset="0"/>
              <a:buChar char="•"/>
              <a:defRPr/>
            </a:pPr>
            <a:r>
              <a:rPr lang="en-US" dirty="0"/>
              <a:t>This</a:t>
            </a:r>
            <a:r>
              <a:rPr lang="en-US" baseline="0" dirty="0"/>
              <a:t> </a:t>
            </a:r>
            <a:r>
              <a:rPr lang="en-US" dirty="0"/>
              <a:t>broad</a:t>
            </a:r>
            <a:r>
              <a:rPr lang="en-US" baseline="0" dirty="0"/>
              <a:t> set of capabilities enables developers and solution builders to connect their devices, analyze them, implement applications and user interfaces, manage and remotely control devices, and deliver new types of experiences through technologies like augmented reality. All on a secure and scalable architecture.</a:t>
            </a:r>
          </a:p>
          <a:p>
            <a:pPr marL="171244" indent="-171244" defTabSz="913303">
              <a:buFont typeface="Arial" panose="020B0604020202020204" pitchFamily="34" charset="0"/>
              <a:buChar char="•"/>
              <a:defRPr/>
            </a:pPr>
            <a:r>
              <a:rPr lang="en-US" baseline="0" dirty="0"/>
              <a:t>No other platform in the market provides this many integrated capabilities in one place – making solution development quick, and time-to-market faster.</a:t>
            </a:r>
          </a:p>
          <a:p>
            <a:pPr marL="171244" indent="-171244" defTabSz="913303">
              <a:buFont typeface="Arial" panose="020B0604020202020204" pitchFamily="34" charset="0"/>
              <a:buChar char="•"/>
              <a:defRPr/>
            </a:pPr>
            <a:r>
              <a:rPr lang="en-US" baseline="0" dirty="0"/>
              <a:t>Solutions built on ThingWorx help enterprises make money, save money and reduce risk all from one, integrated platform.</a:t>
            </a:r>
          </a:p>
        </p:txBody>
      </p:sp>
      <p:sp>
        <p:nvSpPr>
          <p:cNvPr id="4" name="Slide Number Placeholder 3"/>
          <p:cNvSpPr>
            <a:spLocks noGrp="1"/>
          </p:cNvSpPr>
          <p:nvPr>
            <p:ph type="sldNum" sz="quarter" idx="10"/>
          </p:nvPr>
        </p:nvSpPr>
        <p:spPr/>
        <p:txBody>
          <a:bodyPr/>
          <a:lstStyle/>
          <a:p>
            <a:fld id="{13106E9B-4521-40D2-92B0-11D9407C5A35}" type="slidenum">
              <a:rPr lang="en-US" smtClean="0"/>
              <a:t>46</a:t>
            </a:fld>
            <a:endParaRPr lang="en-US" dirty="0"/>
          </a:p>
        </p:txBody>
      </p:sp>
    </p:spTree>
    <p:extLst>
      <p:ext uri="{BB962C8B-B14F-4D97-AF65-F5344CB8AC3E}">
        <p14:creationId xmlns:p14="http://schemas.microsoft.com/office/powerpoint/2010/main" val="6500146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303">
              <a:defRPr/>
            </a:pPr>
            <a:r>
              <a:rPr lang="en-US" dirty="0"/>
              <a:t>To</a:t>
            </a:r>
            <a:r>
              <a:rPr lang="en-US" baseline="0" dirty="0"/>
              <a:t> summarize and conclude:</a:t>
            </a:r>
          </a:p>
          <a:p>
            <a:pPr defTabSz="913303">
              <a:defRPr/>
            </a:pPr>
            <a:endParaRPr lang="en-US" baseline="0" dirty="0"/>
          </a:p>
          <a:p>
            <a:pPr marL="171244" indent="-171244" defTabSz="913303">
              <a:buFont typeface="Arial" panose="020B0604020202020204" pitchFamily="34" charset="0"/>
              <a:buChar char="•"/>
              <a:defRPr/>
            </a:pPr>
            <a:r>
              <a:rPr lang="en-US" dirty="0"/>
              <a:t>PTC is UNIQUELY POSITIONED to help you capitalize</a:t>
            </a:r>
            <a:r>
              <a:rPr lang="en-US" baseline="0" dirty="0"/>
              <a:t> on the opportunity created by this physical and digital convergence by providing BOTH Solutions and a Platform, that extend and multiply the value of each. </a:t>
            </a:r>
          </a:p>
          <a:p>
            <a:pPr marL="171244" indent="-171244" defTabSz="913303">
              <a:buFont typeface="Arial" panose="020B0604020202020204" pitchFamily="34" charset="0"/>
              <a:buChar char="•"/>
              <a:defRPr/>
            </a:pPr>
            <a:r>
              <a:rPr lang="en-US" baseline="0" dirty="0"/>
              <a:t>This provides customers with BOTH complete Solutions &amp; a Platform to build your own</a:t>
            </a:r>
          </a:p>
          <a:p>
            <a:pPr marL="171244" indent="-171244" defTabSz="913303">
              <a:buFont typeface="Arial" panose="020B0604020202020204" pitchFamily="34" charset="0"/>
              <a:buChar char="•"/>
              <a:defRPr/>
            </a:pPr>
            <a:r>
              <a:rPr lang="en-US" dirty="0"/>
              <a:t>This</a:t>
            </a:r>
            <a:r>
              <a:rPr lang="en-US" baseline="0" dirty="0"/>
              <a:t> </a:t>
            </a:r>
            <a:r>
              <a:rPr lang="en-US" dirty="0"/>
              <a:t>broad</a:t>
            </a:r>
            <a:r>
              <a:rPr lang="en-US" baseline="0" dirty="0"/>
              <a:t> set of capabilities enables developers and solution builders to connect their devices, analyze them, implement applications and user interfaces, manage and remotely control devices, and deliver new types of experiences through technologies like augmented reality. All on a secure and scalable architecture.</a:t>
            </a:r>
          </a:p>
          <a:p>
            <a:pPr marL="171244" indent="-171244" defTabSz="913303">
              <a:buFont typeface="Arial" panose="020B0604020202020204" pitchFamily="34" charset="0"/>
              <a:buChar char="•"/>
              <a:defRPr/>
            </a:pPr>
            <a:r>
              <a:rPr lang="en-US" baseline="0" dirty="0"/>
              <a:t>No other platform in the market provides this many integrated capabilities in one place – making solution development quick, and time-to-market faster.</a:t>
            </a:r>
          </a:p>
          <a:p>
            <a:pPr marL="171244" indent="-171244" defTabSz="913303">
              <a:buFont typeface="Arial" panose="020B0604020202020204" pitchFamily="34" charset="0"/>
              <a:buChar char="•"/>
              <a:defRPr/>
            </a:pPr>
            <a:r>
              <a:rPr lang="en-US" baseline="0" dirty="0"/>
              <a:t>Solutions built on ThingWorx help enterprises make money, save money and reduce risk all from one, integrated platform.</a:t>
            </a:r>
          </a:p>
        </p:txBody>
      </p:sp>
      <p:sp>
        <p:nvSpPr>
          <p:cNvPr id="4" name="Slide Number Placeholder 3"/>
          <p:cNvSpPr>
            <a:spLocks noGrp="1"/>
          </p:cNvSpPr>
          <p:nvPr>
            <p:ph type="sldNum" sz="quarter" idx="10"/>
          </p:nvPr>
        </p:nvSpPr>
        <p:spPr/>
        <p:txBody>
          <a:bodyPr/>
          <a:lstStyle/>
          <a:p>
            <a:fld id="{13106E9B-4521-40D2-92B0-11D9407C5A35}" type="slidenum">
              <a:rPr lang="en-US" smtClean="0"/>
              <a:t>47</a:t>
            </a:fld>
            <a:endParaRPr lang="en-US" dirty="0"/>
          </a:p>
        </p:txBody>
      </p:sp>
    </p:spTree>
    <p:extLst>
      <p:ext uri="{BB962C8B-B14F-4D97-AF65-F5344CB8AC3E}">
        <p14:creationId xmlns:p14="http://schemas.microsoft.com/office/powerpoint/2010/main" val="36421698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87">
              <a:defRPr/>
            </a:pP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06E9B-4521-40D2-92B0-11D9407C5A3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37797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CA" dirty="0"/>
              <a:t>This success story is in the food and beverage industry.</a:t>
            </a:r>
          </a:p>
          <a:p>
            <a:r>
              <a:rPr lang="en-CA" dirty="0"/>
              <a:t>A large global company is using ThingWorx in dozens of manufacturing sites and plans to deploy it across their enterprise that includes o</a:t>
            </a:r>
            <a:r>
              <a:rPr lang="en-US" dirty="0" err="1"/>
              <a:t>ver</a:t>
            </a:r>
            <a:r>
              <a:rPr lang="en-US" dirty="0"/>
              <a:t> 350 beverage and snacks plants globally</a:t>
            </a:r>
          </a:p>
          <a:p>
            <a:r>
              <a:rPr lang="en-CA" dirty="0"/>
              <a:t>ThingWorx is being used to provide role-based access to standardized metrics and information despite numerous systems.</a:t>
            </a:r>
          </a:p>
          <a:p>
            <a:r>
              <a:rPr lang="en-CA" dirty="0"/>
              <a:t>For example, overall equipment effectiveness is being calculated and displayed consistently even though systems vary per plant.</a:t>
            </a:r>
          </a:p>
          <a:p>
            <a:r>
              <a:rPr lang="en-CA" dirty="0" err="1"/>
              <a:t>ThingWorx</a:t>
            </a:r>
            <a:r>
              <a:rPr lang="en-CA" dirty="0"/>
              <a:t> is being used to provide a universal user interface to plant floor operators.</a:t>
            </a:r>
          </a:p>
          <a:p>
            <a:r>
              <a:rPr lang="en-CA" dirty="0"/>
              <a:t>They previously accessed a manufacturing execution system and one or more supervisory systems.</a:t>
            </a:r>
          </a:p>
          <a:p>
            <a:endParaRPr lang="en-US" dirty="0"/>
          </a:p>
          <a:p>
            <a:r>
              <a:rPr lang="en-US" dirty="0"/>
              <a:t>Problem: </a:t>
            </a:r>
          </a:p>
          <a:p>
            <a:pPr marL="172882" indent="-172882">
              <a:buFont typeface="Arial" panose="020B0604020202020204" pitchFamily="34" charset="0"/>
              <a:buChar char="•"/>
            </a:pPr>
            <a:r>
              <a:rPr lang="en-US" dirty="0" err="1"/>
              <a:t>Siloed</a:t>
            </a:r>
            <a:r>
              <a:rPr lang="en-US" dirty="0"/>
              <a:t> applications</a:t>
            </a:r>
          </a:p>
          <a:p>
            <a:pPr marL="172882" indent="-172882">
              <a:buFont typeface="Arial" panose="020B0604020202020204" pitchFamily="34" charset="0"/>
              <a:buChar char="•"/>
            </a:pPr>
            <a:r>
              <a:rPr lang="en-US" dirty="0"/>
              <a:t>Non-standard </a:t>
            </a:r>
            <a:r>
              <a:rPr lang="en-US" dirty="0" err="1"/>
              <a:t>KPI’s</a:t>
            </a:r>
            <a:endParaRPr lang="en-US" dirty="0"/>
          </a:p>
          <a:p>
            <a:pPr marL="172882" indent="-172882">
              <a:buFont typeface="Arial" panose="020B0604020202020204" pitchFamily="34" charset="0"/>
              <a:buChar char="•"/>
            </a:pPr>
            <a:r>
              <a:rPr lang="en-US" dirty="0"/>
              <a:t>Not actionable information</a:t>
            </a:r>
          </a:p>
          <a:p>
            <a:pPr marL="172882" indent="-172882">
              <a:buFont typeface="Arial" panose="020B0604020202020204" pitchFamily="34" charset="0"/>
              <a:buChar char="•"/>
            </a:pPr>
            <a:r>
              <a:rPr lang="en-US" dirty="0"/>
              <a:t>Lack of line coordination</a:t>
            </a:r>
          </a:p>
          <a:p>
            <a:pPr marL="172882" indent="-172882">
              <a:buFont typeface="Arial" panose="020B0604020202020204" pitchFamily="34" charset="0"/>
              <a:buChar char="•"/>
            </a:pPr>
            <a:r>
              <a:rPr lang="en-US" dirty="0"/>
              <a:t>Zero collaboration</a:t>
            </a:r>
          </a:p>
          <a:p>
            <a:r>
              <a:rPr lang="en-US" dirty="0" err="1"/>
              <a:t>ThingWorx</a:t>
            </a:r>
            <a:r>
              <a:rPr lang="en-US" dirty="0"/>
              <a:t> solution:</a:t>
            </a:r>
          </a:p>
          <a:p>
            <a:pPr marL="172882" indent="-172882">
              <a:buFont typeface="Arial" panose="020B0604020202020204" pitchFamily="34" charset="0"/>
              <a:buChar char="•"/>
            </a:pPr>
            <a:r>
              <a:rPr lang="en-US" dirty="0"/>
              <a:t>360 degrees view of operations</a:t>
            </a:r>
          </a:p>
          <a:p>
            <a:pPr marL="172882" indent="-172882">
              <a:buFont typeface="Arial" panose="020B0604020202020204" pitchFamily="34" charset="0"/>
              <a:buChar char="•"/>
            </a:pPr>
            <a:r>
              <a:rPr lang="en-US" dirty="0"/>
              <a:t>Coordination of entire process</a:t>
            </a:r>
          </a:p>
          <a:p>
            <a:pPr marL="172882" indent="-172882">
              <a:buFont typeface="Arial" panose="020B0604020202020204" pitchFamily="34" charset="0"/>
              <a:buChar char="•"/>
            </a:pPr>
            <a:r>
              <a:rPr lang="en-US" dirty="0"/>
              <a:t>Actionable and collaborative</a:t>
            </a:r>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13106E9B-4521-40D2-92B0-11D9407C5A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09406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P&amp;G</a:t>
            </a:r>
          </a:p>
          <a:p>
            <a:r>
              <a:rPr lang="en-US" sz="1000" dirty="0"/>
              <a:t>Business challenges</a:t>
            </a:r>
          </a:p>
          <a:p>
            <a:pPr marL="174708" indent="-174708">
              <a:buFont typeface="Arial" panose="020B0604020202020204" pitchFamily="34" charset="0"/>
              <a:buChar char="•"/>
            </a:pPr>
            <a:r>
              <a:rPr lang="en-US" sz="1000" dirty="0"/>
              <a:t>High ongoing cost to maintain large number of custom applications </a:t>
            </a:r>
          </a:p>
          <a:p>
            <a:pPr marL="174708" indent="-174708">
              <a:buFont typeface="Arial" panose="020B0604020202020204" pitchFamily="34" charset="0"/>
              <a:buChar char="•"/>
            </a:pPr>
            <a:r>
              <a:rPr lang="en-US" sz="1000" dirty="0"/>
              <a:t>High cost and low value for manufacturing system enhancements </a:t>
            </a:r>
          </a:p>
          <a:p>
            <a:pPr marL="174708" indent="-174708">
              <a:buFont typeface="Arial" panose="020B0604020202020204" pitchFamily="34" charset="0"/>
              <a:buChar char="•"/>
            </a:pPr>
            <a:r>
              <a:rPr lang="en-US" sz="1000" dirty="0"/>
              <a:t>Inconsistent approach to operational intelligence </a:t>
            </a:r>
          </a:p>
          <a:p>
            <a:pPr marL="174708" indent="-174708">
              <a:buFont typeface="Arial" panose="020B0604020202020204" pitchFamily="34" charset="0"/>
              <a:buChar char="•"/>
            </a:pPr>
            <a:r>
              <a:rPr lang="en-US" sz="1000" dirty="0"/>
              <a:t>Lack of enterprise governance </a:t>
            </a:r>
          </a:p>
          <a:p>
            <a:pPr marL="174708" indent="-174708">
              <a:buFont typeface="Arial" panose="020B0604020202020204" pitchFamily="34" charset="0"/>
              <a:buChar char="•"/>
            </a:pPr>
            <a:endParaRPr lang="en-US" sz="1000" dirty="0"/>
          </a:p>
          <a:p>
            <a:r>
              <a:rPr lang="en-US" sz="1000" dirty="0"/>
              <a:t>ThingWorx enables, in a unified manner, the aggregation, and presentation of critical operations and business system data (KPI data, in process, and output measures). </a:t>
            </a:r>
          </a:p>
          <a:p>
            <a:r>
              <a:rPr lang="en-US" sz="1000" dirty="0"/>
              <a:t>The information is delivered via mashups across a variety of flexible presentation medium to including large screen displays, mobile devices and PC’s.</a:t>
            </a:r>
          </a:p>
          <a:p>
            <a:endParaRPr lang="en-US" sz="1000" dirty="0"/>
          </a:p>
          <a:p>
            <a:pPr marL="234544" lvl="1" indent="-234544" defTabSz="931705">
              <a:spcBef>
                <a:spcPts val="1834"/>
              </a:spcBef>
              <a:spcAft>
                <a:spcPts val="204"/>
              </a:spcAft>
              <a:buClr>
                <a:srgbClr val="236192"/>
              </a:buClr>
              <a:buFont typeface="Arial" pitchFamily="34" charset="0"/>
              <a:buChar char="•"/>
            </a:pPr>
            <a:r>
              <a:rPr lang="en-US" dirty="0">
                <a:solidFill>
                  <a:srgbClr val="236192"/>
                </a:solidFill>
                <a:latin typeface="Arial" panose="020B0604020202020204" pitchFamily="34" charset="0"/>
                <a:cs typeface="Arial" panose="020B0604020202020204" pitchFamily="34" charset="0"/>
              </a:rPr>
              <a:t>Overall Business Goal</a:t>
            </a:r>
            <a:r>
              <a:rPr lang="en-US" baseline="0" dirty="0">
                <a:solidFill>
                  <a:srgbClr val="236192"/>
                </a:solidFill>
                <a:latin typeface="Arial" panose="020B0604020202020204" pitchFamily="34" charset="0"/>
                <a:cs typeface="Arial" panose="020B0604020202020204" pitchFamily="34" charset="0"/>
              </a:rPr>
              <a:t> - </a:t>
            </a:r>
            <a:r>
              <a:rPr lang="en-US" sz="1600" dirty="0">
                <a:solidFill>
                  <a:srgbClr val="4C4D4F"/>
                </a:solidFill>
                <a:latin typeface="Arial" panose="020B0604020202020204" pitchFamily="34" charset="0"/>
                <a:cs typeface="Arial" panose="020B0604020202020204" pitchFamily="34" charset="0"/>
              </a:rPr>
              <a:t>Drive manufacturing performance by automatically delivering manufacturing performance data in the right time to the right person, and enable advanced analysis. As part of overall digitization initiative, P&amp;G needed to move from hundreds of custom manufacturing intelligence applications  to a common, web based framework for delivering normalized KPIs and enterprise manufacturing intelligence (EMI) applications, while making that data available to advanced analytics.</a:t>
            </a:r>
          </a:p>
          <a:p>
            <a:pPr marL="234544" lvl="1" indent="-234544" defTabSz="931705">
              <a:spcBef>
                <a:spcPts val="1834"/>
              </a:spcBef>
              <a:spcAft>
                <a:spcPts val="204"/>
              </a:spcAft>
              <a:buClr>
                <a:srgbClr val="236192"/>
              </a:buClr>
              <a:buFont typeface="Arial" pitchFamily="34" charset="0"/>
              <a:buChar char="•"/>
            </a:pPr>
            <a:r>
              <a:rPr lang="en-US" dirty="0">
                <a:solidFill>
                  <a:srgbClr val="236192"/>
                </a:solidFill>
                <a:latin typeface="Arial" panose="020B0604020202020204" pitchFamily="34" charset="0"/>
                <a:cs typeface="Arial" panose="020B0604020202020204" pitchFamily="34" charset="0"/>
              </a:rPr>
              <a:t>Current State/Negative Consequences -</a:t>
            </a:r>
            <a:r>
              <a:rPr lang="en-US" baseline="0" dirty="0">
                <a:solidFill>
                  <a:srgbClr val="236192"/>
                </a:solidFill>
                <a:latin typeface="Arial" panose="020B0604020202020204" pitchFamily="34" charset="0"/>
                <a:cs typeface="Arial" panose="020B0604020202020204" pitchFamily="34" charset="0"/>
              </a:rPr>
              <a:t> </a:t>
            </a:r>
            <a:r>
              <a:rPr lang="en-US" sz="1600" dirty="0">
                <a:solidFill>
                  <a:srgbClr val="4C4D4F"/>
                </a:solidFill>
                <a:latin typeface="Arial" panose="020B0604020202020204" pitchFamily="34" charset="0"/>
                <a:cs typeface="Arial" panose="020B0604020202020204" pitchFamily="34" charset="0"/>
              </a:rPr>
              <a:t>High costs and low value delivered for mfg. systems improvements. Inconsistent approach to operational intelligence, manual data not being leveraged, no enterprise governance. Integration with mfg. and enterprise systems difficult. Negative Consequences - do nothing or rogue projects that don’t scale or align with corporate strategy, and result in more silos that don’t contribute to enterprise value. Inconsistent KPIs, so site to site/asset to asset comparisons difficult. Access to data for analysis difficult. </a:t>
            </a:r>
          </a:p>
          <a:p>
            <a:pPr marL="234544" lvl="1" indent="-234544" defTabSz="931705">
              <a:spcBef>
                <a:spcPts val="1834"/>
              </a:spcBef>
              <a:spcAft>
                <a:spcPts val="204"/>
              </a:spcAft>
              <a:buClr>
                <a:srgbClr val="236192"/>
              </a:buClr>
              <a:buFont typeface="Arial" pitchFamily="34" charset="0"/>
              <a:buChar char="•"/>
            </a:pPr>
            <a:r>
              <a:rPr lang="en-US" dirty="0">
                <a:solidFill>
                  <a:srgbClr val="236192"/>
                </a:solidFill>
                <a:latin typeface="Arial" panose="020B0604020202020204" pitchFamily="34" charset="0"/>
                <a:cs typeface="Arial" panose="020B0604020202020204" pitchFamily="34" charset="0"/>
              </a:rPr>
              <a:t>Desired State/Positive Outcomes – </a:t>
            </a:r>
            <a:r>
              <a:rPr lang="en-US" sz="1600" dirty="0">
                <a:solidFill>
                  <a:srgbClr val="4C4D4F"/>
                </a:solidFill>
                <a:latin typeface="Arial" panose="020B0604020202020204" pitchFamily="34" charset="0"/>
                <a:cs typeface="Arial" panose="020B0604020202020204" pitchFamily="34" charset="0"/>
              </a:rPr>
              <a:t>Manufacturing performance data is normalized and digitized through powerful role-based web applications, with the ability for the end use to configure their own views. Positive Outcomes – The right data is presented to, and analyzed by, the right people to drive continuous improvement in manufacturing.</a:t>
            </a:r>
          </a:p>
          <a:p>
            <a:pPr marL="234544" lvl="1" indent="-234544" defTabSz="931705">
              <a:spcBef>
                <a:spcPts val="1834"/>
              </a:spcBef>
              <a:spcAft>
                <a:spcPts val="204"/>
              </a:spcAft>
              <a:buClr>
                <a:srgbClr val="236192"/>
              </a:buClr>
              <a:buFont typeface="Arial" pitchFamily="34" charset="0"/>
              <a:buChar char="•"/>
            </a:pPr>
            <a:r>
              <a:rPr lang="en-US" dirty="0">
                <a:solidFill>
                  <a:srgbClr val="236192"/>
                </a:solidFill>
                <a:latin typeface="Arial" panose="020B0604020202020204" pitchFamily="34" charset="0"/>
                <a:cs typeface="Arial" panose="020B0604020202020204" pitchFamily="34" charset="0"/>
              </a:rPr>
              <a:t>Success Metrics - </a:t>
            </a:r>
            <a:r>
              <a:rPr lang="en-US" sz="1600" dirty="0">
                <a:solidFill>
                  <a:srgbClr val="4C4D4F"/>
                </a:solidFill>
                <a:latin typeface="Arial" panose="020B0604020202020204" pitchFamily="34" charset="0"/>
                <a:cs typeface="Arial" panose="020B0604020202020204" pitchFamily="34" charset="0"/>
              </a:rPr>
              <a:t>Cost, quality, and supply chain performance are all manufacturing metrics that are driving this digitization initiative. </a:t>
            </a:r>
          </a:p>
          <a:p>
            <a:endParaRPr lang="en-US" sz="1000"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13106E9B-4521-40D2-92B0-11D9407C5A35}"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27070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effectLst/>
                <a:latin typeface="+mn-lt"/>
                <a:ea typeface="+mn-ea"/>
                <a:cs typeface="+mn-cs"/>
              </a:rPr>
              <a:t>HIROTEC America implements IoT with the six-week spri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HIROTEC is a leading tier-one component and tooling supplier for the Automotive Industry. </a:t>
            </a:r>
            <a:r>
              <a:rPr lang="en-US" sz="1200" kern="1200" dirty="0">
                <a:solidFill>
                  <a:schemeClr val="tx1"/>
                </a:solidFill>
                <a:effectLst/>
                <a:latin typeface="+mn-lt"/>
                <a:ea typeface="+mn-ea"/>
                <a:cs typeface="+mn-cs"/>
              </a:rPr>
              <a:t>Operational downtime is a significant issue facing Original Equipment Manufacturers (OEMs). HIROTEC sought to eliminate this trend of reactive maintenance and lost opportunities by utilizing the information and systems it had on hand to gain deeper insight into its operations and processes. Recognizing the need for connectivity, data access, and scalability, executives at HIROTEC worked to develop a competitive strategy to capitalize on the potential benefits of the Internet of Things (IoT). HIROTEC chose an IoT platform that enabled company-wide device-to-cloud connectivity through one overarching toolse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pecifics on</a:t>
            </a:r>
            <a:r>
              <a:rPr lang="en-US" sz="1200" b="1" kern="1200" baseline="0" dirty="0">
                <a:solidFill>
                  <a:schemeClr val="tx1"/>
                </a:solidFill>
                <a:effectLst/>
                <a:latin typeface="+mn-lt"/>
                <a:ea typeface="+mn-ea"/>
                <a:cs typeface="+mn-cs"/>
              </a:rPr>
              <a:t> their first project – CNC Machine room – Detroit plant</a:t>
            </a:r>
            <a:r>
              <a:rPr lang="en-US" sz="1200" b="1" kern="1200" dirty="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irotec decided to start their first IoT in their</a:t>
            </a:r>
            <a:r>
              <a:rPr lang="en-US" sz="1200" kern="1200" baseline="0" dirty="0">
                <a:solidFill>
                  <a:schemeClr val="tx1"/>
                </a:solidFill>
                <a:effectLst/>
                <a:latin typeface="+mn-lt"/>
                <a:ea typeface="+mn-ea"/>
                <a:cs typeface="+mn-cs"/>
              </a:rPr>
              <a:t> critical CNC machine shop in their Detroit area plant. While some of the machines are new and fully Ethernet- capable, some of the mature machines have been producing quality parts since before the internet.  When they started the project, they even found that one of the units had a very unique capability to trigger a paper when the unit faulted.  Of course, no one carries a pager any longer, so that protocol was of little use.  The challenge was to find communication software that could talk to the diverse protocols, with a presentation layer solution that can display it al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fter evaluating several traditional IoT offerings from traditional industrial automation vendors, HIROTEC found that many solutions were restricted to a single business aspect, protocol, or standard. Not wanting to waste time and effort integrating multiple solutions across several business functions, HIROTEC finally turned to the ThingWorx® IoT Platform and </a:t>
            </a:r>
            <a:r>
              <a:rPr lang="en-US" sz="1200" kern="1200" dirty="0" err="1">
                <a:solidFill>
                  <a:schemeClr val="tx1"/>
                </a:solidFill>
                <a:effectLst/>
                <a:latin typeface="+mn-lt"/>
                <a:ea typeface="+mn-ea"/>
                <a:cs typeface="+mn-cs"/>
              </a:rPr>
              <a:t>Kepware’s</a:t>
            </a:r>
            <a:r>
              <a:rPr lang="en-US" sz="1200" kern="1200" dirty="0">
                <a:solidFill>
                  <a:schemeClr val="tx1"/>
                </a:solidFill>
                <a:effectLst/>
                <a:latin typeface="+mn-lt"/>
                <a:ea typeface="+mn-ea"/>
                <a:cs typeface="+mn-cs"/>
              </a:rPr>
              <a:t> KEPServerEX®—both solutions from PTC—to enable company-wide device-to-cloud connectivity through one overarching toolset. Working together to deploy a single source of smart solutions for the IoT, the ThingWorx platform would be able to provide analytical insight into HIROTEC’s data through industrial data streamed from the IoT Gateway for KEPServerEX, an advanced plug-in capable of pushing information from KEPServerEX into Big Data and analytic software applica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Organization Impact &amp; Benefi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Improved visibility into the processes of the CNC shop and gained deeper insight into operations</a:t>
            </a:r>
          </a:p>
          <a:p>
            <a:r>
              <a:rPr lang="en-US" sz="1200" kern="1200" dirty="0">
                <a:solidFill>
                  <a:schemeClr val="tx1"/>
                </a:solidFill>
                <a:effectLst/>
                <a:latin typeface="+mn-lt"/>
                <a:ea typeface="+mn-ea"/>
                <a:cs typeface="+mn-cs"/>
              </a:rPr>
              <a:t>•	Added the ability to leverage real-time data from the shop floor and tie it to the scheduling ERP system, optimizing the scheduling of parts to CNC modules</a:t>
            </a:r>
          </a:p>
          <a:p>
            <a:r>
              <a:rPr lang="en-US" sz="1200" kern="1200" dirty="0">
                <a:solidFill>
                  <a:schemeClr val="tx1"/>
                </a:solidFill>
                <a:effectLst/>
                <a:latin typeface="+mn-lt"/>
                <a:ea typeface="+mn-ea"/>
                <a:cs typeface="+mn-cs"/>
              </a:rPr>
              <a:t>•	Increased productivity and ROI by gaining greater insight into asset and resource allocation</a:t>
            </a:r>
          </a:p>
          <a:p>
            <a:r>
              <a:rPr lang="en-US" sz="1200" kern="1200" dirty="0">
                <a:solidFill>
                  <a:schemeClr val="tx1"/>
                </a:solidFill>
                <a:effectLst/>
                <a:latin typeface="+mn-lt"/>
                <a:ea typeface="+mn-ea"/>
                <a:cs typeface="+mn-cs"/>
              </a:rPr>
              <a:t>•	Improved collaboration between Operations and Information Technology (IT) departments, reducing downtime and enabling more efficient responses to IT jobs</a:t>
            </a:r>
          </a:p>
          <a:p>
            <a:r>
              <a:rPr lang="en-US" sz="1200" kern="1200" dirty="0">
                <a:solidFill>
                  <a:schemeClr val="tx1"/>
                </a:solidFill>
                <a:effectLst/>
                <a:latin typeface="+mn-lt"/>
                <a:ea typeface="+mn-ea"/>
                <a:cs typeface="+mn-cs"/>
              </a:rPr>
              <a:t>•	Reduced costs, effort, and development time by selecting proven, interoperable technologies</a:t>
            </a:r>
          </a:p>
          <a:p>
            <a:r>
              <a:rPr lang="en-US" sz="1200" kern="1200" dirty="0">
                <a:solidFill>
                  <a:schemeClr val="tx1"/>
                </a:solidFill>
                <a:effectLst/>
                <a:latin typeface="+mn-lt"/>
                <a:ea typeface="+mn-ea"/>
                <a:cs typeface="+mn-cs"/>
              </a:rPr>
              <a:t>•	Provided quick proof-of-concept into the value of IoT via short, six-week Agile spri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ith data-centric knowledge generated from ThingWorx and KEPServerEX, they can now make smarter and timelier decisions that not only impact their CNC shop, but also help identify how they can operate more efficiently and profitably across all of their</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acilities.  </a:t>
            </a:r>
            <a:r>
              <a:rPr lang="en-US" sz="1200" b="1" i="1" kern="1200" dirty="0">
                <a:solidFill>
                  <a:schemeClr val="tx1"/>
                </a:solidFill>
                <a:effectLst/>
                <a:latin typeface="+mn-lt"/>
                <a:ea typeface="+mn-ea"/>
                <a:cs typeface="+mn-cs"/>
              </a:rPr>
              <a:t>“In just six short weeks, we’ve gained more visibility into our operations than ever before, reinforcing our investment and belief in the power of the IoT,” </a:t>
            </a:r>
            <a:r>
              <a:rPr lang="en-US" sz="1200" kern="1200" dirty="0">
                <a:solidFill>
                  <a:schemeClr val="tx1"/>
                </a:solidFill>
                <a:effectLst/>
                <a:latin typeface="+mn-lt"/>
                <a:ea typeface="+mn-ea"/>
                <a:cs typeface="+mn-cs"/>
              </a:rPr>
              <a:t>said Justin Hester Senior Researcher HIROTEC.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b="1" dirty="0"/>
          </a:p>
          <a:p>
            <a:endParaRPr lang="en-US" b="1" dirty="0"/>
          </a:p>
          <a:p>
            <a:r>
              <a:rPr lang="en-US" b="1" dirty="0"/>
              <a:t>Problem:</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Untapped machine-generated information</a:t>
            </a:r>
            <a:endParaRPr lang="en-US" b="1" dirty="0"/>
          </a:p>
          <a:p>
            <a:pPr marL="171450" indent="-171450">
              <a:buFont typeface="Arial" panose="020B0604020202020204" pitchFamily="34" charset="0"/>
              <a:buChar char="•"/>
            </a:pPr>
            <a:r>
              <a:rPr lang="en-US" b="0" dirty="0"/>
              <a:t>Operational</a:t>
            </a:r>
            <a:r>
              <a:rPr lang="en-US" b="0" baseline="0" dirty="0"/>
              <a:t> Downtime</a:t>
            </a:r>
          </a:p>
          <a:p>
            <a:pPr marL="171450" indent="-171450">
              <a:buFont typeface="Arial" panose="020B0604020202020204" pitchFamily="34" charset="0"/>
              <a:buChar char="•"/>
            </a:pPr>
            <a:r>
              <a:rPr lang="en-US" b="0" baseline="0" dirty="0"/>
              <a:t>Reactive Maintenance </a:t>
            </a:r>
            <a:endParaRPr lang="en-US" b="0" dirty="0"/>
          </a:p>
          <a:p>
            <a:endParaRPr lang="en-US" dirty="0"/>
          </a:p>
          <a:p>
            <a:r>
              <a:rPr lang="en-US" sz="1200" b="1" kern="1200" dirty="0">
                <a:solidFill>
                  <a:schemeClr val="tx1"/>
                </a:solidFill>
                <a:effectLst/>
                <a:latin typeface="+mn-lt"/>
                <a:ea typeface="+mn-ea"/>
                <a:cs typeface="+mn-cs"/>
              </a:rPr>
              <a:t>Solution:</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hingWorx® IoT Platform</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KEPServerEX®</a:t>
            </a:r>
          </a:p>
          <a:p>
            <a:endParaRPr lang="en-US" dirty="0"/>
          </a:p>
        </p:txBody>
      </p:sp>
      <p:sp>
        <p:nvSpPr>
          <p:cNvPr id="4" name="Slide Number Placeholder 3"/>
          <p:cNvSpPr>
            <a:spLocks noGrp="1"/>
          </p:cNvSpPr>
          <p:nvPr>
            <p:ph type="sldNum" sz="quarter" idx="10"/>
          </p:nvPr>
        </p:nvSpPr>
        <p:spPr/>
        <p:txBody>
          <a:bodyPr/>
          <a:lstStyle/>
          <a:p>
            <a:fld id="{4692908A-A585-4F66-8E05-3AC591AF75AA}" type="slidenum">
              <a:rPr lang="en-US" smtClean="0"/>
              <a:t>53</a:t>
            </a:fld>
            <a:endParaRPr lang="en-US"/>
          </a:p>
        </p:txBody>
      </p:sp>
    </p:spTree>
    <p:extLst>
      <p:ext uri="{BB962C8B-B14F-4D97-AF65-F5344CB8AC3E}">
        <p14:creationId xmlns:p14="http://schemas.microsoft.com/office/powerpoint/2010/main" val="15404727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Airbus is a  multibillion-dollar European aircraft maker, which controls half the worldwide commercial airplane market.  They are applying ThingWorx not only to products, but to their manufacturing process.  Airbus believes that by connecting both the people and tools to ThingWorx manufacturing speed increases and quality improves.</a:t>
            </a:r>
          </a:p>
          <a:p>
            <a:endParaRPr lang="en-US" dirty="0"/>
          </a:p>
          <a:p>
            <a:r>
              <a:rPr lang="en-US" dirty="0"/>
              <a:t>Challenges:</a:t>
            </a:r>
          </a:p>
          <a:p>
            <a:r>
              <a:rPr lang="en-US" dirty="0"/>
              <a:t> - Complex assembly thousands of manual steps by operators</a:t>
            </a:r>
          </a:p>
          <a:p>
            <a:r>
              <a:rPr lang="en-US" dirty="0"/>
              <a:t> - Paper for assembly instructions and quality inspection</a:t>
            </a:r>
          </a:p>
          <a:p>
            <a:r>
              <a:rPr lang="en-US" dirty="0"/>
              <a:t> - Critical data trapped in enterprise systems and complicated to access</a:t>
            </a:r>
          </a:p>
          <a:p>
            <a:r>
              <a:rPr lang="en-US" dirty="0"/>
              <a:t> - A single assembly mistake can be costly</a:t>
            </a:r>
          </a:p>
          <a:p>
            <a:endParaRPr lang="en-US" dirty="0"/>
          </a:p>
          <a:p>
            <a:r>
              <a:rPr lang="en-US" dirty="0"/>
              <a:t>Goals:</a:t>
            </a:r>
          </a:p>
          <a:p>
            <a:r>
              <a:rPr lang="en-US" dirty="0"/>
              <a:t> - Simple paperless solutions</a:t>
            </a:r>
          </a:p>
          <a:p>
            <a:r>
              <a:rPr lang="en-US" dirty="0"/>
              <a:t> - More productive user experience</a:t>
            </a:r>
          </a:p>
          <a:p>
            <a:endParaRPr lang="en-US" dirty="0"/>
          </a:p>
          <a:p>
            <a:r>
              <a:rPr lang="en-US" dirty="0"/>
              <a:t>Solution:</a:t>
            </a:r>
          </a:p>
          <a:p>
            <a:r>
              <a:rPr lang="en-US" dirty="0"/>
              <a:t>Airbus has implemented a ThingWorx solution to monitoring the installation of thousands of fasteners.  By connecting both the people and the robotic tools to the solution the worker on the factory floor can use a tablet or smart glasses to scan an airplane’s metal skin and determine what size bolt is needed in a given hole, and the torque required to install it.  That information can be automatically sent to a robotic tool, which completes the task.  This connectivity improves quality and makes the process quicker compared to a manual process. </a:t>
            </a:r>
          </a:p>
          <a:p>
            <a:r>
              <a:rPr lang="en-US" dirty="0"/>
              <a:t>The ThingWorx solution is also being used to deliver digital work instructions to the plant floor.  Previously operators were working with as many as three screens in addition to paper to view work instructions.</a:t>
            </a:r>
          </a:p>
          <a:p>
            <a:r>
              <a:rPr lang="en-US" dirty="0"/>
              <a:t> - Integration (systems, people, tools)</a:t>
            </a:r>
          </a:p>
          <a:p>
            <a:r>
              <a:rPr lang="en-US" dirty="0"/>
              <a:t> - Access to 3D product definition and engineering standards (work instructions)</a:t>
            </a:r>
          </a:p>
          <a:p>
            <a:r>
              <a:rPr lang="en-US" dirty="0"/>
              <a:t> - Process execution (to drive hand tools)</a:t>
            </a:r>
          </a:p>
          <a:p>
            <a:r>
              <a:rPr lang="en-US" dirty="0"/>
              <a:t> - Manage and check the operator’s tasks by adding intelligence to the tools and shop floor systems</a:t>
            </a:r>
          </a:p>
          <a:p>
            <a:endParaRPr lang="en-US" dirty="0"/>
          </a:p>
          <a:p>
            <a:r>
              <a:rPr lang="en-US" dirty="0"/>
              <a:t>Benefits:</a:t>
            </a:r>
          </a:p>
          <a:p>
            <a:r>
              <a:rPr lang="en-US" dirty="0"/>
              <a:t> - Manage and check operator’s tasks with intelligence added to tools and systems</a:t>
            </a:r>
          </a:p>
          <a:p>
            <a:r>
              <a:rPr lang="en-US" dirty="0"/>
              <a:t> - Error proof manual operations </a:t>
            </a:r>
          </a:p>
          <a:p>
            <a:r>
              <a:rPr lang="en-US" dirty="0"/>
              <a:t> - Prevent operator mistakes and failures</a:t>
            </a:r>
          </a:p>
          <a:p>
            <a:r>
              <a:rPr lang="en-US" dirty="0"/>
              <a:t> - Real-time closed loop verification</a:t>
            </a:r>
          </a:p>
          <a:p>
            <a:r>
              <a:rPr lang="en-US" dirty="0"/>
              <a:t> - Improve quality decreases re-work</a:t>
            </a:r>
          </a:p>
          <a:p>
            <a:r>
              <a:rPr lang="en-US" dirty="0"/>
              <a:t> - Simplify the production process</a:t>
            </a:r>
          </a:p>
          <a:p>
            <a:r>
              <a:rPr lang="en-US" dirty="0"/>
              <a:t> - Improve operator efficiency</a:t>
            </a:r>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67EE018C-FE40-7742-9E6A-36AE885D66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19199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E018C-FE40-7742-9E6A-36AE885D669A}"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30197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ompany</a:t>
            </a:r>
            <a:r>
              <a:rPr lang="en-US" baseline="0" dirty="0"/>
              <a:t> is a global leader in the semiconductor industry.  It has 26,000+ patents, locate in 18 countries with 30,000+ employees worldwide.</a:t>
            </a:r>
          </a:p>
          <a:p>
            <a:endParaRPr lang="en-US" baseline="0" dirty="0"/>
          </a:p>
          <a:p>
            <a:r>
              <a:rPr lang="en-US" baseline="0" dirty="0"/>
              <a:t>This plant is very advance with </a:t>
            </a:r>
            <a:r>
              <a:rPr lang="en-US" baseline="0" dirty="0" err="1"/>
              <a:t>Mfg</a:t>
            </a:r>
            <a:r>
              <a:rPr lang="en-US" baseline="0" dirty="0"/>
              <a:t> tracking system, planning &amp; scheduling system, automated material handling system, equipment automation system, fault detection system, advance process system, engineering system, reporting system and Big Data Analysis System.</a:t>
            </a:r>
          </a:p>
          <a:p>
            <a:endParaRPr lang="en-US" baseline="0" dirty="0"/>
          </a:p>
          <a:p>
            <a:endParaRPr lang="en-SG"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63FC18E6-6B3D-4E5D-B709-2938BF4A7736}"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56</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03178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kern="1200" dirty="0">
                <a:solidFill>
                  <a:schemeClr val="tx1"/>
                </a:solidFill>
                <a:effectLst/>
                <a:latin typeface="+mn-lt"/>
                <a:ea typeface="+mn-ea"/>
                <a:cs typeface="+mn-cs"/>
              </a:rPr>
              <a:t>The emergence of digital era has reshaped business etiquettes. Real-time communication and automated inventory analysis are the key components to efficient supply chain management. In the cement business, real-time cement monitoring in silos undergoes the same concept. Information provided by the system is crucial for quick and precise production and logistics planning.</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  </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Real-time inventory of bulk cement in distributed silos are newly initiated and implemented at the pilot scale. SCG’s cement monitoring in silos is the very first </a:t>
            </a:r>
            <a:r>
              <a:rPr lang="en-US" altLang="zh-CN" sz="1200" kern="1200" dirty="0" err="1">
                <a:solidFill>
                  <a:schemeClr val="tx1"/>
                </a:solidFill>
                <a:effectLst/>
                <a:latin typeface="+mn-lt"/>
                <a:ea typeface="+mn-ea"/>
                <a:cs typeface="+mn-cs"/>
              </a:rPr>
              <a:t>IoT</a:t>
            </a:r>
            <a:r>
              <a:rPr lang="en-US" altLang="zh-CN" sz="1200" kern="1200" dirty="0">
                <a:solidFill>
                  <a:schemeClr val="tx1"/>
                </a:solidFill>
                <a:effectLst/>
                <a:latin typeface="+mn-lt"/>
                <a:ea typeface="+mn-ea"/>
                <a:cs typeface="+mn-cs"/>
              </a:rPr>
              <a:t> implementation in the manufacturing sector in Thailand. It comprises of four main components; sensor, </a:t>
            </a:r>
            <a:r>
              <a:rPr lang="en-US" altLang="zh-CN" sz="1200" kern="1200" dirty="0" err="1">
                <a:solidFill>
                  <a:schemeClr val="tx1"/>
                </a:solidFill>
                <a:effectLst/>
                <a:latin typeface="+mn-lt"/>
                <a:ea typeface="+mn-ea"/>
                <a:cs typeface="+mn-cs"/>
              </a:rPr>
              <a:t>IoT</a:t>
            </a:r>
            <a:r>
              <a:rPr lang="en-US" altLang="zh-CN" sz="1200" kern="1200" dirty="0">
                <a:solidFill>
                  <a:schemeClr val="tx1"/>
                </a:solidFill>
                <a:effectLst/>
                <a:latin typeface="+mn-lt"/>
                <a:ea typeface="+mn-ea"/>
                <a:cs typeface="+mn-cs"/>
              </a:rPr>
              <a:t> gateway, </a:t>
            </a:r>
            <a:r>
              <a:rPr lang="en-US" altLang="zh-CN" sz="1200" kern="1200" dirty="0" err="1">
                <a:solidFill>
                  <a:schemeClr val="tx1"/>
                </a:solidFill>
                <a:effectLst/>
                <a:latin typeface="+mn-lt"/>
                <a:ea typeface="+mn-ea"/>
                <a:cs typeface="+mn-cs"/>
              </a:rPr>
              <a:t>IoT</a:t>
            </a:r>
            <a:r>
              <a:rPr lang="en-US" altLang="zh-CN" sz="1200" kern="1200" dirty="0">
                <a:solidFill>
                  <a:schemeClr val="tx1"/>
                </a:solidFill>
                <a:effectLst/>
                <a:latin typeface="+mn-lt"/>
                <a:ea typeface="+mn-ea"/>
                <a:cs typeface="+mn-cs"/>
              </a:rPr>
              <a:t> platform for data management, and analytics. Without labor needed, the remained inventory is automatically captured through sensor/scale. Then, the data is transferred via </a:t>
            </a:r>
            <a:r>
              <a:rPr lang="en-US" altLang="zh-CN" sz="1200" kern="1200" dirty="0" err="1">
                <a:solidFill>
                  <a:schemeClr val="tx1"/>
                </a:solidFill>
                <a:effectLst/>
                <a:latin typeface="+mn-lt"/>
                <a:ea typeface="+mn-ea"/>
                <a:cs typeface="+mn-cs"/>
              </a:rPr>
              <a:t>IoT</a:t>
            </a:r>
            <a:r>
              <a:rPr lang="en-US" altLang="zh-CN" sz="1200" kern="1200" dirty="0">
                <a:solidFill>
                  <a:schemeClr val="tx1"/>
                </a:solidFill>
                <a:effectLst/>
                <a:latin typeface="+mn-lt"/>
                <a:ea typeface="+mn-ea"/>
                <a:cs typeface="+mn-cs"/>
              </a:rPr>
              <a:t> gateway and stored at private cloud. In the database, data can further be analyzed such as site consumption rate, average minimum and maximum of cement.</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 </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The project was started in November 2016 with a single pilot silo. Currently, the project was scaled up to 40 silos with 6 different locations (as of April 2017). This initiation allows SCG to visualize the up-to-date inventory over the internet using </a:t>
            </a:r>
            <a:r>
              <a:rPr lang="en-US" altLang="zh-CN" sz="1200" kern="1200" dirty="0" err="1">
                <a:solidFill>
                  <a:schemeClr val="tx1"/>
                </a:solidFill>
                <a:effectLst/>
                <a:latin typeface="+mn-lt"/>
                <a:ea typeface="+mn-ea"/>
                <a:cs typeface="+mn-cs"/>
              </a:rPr>
              <a:t>IoT</a:t>
            </a:r>
            <a:r>
              <a:rPr lang="en-US" altLang="zh-CN" sz="1200" kern="1200" dirty="0">
                <a:solidFill>
                  <a:schemeClr val="tx1"/>
                </a:solidFill>
                <a:effectLst/>
                <a:latin typeface="+mn-lt"/>
                <a:ea typeface="+mn-ea"/>
                <a:cs typeface="+mn-cs"/>
              </a:rPr>
              <a:t> concept and also be able to link the information between silo owners and logistics team. When the completed mesh is carried out, it could potentially enable the auto-replenishment program to the business. This could lead to immense potential which could impact on the current busines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E018C-FE40-7742-9E6A-36AE885D669A}"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3677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5261" indent="-165261">
              <a:buFont typeface="Arial" panose="020B0604020202020204" pitchFamily="34" charset="0"/>
              <a:buChar char="•"/>
            </a:pPr>
            <a:r>
              <a:rPr lang="en-US" baseline="0" dirty="0"/>
              <a:t>This slide provides another way to introduce the company for those that don’t know us</a:t>
            </a:r>
          </a:p>
          <a:p>
            <a:pPr marL="165261" indent="-165261">
              <a:buFont typeface="Arial" panose="020B0604020202020204" pitchFamily="34" charset="0"/>
              <a:buChar char="•"/>
            </a:pPr>
            <a:r>
              <a:rPr lang="en-US" baseline="0" dirty="0"/>
              <a:t>Our customers are distributed across many verticals, across the globe, and we generate over a billion USD with 6K employees and our partner developer ecosystem.</a:t>
            </a:r>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B50E04EE-0AFA-4AB3-A905-66D8F1D917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78120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he company owns and operates 29 manufacturing facilities in Malaysia, Thailand, China and marketing offices in Malaysia, United States and Germany.</a:t>
            </a:r>
          </a:p>
          <a:p>
            <a:endParaRPr lang="en-SG" dirty="0"/>
          </a:p>
          <a:p>
            <a:r>
              <a:rPr lang="en-US" dirty="0">
                <a:effectLst/>
              </a:rPr>
              <a:t>Their</a:t>
            </a:r>
            <a:r>
              <a:rPr lang="en-US" baseline="0" dirty="0">
                <a:effectLst/>
              </a:rPr>
              <a:t> challenges are that they have mixed of different advancement of production line.  One is they don’t even have control and there is one that have </a:t>
            </a:r>
            <a:r>
              <a:rPr lang="en-US" baseline="0" dirty="0" err="1">
                <a:effectLst/>
              </a:rPr>
              <a:t>scada</a:t>
            </a:r>
            <a:r>
              <a:rPr lang="en-US" baseline="0" dirty="0">
                <a:effectLst/>
              </a:rPr>
              <a:t> and HMI so the boss has no visibility of what is going on. They need a layer to connect to their systems, all their production line aggregate information so they have visibility to balance production. For example, if there is one production line is down, I can move the order by working with the </a:t>
            </a:r>
            <a:r>
              <a:rPr lang="en-US" baseline="0" dirty="0" err="1">
                <a:effectLst/>
              </a:rPr>
              <a:t>erp</a:t>
            </a:r>
            <a:r>
              <a:rPr lang="en-US" baseline="0" dirty="0">
                <a:effectLst/>
              </a:rPr>
              <a:t> to another line when we see the availability.</a:t>
            </a:r>
          </a:p>
          <a:p>
            <a:endParaRPr lang="en-US" baseline="0" dirty="0">
              <a:effectLst/>
            </a:endParaRPr>
          </a:p>
          <a:p>
            <a:r>
              <a:rPr lang="en-US" baseline="0" dirty="0">
                <a:effectLst/>
              </a:rPr>
              <a:t>Initially they plan to HMI into many line connect the LAN  and then develop the software. But they </a:t>
            </a:r>
            <a:r>
              <a:rPr lang="en-US" baseline="0" dirty="0" err="1">
                <a:effectLst/>
              </a:rPr>
              <a:t>realised</a:t>
            </a:r>
            <a:r>
              <a:rPr lang="en-US" baseline="0" dirty="0">
                <a:effectLst/>
              </a:rPr>
              <a:t> that the investment is very big, very line has a HMI then you need to built it infrastructure and the data will sit in the HMI only and have to find way to aggregate.  So we approach them and they make a decision in 2 weeks abandon their old plan. They want </a:t>
            </a:r>
            <a:r>
              <a:rPr lang="en-US" baseline="0" dirty="0" err="1">
                <a:effectLst/>
              </a:rPr>
              <a:t>thingworx</a:t>
            </a:r>
            <a:r>
              <a:rPr lang="en-US" baseline="0" dirty="0">
                <a:effectLst/>
              </a:rPr>
              <a:t> in their own private cloud.  They are able to connect to those who have PLC with </a:t>
            </a:r>
            <a:r>
              <a:rPr lang="en-US" baseline="0" dirty="0" err="1">
                <a:effectLst/>
              </a:rPr>
              <a:t>kepware</a:t>
            </a:r>
            <a:r>
              <a:rPr lang="en-US" baseline="0" dirty="0">
                <a:effectLst/>
              </a:rPr>
              <a:t>, go straight to SCADA to read the data. And those that don’t have PLC, they use the wireless sensors to tab it  to the router.   So they manage to put 100 lines commended in 6 months with least investmen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E018C-FE40-7742-9E6A-36AE885D669A}"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73879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ompany</a:t>
            </a:r>
            <a:r>
              <a:rPr lang="en-US" baseline="0" dirty="0"/>
              <a:t> is a global leader in the semiconductor industry.  It has 26,000+ patents, locate in 18 countries with 30,000+ employees worldwide.</a:t>
            </a:r>
          </a:p>
          <a:p>
            <a:endParaRPr lang="en-US" baseline="0" dirty="0"/>
          </a:p>
          <a:p>
            <a:r>
              <a:rPr lang="en-US" baseline="0" dirty="0"/>
              <a:t>This plant is very advance with </a:t>
            </a:r>
            <a:r>
              <a:rPr lang="en-US" baseline="0" dirty="0" err="1"/>
              <a:t>Mfg</a:t>
            </a:r>
            <a:r>
              <a:rPr lang="en-US" baseline="0" dirty="0"/>
              <a:t> tracking system, planning &amp; scheduling system, automated material handling system, equipment automation system, fault detection system, advance process system, engineering system, reporting system and Big Data Analysis System.</a:t>
            </a:r>
          </a:p>
          <a:p>
            <a:endParaRPr lang="en-US" baseline="0" dirty="0"/>
          </a:p>
          <a:p>
            <a:endParaRPr lang="en-SG"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63FC18E6-6B3D-4E5D-B709-2938BF4A7736}"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59</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89715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ompany</a:t>
            </a:r>
            <a:r>
              <a:rPr lang="en-US" baseline="0" dirty="0"/>
              <a:t> is a global leader in the semiconductor industry.  It has 26,000+ patents, locate in 18 countries with 30,000+ employees worldwide.</a:t>
            </a:r>
          </a:p>
          <a:p>
            <a:endParaRPr lang="en-US" baseline="0" dirty="0"/>
          </a:p>
          <a:p>
            <a:r>
              <a:rPr lang="en-US" baseline="0" dirty="0"/>
              <a:t>This plant is very advance with </a:t>
            </a:r>
            <a:r>
              <a:rPr lang="en-US" baseline="0" dirty="0" err="1"/>
              <a:t>Mfg</a:t>
            </a:r>
            <a:r>
              <a:rPr lang="en-US" baseline="0" dirty="0"/>
              <a:t> tracking system, planning &amp; scheduling system, automated material handling system, equipment automation system, fault detection system, advance process system, engineering system, reporting system and Big Data Analysis System.</a:t>
            </a:r>
          </a:p>
          <a:p>
            <a:endParaRPr lang="en-US" baseline="0" dirty="0"/>
          </a:p>
          <a:p>
            <a:endParaRPr lang="en-SG"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63FC18E6-6B3D-4E5D-B709-2938BF4A7736}"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60</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8147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8925" indent="-288925">
              <a:lnSpc>
                <a:spcPct val="110000"/>
              </a:lnSpc>
              <a:buFont typeface="Arial" panose="020B0604020202020204" pitchFamily="34" charset="0"/>
              <a:buChar char="•"/>
            </a:pPr>
            <a:r>
              <a:rPr lang="en-US" sz="1200" dirty="0"/>
              <a:t>There is no doubt THINGS ARE CHANGING in a BIG WAY</a:t>
            </a:r>
          </a:p>
          <a:p>
            <a:pPr marL="288925" indent="-288925">
              <a:lnSpc>
                <a:spcPct val="110000"/>
              </a:lnSpc>
              <a:buFont typeface="Arial" panose="020B0604020202020204" pitchFamily="34" charset="0"/>
              <a:buChar char="•"/>
            </a:pPr>
            <a:r>
              <a:rPr lang="en-US" sz="1200" dirty="0"/>
              <a:t>The Things we CREATE, OPERATE, DEPEND on, even ENTERTAIN ourselves with are all evolving from relatively simply PHYSICAL objects to include complex PHYSICAL/DIGITAL SYSTEMS</a:t>
            </a:r>
          </a:p>
          <a:p>
            <a:pPr marL="288925" indent="-288925">
              <a:lnSpc>
                <a:spcPct val="110000"/>
              </a:lnSpc>
              <a:buFont typeface="Arial" panose="020B0604020202020204" pitchFamily="34" charset="0"/>
              <a:buChar char="•"/>
            </a:pPr>
            <a:r>
              <a:rPr lang="en-US" sz="1200" dirty="0"/>
              <a:t>Discrete Phases along the way of PHYSICAL, SMART, CONNECTED, PRODUCT SYSTEMS, and SYSTEMs of SYSTEMS</a:t>
            </a:r>
          </a:p>
          <a:p>
            <a:pPr marL="288925" indent="-288925">
              <a:lnSpc>
                <a:spcPct val="110000"/>
              </a:lnSpc>
              <a:buFont typeface="Arial" panose="020B0604020202020204" pitchFamily="34" charset="0"/>
              <a:buChar char="•"/>
            </a:pPr>
            <a:r>
              <a:rPr lang="en-US" sz="1200" dirty="0"/>
              <a:t>EVERYTHING is headed down same</a:t>
            </a:r>
            <a:r>
              <a:rPr lang="en-US" sz="1200" baseline="0" dirty="0"/>
              <a:t> </a:t>
            </a:r>
            <a:r>
              <a:rPr lang="en-US" sz="1200" dirty="0"/>
              <a:t>EXCITING but slippery slope</a:t>
            </a:r>
          </a:p>
          <a:p>
            <a:pPr marL="288925" indent="-288925">
              <a:lnSpc>
                <a:spcPct val="110000"/>
              </a:lnSpc>
              <a:buFont typeface="Arial" panose="020B0604020202020204" pitchFamily="34" charset="0"/>
              <a:buChar char="•"/>
            </a:pPr>
            <a:r>
              <a:rPr lang="en-US" dirty="0"/>
              <a:t>Everything from your WATCH to your CAR to your HOME to your FACTORY to your CITY INFRASTRUCTURE is headed this way</a:t>
            </a:r>
          </a:p>
          <a:p>
            <a:pPr marL="288925" indent="-288925">
              <a:lnSpc>
                <a:spcPct val="110000"/>
              </a:lnSpc>
              <a:buFont typeface="Arial" panose="020B0604020202020204" pitchFamily="34" charset="0"/>
              <a:buChar char="•"/>
            </a:pPr>
            <a:r>
              <a:rPr lang="en-US" dirty="0"/>
              <a:t>Completely changes ENGINEERING , MANUFACTURING, OPERATIONS, SERVICE, even SALES &amp; MARKETING processes</a:t>
            </a:r>
          </a:p>
          <a:p>
            <a:pPr marL="288925" indent="-288925">
              <a:lnSpc>
                <a:spcPct val="110000"/>
              </a:lnSpc>
              <a:buFont typeface="Arial" panose="020B0604020202020204" pitchFamily="34" charset="0"/>
              <a:buChar char="•"/>
            </a:pPr>
            <a:r>
              <a:rPr lang="en-US" dirty="0"/>
              <a:t>Represents an OPPORTUNITY, a THREAT, and a CHALLENGE – all at the same time</a:t>
            </a:r>
          </a:p>
        </p:txBody>
      </p:sp>
      <p:sp>
        <p:nvSpPr>
          <p:cNvPr id="4" name="Slide Number Placeholder 3"/>
          <p:cNvSpPr>
            <a:spLocks noGrp="1"/>
          </p:cNvSpPr>
          <p:nvPr>
            <p:ph type="sldNum" sz="quarter" idx="10"/>
          </p:nvPr>
        </p:nvSpPr>
        <p:spPr/>
        <p:txBody>
          <a:bodyPr/>
          <a:lstStyle/>
          <a:p>
            <a:fld id="{013AEFB5-7D10-458B-8DD0-EB812D7A7076}" type="slidenum">
              <a:rPr lang="en-US" smtClean="0"/>
              <a:t>6</a:t>
            </a:fld>
            <a:endParaRPr lang="en-US" dirty="0"/>
          </a:p>
        </p:txBody>
      </p:sp>
    </p:spTree>
    <p:extLst>
      <p:ext uri="{BB962C8B-B14F-4D97-AF65-F5344CB8AC3E}">
        <p14:creationId xmlns:p14="http://schemas.microsoft.com/office/powerpoint/2010/main" val="22109666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5434" indent="-275434">
              <a:buFont typeface="Arial" panose="020B0604020202020204" pitchFamily="34" charset="0"/>
              <a:buChar char="•"/>
            </a:pPr>
            <a:r>
              <a:rPr lang="en-US" sz="1500" dirty="0">
                <a:solidFill>
                  <a:schemeClr val="bg1"/>
                </a:solidFill>
              </a:rPr>
              <a:t>This visionary</a:t>
            </a:r>
            <a:r>
              <a:rPr lang="en-US" sz="1500" baseline="0" dirty="0">
                <a:solidFill>
                  <a:schemeClr val="bg1"/>
                </a:solidFill>
              </a:rPr>
              <a:t> thinking has also informed our technology portfolio, and </a:t>
            </a:r>
            <a:r>
              <a:rPr lang="en-US" sz="1500" dirty="0">
                <a:solidFill>
                  <a:schemeClr val="bg1"/>
                </a:solidFill>
              </a:rPr>
              <a:t>PTC has developed a unique and best in class portfolio of technology to enable this industrial innovation.</a:t>
            </a:r>
          </a:p>
          <a:p>
            <a:pPr marL="275434" indent="-275434">
              <a:buFont typeface="Arial" panose="020B0604020202020204" pitchFamily="34" charset="0"/>
              <a:buChar char="•"/>
            </a:pPr>
            <a:endParaRPr lang="en-US" sz="1500" dirty="0">
              <a:solidFill>
                <a:schemeClr val="bg1"/>
              </a:solidFill>
            </a:endParaRPr>
          </a:p>
          <a:p>
            <a:pPr marL="275434" indent="-275434">
              <a:buFont typeface="Arial" panose="020B0604020202020204" pitchFamily="34" charset="0"/>
              <a:buChar char="•"/>
            </a:pPr>
            <a:r>
              <a:rPr lang="en-US" sz="1500" dirty="0">
                <a:solidFill>
                  <a:schemeClr val="bg1"/>
                </a:solidFill>
              </a:rPr>
              <a:t>Starting with</a:t>
            </a:r>
            <a:r>
              <a:rPr lang="en-US" sz="1500" baseline="0" dirty="0">
                <a:solidFill>
                  <a:schemeClr val="bg1"/>
                </a:solidFill>
              </a:rPr>
              <a:t> </a:t>
            </a:r>
            <a:r>
              <a:rPr lang="en-US" sz="1500" dirty="0">
                <a:solidFill>
                  <a:schemeClr val="bg1"/>
                </a:solidFill>
              </a:rPr>
              <a:t>Product Lifecycle Management,</a:t>
            </a:r>
            <a:r>
              <a:rPr lang="en-US" sz="1500" baseline="0" dirty="0">
                <a:solidFill>
                  <a:schemeClr val="bg1"/>
                </a:solidFill>
              </a:rPr>
              <a:t> PTC 30 years of experience and process expertise around our </a:t>
            </a:r>
            <a:r>
              <a:rPr lang="en-US" sz="1500" dirty="0">
                <a:solidFill>
                  <a:schemeClr val="bg1"/>
                </a:solidFill>
              </a:rPr>
              <a:t>best in class Product Lifecycle Management technology including CAD, PLM, ALM, SLM. </a:t>
            </a:r>
          </a:p>
          <a:p>
            <a:pPr marL="275434" indent="-275434">
              <a:buFont typeface="Arial" panose="020B0604020202020204" pitchFamily="34" charset="0"/>
              <a:buChar char="•"/>
            </a:pPr>
            <a:endParaRPr lang="en-US" sz="1500" dirty="0">
              <a:solidFill>
                <a:schemeClr val="bg1"/>
              </a:solidFill>
            </a:endParaRPr>
          </a:p>
          <a:p>
            <a:pPr marL="275434" indent="-275434">
              <a:buFont typeface="Arial" panose="020B0604020202020204" pitchFamily="34" charset="0"/>
              <a:buChar char="•"/>
            </a:pPr>
            <a:r>
              <a:rPr lang="en-US" sz="1500" dirty="0"/>
              <a:t>Next,</a:t>
            </a:r>
            <a:r>
              <a:rPr lang="en-US" sz="1500" baseline="0" dirty="0"/>
              <a:t> our </a:t>
            </a:r>
            <a:r>
              <a:rPr lang="en-US" sz="1500" dirty="0"/>
              <a:t>Industrial Innovation Platform is the fastest way for industrial companies to unlock value at the new frontier of innovation, ThingWorx provides industry with new ways to conceive products, optimize operations, and disrupt established industries.</a:t>
            </a:r>
          </a:p>
          <a:p>
            <a:pPr marL="258930" lvl="0" indent="-275434">
              <a:buFont typeface="Arial" panose="020B0604020202020204" pitchFamily="34" charset="0"/>
              <a:buChar char="•"/>
            </a:pPr>
            <a:r>
              <a:rPr lang="en-US" sz="1500" dirty="0"/>
              <a:t>We want customers to realize value quickly so PTC leveraged its process expertise and built “Accelerator Apps” for the most common use cases. For example:</a:t>
            </a:r>
          </a:p>
          <a:p>
            <a:pPr marL="1156825" lvl="2" indent="-275434">
              <a:buFont typeface="Arial" panose="020B0604020202020204" pitchFamily="34" charset="0"/>
              <a:buChar char="•"/>
            </a:pPr>
            <a:r>
              <a:rPr lang="en-US" sz="1500" dirty="0"/>
              <a:t>To better share Engineering data – ThingWorx Navigate</a:t>
            </a:r>
          </a:p>
          <a:p>
            <a:pPr marL="1156825" lvl="2" indent="-275434">
              <a:buFont typeface="Arial" panose="020B0604020202020204" pitchFamily="34" charset="0"/>
              <a:buChar char="•"/>
            </a:pPr>
            <a:r>
              <a:rPr lang="en-US" sz="1500" dirty="0"/>
              <a:t>To improve manufacturing and operations processes – ThingWorx Asset advisor, controls advisor and production advisor</a:t>
            </a:r>
          </a:p>
          <a:p>
            <a:pPr marL="1156825" lvl="2" indent="-275434">
              <a:buFont typeface="Arial" panose="020B0604020202020204" pitchFamily="34" charset="0"/>
              <a:buChar char="•"/>
            </a:pPr>
            <a:r>
              <a:rPr lang="en-US" sz="1500" dirty="0"/>
              <a:t>To</a:t>
            </a:r>
            <a:r>
              <a:rPr lang="en-US" sz="1500" baseline="0" dirty="0"/>
              <a:t> rapidly develop </a:t>
            </a:r>
            <a:r>
              <a:rPr lang="en-US" sz="1500" dirty="0"/>
              <a:t>Augmented Reality experiences – ThingWorx Studio </a:t>
            </a:r>
          </a:p>
          <a:p>
            <a:pPr marL="275434" indent="-275434">
              <a:buFont typeface="Arial" panose="020B0604020202020204" pitchFamily="34" charset="0"/>
              <a:buChar char="•"/>
            </a:pPr>
            <a:endParaRPr lang="en-US" sz="1500" dirty="0">
              <a:solidFill>
                <a:schemeClr val="bg1"/>
              </a:solidFill>
            </a:endParaRPr>
          </a:p>
          <a:p>
            <a:pPr marL="275434" indent="-275434">
              <a:buFont typeface="Arial" panose="020B0604020202020204" pitchFamily="34" charset="0"/>
              <a:buChar char="•"/>
            </a:pPr>
            <a:r>
              <a:rPr lang="en-US" sz="1500" dirty="0">
                <a:solidFill>
                  <a:schemeClr val="bg1"/>
                </a:solidFill>
              </a:rPr>
              <a:t>Partner</a:t>
            </a:r>
            <a:r>
              <a:rPr lang="en-US" sz="1500" baseline="0" dirty="0">
                <a:solidFill>
                  <a:schemeClr val="bg1"/>
                </a:solidFill>
              </a:rPr>
              <a:t> Solutions: </a:t>
            </a:r>
            <a:r>
              <a:rPr lang="en-US" sz="1500" dirty="0">
                <a:solidFill>
                  <a:schemeClr val="bg1"/>
                </a:solidFill>
              </a:rPr>
              <a:t>In addition to PTC apps, we have an extraordinary partner ecosystems that builds on top of PTCs best in class technology to create their</a:t>
            </a:r>
            <a:r>
              <a:rPr lang="en-US" sz="1500" baseline="0" dirty="0">
                <a:solidFill>
                  <a:schemeClr val="bg1"/>
                </a:solidFill>
              </a:rPr>
              <a:t> own specialized </a:t>
            </a:r>
            <a:r>
              <a:rPr lang="en-US" sz="1500" dirty="0">
                <a:solidFill>
                  <a:schemeClr val="bg1"/>
                </a:solidFill>
              </a:rPr>
              <a:t>apps and custom offerings</a:t>
            </a:r>
          </a:p>
          <a:p>
            <a:pPr marL="275434" indent="-275434">
              <a:buFont typeface="Arial" panose="020B0604020202020204" pitchFamily="34" charset="0"/>
              <a:buChar char="•"/>
            </a:pPr>
            <a:endParaRPr lang="en-US" sz="1500" dirty="0">
              <a:solidFill>
                <a:schemeClr val="bg1"/>
              </a:solidFill>
            </a:endParaRPr>
          </a:p>
          <a:p>
            <a:pPr marL="275434" indent="-275434" defTabSz="881390">
              <a:buFont typeface="Arial" panose="020B0604020202020204" pitchFamily="34" charset="0"/>
              <a:buChar char="•"/>
              <a:defRPr/>
            </a:pPr>
            <a:r>
              <a:rPr lang="en-US" sz="1500" dirty="0">
                <a:solidFill>
                  <a:schemeClr val="bg1"/>
                </a:solidFill>
              </a:rPr>
              <a:t>Finally, when it comes to deployment options we like to give customers choices – our platform </a:t>
            </a:r>
            <a:r>
              <a:rPr lang="en-US" sz="1500" b="0" dirty="0">
                <a:solidFill>
                  <a:schemeClr val="bg1"/>
                </a:solidFill>
              </a:rPr>
              <a:t>Open system </a:t>
            </a:r>
            <a:r>
              <a:rPr lang="en-US" sz="1500" dirty="0">
                <a:solidFill>
                  <a:schemeClr val="bg1"/>
                </a:solidFill>
              </a:rPr>
              <a:t>– capable of running in any cloud, on premise, or a hybrid model</a:t>
            </a:r>
          </a:p>
          <a:p>
            <a:pPr marL="275434" indent="-275434">
              <a:buFont typeface="Arial" panose="020B0604020202020204" pitchFamily="34" charset="0"/>
              <a:buChar char="•"/>
            </a:pPr>
            <a:endParaRPr lang="en-US" sz="15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44A85213-C754-2F42-864C-42F04C2AF3E1}" type="slidenum">
              <a:rPr lang="en-US" smtClean="0"/>
              <a:t>7</a:t>
            </a:fld>
            <a:endParaRPr lang="en-US" dirty="0"/>
          </a:p>
        </p:txBody>
      </p:sp>
    </p:spTree>
    <p:extLst>
      <p:ext uri="{BB962C8B-B14F-4D97-AF65-F5344CB8AC3E}">
        <p14:creationId xmlns:p14="http://schemas.microsoft.com/office/powerpoint/2010/main" val="935673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8925" indent="-288925">
              <a:lnSpc>
                <a:spcPct val="110000"/>
              </a:lnSpc>
              <a:buFont typeface="Arial" panose="020B0604020202020204" pitchFamily="34" charset="0"/>
              <a:buChar char="•"/>
            </a:pPr>
            <a:r>
              <a:rPr lang="en-US" sz="1200" cap="none" baseline="0" dirty="0"/>
              <a:t>Fundamentally what IS HAPPENING is that the PHYSICAL and DIGITAL worlds - which we have always compartmentalized into SEPARATE REALITIES…</a:t>
            </a:r>
          </a:p>
          <a:p>
            <a:pPr marL="288925" indent="-288925">
              <a:lnSpc>
                <a:spcPct val="110000"/>
              </a:lnSpc>
              <a:buFont typeface="Arial" panose="020B0604020202020204" pitchFamily="34" charset="0"/>
              <a:buChar char="•"/>
            </a:pPr>
            <a:r>
              <a:rPr lang="en-US" sz="1200" cap="none" baseline="0" dirty="0"/>
              <a:t>Are now CONVERGING into a single NEW REALITY, THINGS will never by the SAME</a:t>
            </a:r>
          </a:p>
          <a:p>
            <a:pPr marL="288925" indent="-288925">
              <a:lnSpc>
                <a:spcPct val="110000"/>
              </a:lnSpc>
              <a:buFont typeface="Arial" panose="020B0604020202020204" pitchFamily="34" charset="0"/>
              <a:buChar char="•"/>
            </a:pPr>
            <a:r>
              <a:rPr lang="en-US" sz="1200" cap="none" baseline="0" dirty="0"/>
              <a:t>This NEW REALITY creates so many NEW POSSIBILITIES - so many NEW OPPORTUNITIES for INNOVATION </a:t>
            </a:r>
          </a:p>
          <a:p>
            <a:pPr marL="288925" indent="-288925">
              <a:lnSpc>
                <a:spcPct val="110000"/>
              </a:lnSpc>
              <a:buFont typeface="Arial" panose="020B0604020202020204" pitchFamily="34" charset="0"/>
              <a:buChar char="•"/>
            </a:pPr>
            <a:r>
              <a:rPr lang="en-US" sz="1200" cap="none" baseline="0" dirty="0"/>
              <a:t>So much VALUE can be CREATED or UNLOCKED</a:t>
            </a:r>
          </a:p>
          <a:p>
            <a:pPr marL="288925" indent="-288925">
              <a:lnSpc>
                <a:spcPct val="110000"/>
              </a:lnSpc>
              <a:buFont typeface="Arial" panose="020B0604020202020204" pitchFamily="34" charset="0"/>
              <a:buChar char="•"/>
            </a:pPr>
            <a:r>
              <a:rPr lang="en-US" sz="1200" cap="none" baseline="0" dirty="0"/>
              <a:t>But this is not a fixed reality – it is CLEAR to me is that notion of PHYSICAL/DIGITAL convergence will continue to EVOLVE…</a:t>
            </a:r>
          </a:p>
          <a:p>
            <a:endParaRPr lang="en-US" dirty="0"/>
          </a:p>
        </p:txBody>
      </p:sp>
      <p:sp>
        <p:nvSpPr>
          <p:cNvPr id="4" name="Slide Number Placeholder 3"/>
          <p:cNvSpPr>
            <a:spLocks noGrp="1"/>
          </p:cNvSpPr>
          <p:nvPr>
            <p:ph type="sldNum" sz="quarter" idx="10"/>
          </p:nvPr>
        </p:nvSpPr>
        <p:spPr/>
        <p:txBody>
          <a:bodyPr/>
          <a:lstStyle/>
          <a:p>
            <a:fld id="{013AEFB5-7D10-458B-8DD0-EB812D7A7076}" type="slidenum">
              <a:rPr lang="en-US" smtClean="0"/>
              <a:t>9</a:t>
            </a:fld>
            <a:endParaRPr lang="en-US" dirty="0"/>
          </a:p>
        </p:txBody>
      </p:sp>
    </p:spTree>
    <p:extLst>
      <p:ext uri="{BB962C8B-B14F-4D97-AF65-F5344CB8AC3E}">
        <p14:creationId xmlns:p14="http://schemas.microsoft.com/office/powerpoint/2010/main" val="336728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B50E04EE-0AFA-4AB3-A905-66D8F1D917D1}" type="slidenum">
              <a:rPr kumimoji="0" lang="en-US" sz="1200" b="0" i="0" u="none" strike="noStrike" kern="1200" cap="none" spc="0" normalizeH="0" baseline="0" noProof="0" smtClean="0">
                <a:ln>
                  <a:noFill/>
                </a:ln>
                <a:solidFill>
                  <a:srgbClr val="3D4647"/>
                </a:solidFill>
                <a:effectLst/>
                <a:uLnTx/>
                <a:uFillTx/>
                <a:latin typeface="Century Gothic" panose="020B0502020202020204" pitchFamily="34" charset="0"/>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3D4647"/>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2375853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6BCE43-B0BC-1648-AAA5-1E30CD5E736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18631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6.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0.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1.png"/><Relationship Id="rId1" Type="http://schemas.openxmlformats.org/officeDocument/2006/relationships/slideMaster" Target="../slideMasters/slideMaster5.xml"/><Relationship Id="rId4" Type="http://schemas.openxmlformats.org/officeDocument/2006/relationships/image" Target="../media/image59.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69.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69.svg"/></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r="49979"/>
          <a:stretch/>
        </p:blipFill>
        <p:spPr>
          <a:xfrm rot="10800000">
            <a:off x="-1" y="-857"/>
            <a:ext cx="6096000" cy="6858000"/>
          </a:xfrm>
          <a:prstGeom prst="rect">
            <a:avLst/>
          </a:prstGeom>
        </p:spPr>
      </p:pic>
      <p:sp>
        <p:nvSpPr>
          <p:cNvPr id="2" name="Title 1"/>
          <p:cNvSpPr>
            <a:spLocks noGrp="1"/>
          </p:cNvSpPr>
          <p:nvPr>
            <p:ph type="ctrTitle" hasCustomPrompt="1"/>
          </p:nvPr>
        </p:nvSpPr>
        <p:spPr bwMode="gray">
          <a:xfrm>
            <a:off x="427701" y="2889534"/>
            <a:ext cx="5417220" cy="1077218"/>
          </a:xfrm>
        </p:spPr>
        <p:txBody>
          <a:bodyPr wrap="square" tIns="91440" anchor="ctr" anchorCtr="0">
            <a:spAutoFit/>
          </a:bodyPr>
          <a:lstStyle>
            <a:lvl1pPr>
              <a:lnSpc>
                <a:spcPct val="80000"/>
              </a:lnSpc>
              <a:defRPr sz="4000" b="0" cap="all" baseline="0">
                <a:solidFill>
                  <a:schemeClr val="bg1"/>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bwMode="gray">
          <a:xfrm>
            <a:off x="427702" y="5448375"/>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702" y="5759941"/>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702" y="6247689"/>
            <a:ext cx="5424946" cy="193899"/>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3" name="Rectangle 12"/>
          <p:cNvSpPr/>
          <p:nvPr userDrawn="1"/>
        </p:nvSpPr>
        <p:spPr bwMode="gray">
          <a:xfrm>
            <a:off x="606856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53845" y="2733717"/>
            <a:ext cx="3580310" cy="1390566"/>
          </a:xfrm>
          <a:prstGeom prst="rect">
            <a:avLst/>
          </a:prstGeom>
        </p:spPr>
      </p:pic>
    </p:spTree>
    <p:extLst>
      <p:ext uri="{BB962C8B-B14F-4D97-AF65-F5344CB8AC3E}">
        <p14:creationId xmlns:p14="http://schemas.microsoft.com/office/powerpoint/2010/main" val="9197880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0530" y="1222375"/>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1"/>
          <p:cNvSpPr>
            <a:spLocks noGrp="1"/>
          </p:cNvSpPr>
          <p:nvPr>
            <p:ph sz="quarter" idx="16" hasCustomPrompt="1"/>
          </p:nvPr>
        </p:nvSpPr>
        <p:spPr>
          <a:xfrm>
            <a:off x="6470140" y="1222375"/>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1"/>
          <p:cNvSpPr>
            <a:spLocks noGrp="1"/>
          </p:cNvSpPr>
          <p:nvPr>
            <p:ph sz="quarter" idx="20" hasCustomPrompt="1"/>
          </p:nvPr>
        </p:nvSpPr>
        <p:spPr>
          <a:xfrm>
            <a:off x="6470140" y="3808383"/>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11"/>
          <p:cNvSpPr>
            <a:spLocks noGrp="1"/>
          </p:cNvSpPr>
          <p:nvPr>
            <p:ph sz="quarter" idx="19" hasCustomPrompt="1"/>
          </p:nvPr>
        </p:nvSpPr>
        <p:spPr>
          <a:xfrm>
            <a:off x="430530" y="3808383"/>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One Over One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1757" y="1222375"/>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p:cNvSpPr>
            <a:spLocks noGrp="1"/>
          </p:cNvSpPr>
          <p:nvPr>
            <p:ph sz="quarter" idx="19" hasCustomPrompt="1"/>
          </p:nvPr>
        </p:nvSpPr>
        <p:spPr>
          <a:xfrm>
            <a:off x="431757" y="3808382"/>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69912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650666" y="1222375"/>
            <a:ext cx="7122234" cy="4956048"/>
          </a:xfrm>
        </p:spPr>
        <p:txBody>
          <a:bodyPr/>
          <a:lstStyle>
            <a:lvl1pPr>
              <a:defRPr sz="2200"/>
            </a:lvl1pPr>
            <a:lvl2pPr>
              <a:defRPr sz="2000"/>
            </a:lvl2pPr>
            <a:lvl3pPr>
              <a:defRPr sz="1800"/>
            </a:lvl3pPr>
            <a:lvl4pPr>
              <a:defRPr sz="1600"/>
            </a:lvl4pPr>
            <a:lvl5pPr>
              <a:defRPr sz="1400" baseline="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hasCustomPrompt="1"/>
          </p:nvPr>
        </p:nvSpPr>
        <p:spPr>
          <a:xfrm>
            <a:off x="433715" y="1222375"/>
            <a:ext cx="3866348" cy="4956048"/>
          </a:xfrm>
        </p:spPr>
        <p:txBody>
          <a:bodyPr/>
          <a:lstStyle>
            <a:lvl1pPr>
              <a:defRPr sz="2200"/>
            </a:lvl1pPr>
            <a:lvl2pPr>
              <a:defRPr sz="2000"/>
            </a:lvl2pPr>
            <a:lvl3pPr>
              <a:defRPr sz="1800"/>
            </a:lvl3pPr>
            <a:lvl4pPr>
              <a:defRPr sz="1600"/>
            </a:lvl4pPr>
            <a:lvl5pPr>
              <a:defRPr sz="140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131763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amp; Image">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a:xfrm>
            <a:off x="4610587" y="1220583"/>
            <a:ext cx="7150883" cy="4956048"/>
          </a:xfrm>
        </p:spPr>
        <p:txBody>
          <a:bodyPr anchor="ctr"/>
          <a:lstStyle>
            <a:lvl1pPr marL="0" indent="0" algn="ctr">
              <a:buNone/>
              <a:defRPr>
                <a:solidFill>
                  <a:schemeClr val="tx1"/>
                </a:solidFill>
                <a:latin typeface="+mn-lt"/>
              </a:defRPr>
            </a:lvl1pPr>
          </a:lstStyle>
          <a:p>
            <a:r>
              <a:rPr lang="en-US" dirty="0"/>
              <a:t>Click icon to add picture</a:t>
            </a:r>
          </a:p>
        </p:txBody>
      </p:sp>
      <p:sp>
        <p:nvSpPr>
          <p:cNvPr id="8" name="Content Placeholder 2"/>
          <p:cNvSpPr>
            <a:spLocks noGrp="1"/>
          </p:cNvSpPr>
          <p:nvPr>
            <p:ph idx="13" hasCustomPrompt="1"/>
          </p:nvPr>
        </p:nvSpPr>
        <p:spPr>
          <a:xfrm>
            <a:off x="431756" y="1220583"/>
            <a:ext cx="3866395" cy="4956048"/>
          </a:xfrm>
        </p:spPr>
        <p:txBody>
          <a:bodyPr>
            <a:normAutofit/>
          </a:bodyPr>
          <a:lstStyle>
            <a:lvl1pPr>
              <a:defRPr sz="2200"/>
            </a:lvl1pPr>
            <a:lvl2pPr>
              <a:defRPr sz="2000"/>
            </a:lvl2pPr>
            <a:lvl3pPr>
              <a:defRPr sz="1800"/>
            </a:lvl3pPr>
            <a:lvl4pPr>
              <a:defRPr sz="1600"/>
            </a:lvl4pPr>
            <a:lvl5pPr>
              <a:defRPr sz="1400" baseline="0"/>
            </a:lvl5pPr>
            <a:lvl6pPr>
              <a:defRPr sz="2000"/>
            </a:lvl6pPr>
            <a:lvl7pPr>
              <a:defRPr sz="2000"/>
            </a:lvl7pPr>
            <a:lvl8pPr>
              <a:defRPr sz="2000"/>
            </a:lvl8pPr>
            <a:lvl9pPr>
              <a:defRPr sz="20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a:xfrm>
            <a:off x="411484" y="347471"/>
            <a:ext cx="10259568" cy="347472"/>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2611900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ntent w Full Image &amp; Fad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0" y="0"/>
            <a:ext cx="12192000" cy="6858000"/>
          </a:xfrm>
        </p:spPr>
        <p:txBody>
          <a:bodyPr anchor="ctr"/>
          <a:lstStyle>
            <a:lvl1pPr marL="0" indent="0" algn="ctr">
              <a:buNone/>
              <a:defRPr/>
            </a:lvl1pPr>
          </a:lstStyle>
          <a:p>
            <a:r>
              <a:rPr lang="en-US"/>
              <a:t>Click icon to add picture</a:t>
            </a:r>
            <a:endParaRPr lang="en-US" dirty="0"/>
          </a:p>
        </p:txBody>
      </p:sp>
      <p:sp>
        <p:nvSpPr>
          <p:cNvPr id="5" name="Text Placeholder 4"/>
          <p:cNvSpPr>
            <a:spLocks noGrp="1"/>
          </p:cNvSpPr>
          <p:nvPr>
            <p:ph type="body" sz="quarter" idx="17" hasCustomPrompt="1"/>
          </p:nvPr>
        </p:nvSpPr>
        <p:spPr>
          <a:xfrm>
            <a:off x="1" y="0"/>
            <a:ext cx="5801249" cy="6858000"/>
          </a:xfrm>
          <a:gradFill>
            <a:gsLst>
              <a:gs pos="100000">
                <a:schemeClr val="bg1">
                  <a:alpha val="0"/>
                </a:schemeClr>
              </a:gs>
              <a:gs pos="90000">
                <a:srgbClr val="FFFFFF">
                  <a:alpha val="25000"/>
                </a:srgbClr>
              </a:gs>
              <a:gs pos="75000">
                <a:srgbClr val="FFFFFF">
                  <a:alpha val="50000"/>
                </a:srgbClr>
              </a:gs>
              <a:gs pos="55000">
                <a:srgbClr val="FFFFFF">
                  <a:alpha val="90000"/>
                </a:srgbClr>
              </a:gs>
              <a:gs pos="35000">
                <a:schemeClr val="bg1"/>
              </a:gs>
            </a:gsLst>
          </a:gradFill>
        </p:spPr>
        <p:txBody>
          <a:bodyPr vert="horz" lIns="0" tIns="0" rIns="0" bIns="0" rtlCol="0">
            <a:noAutofit/>
          </a:bodyPr>
          <a:lstStyle>
            <a:lvl1pPr marL="273582" indent="-273582">
              <a:buClr>
                <a:schemeClr val="bg1"/>
              </a:buClr>
              <a:buFont typeface="Arial" panose="020B0604020202020204" pitchFamily="34" charset="0"/>
              <a:buChar char="•"/>
              <a:defRPr lang="en-US" dirty="0"/>
            </a:lvl1pPr>
          </a:lstStyle>
          <a:p>
            <a:pPr marL="0" lvl="0" indent="0">
              <a:buNone/>
            </a:pPr>
            <a:r>
              <a:rPr lang="en-US" dirty="0"/>
              <a:t> </a:t>
            </a:r>
          </a:p>
        </p:txBody>
      </p:sp>
      <p:sp>
        <p:nvSpPr>
          <p:cNvPr id="3" name="Subtitle 2"/>
          <p:cNvSpPr>
            <a:spLocks noGrp="1"/>
          </p:cNvSpPr>
          <p:nvPr>
            <p:ph type="subTitle" idx="1" hasCustomPrompt="1"/>
          </p:nvPr>
        </p:nvSpPr>
        <p:spPr bwMode="gray">
          <a:xfrm>
            <a:off x="429768" y="1225296"/>
            <a:ext cx="5074920" cy="4956048"/>
          </a:xfrm>
        </p:spPr>
        <p:txBody>
          <a:bodyPr vert="horz" lIns="0" tIns="0" rIns="0" bIns="0" rtlCol="0">
            <a:noAutofit/>
          </a:bodyPr>
          <a:lstStyle>
            <a:lvl1pPr>
              <a:defRPr lang="en-US" dirty="0"/>
            </a:lvl1pPr>
          </a:lstStyle>
          <a:p>
            <a:pPr lvl="0"/>
            <a:r>
              <a:rPr lang="en-US" dirty="0"/>
              <a:t>Click to Add Presenter’s Name</a:t>
            </a:r>
          </a:p>
        </p:txBody>
      </p:sp>
      <p:sp>
        <p:nvSpPr>
          <p:cNvPr id="4" name="Title 3">
            <a:extLst>
              <a:ext uri="{FF2B5EF4-FFF2-40B4-BE49-F238E27FC236}">
                <a16:creationId xmlns:a16="http://schemas.microsoft.com/office/drawing/2014/main" id="{CE48848D-C7A9-4662-9C4E-FDF58AAA7218}"/>
              </a:ext>
            </a:extLst>
          </p:cNvPr>
          <p:cNvSpPr>
            <a:spLocks noGrp="1"/>
          </p:cNvSpPr>
          <p:nvPr>
            <p:ph type="title" hasCustomPrompt="1"/>
          </p:nvPr>
        </p:nvSpPr>
        <p:spPr>
          <a:xfrm>
            <a:off x="406940" y="331055"/>
            <a:ext cx="5097748" cy="344710"/>
          </a:xfrm>
        </p:spPr>
        <p:txBody>
          <a:bodyPr/>
          <a:lstStyle>
            <a:lvl1pPr>
              <a:defRPr/>
            </a:lvl1pPr>
          </a:lstStyle>
          <a:p>
            <a:r>
              <a:rPr lang="en-US"/>
              <a:t>Click to add title</a:t>
            </a:r>
          </a:p>
        </p:txBody>
      </p:sp>
    </p:spTree>
    <p:extLst>
      <p:ext uri="{BB962C8B-B14F-4D97-AF65-F5344CB8AC3E}">
        <p14:creationId xmlns:p14="http://schemas.microsoft.com/office/powerpoint/2010/main" val="19215596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mp; 1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9101" y="1220583"/>
            <a:ext cx="11353800" cy="4979800"/>
          </a:xfrm>
        </p:spPr>
        <p:txBody>
          <a:bodyPr anchor="ctr"/>
          <a:lstStyle>
            <a:lvl1pPr marL="0" indent="0" algn="ctr">
              <a:buFontTx/>
              <a:buNone/>
              <a:defRPr baseline="0">
                <a:solidFill>
                  <a:schemeClr val="tx1"/>
                </a:solidFill>
                <a:latin typeface="+mn-lt"/>
              </a:defRPr>
            </a:lvl1pPr>
          </a:lstStyle>
          <a:p>
            <a:r>
              <a:rPr lang="en-US" dirty="0"/>
              <a:t>Click icon to add picture</a:t>
            </a:r>
          </a:p>
        </p:txBody>
      </p:sp>
      <p:sp>
        <p:nvSpPr>
          <p:cNvPr id="2" name="Title 1"/>
          <p:cNvSpPr>
            <a:spLocks noGrp="1"/>
          </p:cNvSpPr>
          <p:nvPr>
            <p:ph type="title" hasCustomPrompt="1"/>
          </p:nvPr>
        </p:nvSpPr>
        <p:spPr>
          <a:xfrm>
            <a:off x="411484"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2279469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amp; 2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32207" y="1024137"/>
            <a:ext cx="6059797" cy="5480643"/>
          </a:xfrm>
        </p:spPr>
        <p:txBody>
          <a:bodyPr anchor="ctr"/>
          <a:lstStyle>
            <a:lvl1pPr marL="0" indent="0" algn="ctr">
              <a:buNone/>
              <a:defRPr>
                <a:solidFill>
                  <a:schemeClr val="tx1"/>
                </a:solidFill>
                <a:latin typeface="+mn-lt"/>
              </a:defRPr>
            </a:lvl1pPr>
          </a:lstStyle>
          <a:p>
            <a:r>
              <a:rPr lang="en-US" dirty="0"/>
              <a:t>Click icon to add picture</a:t>
            </a:r>
          </a:p>
        </p:txBody>
      </p:sp>
      <p:sp>
        <p:nvSpPr>
          <p:cNvPr id="7" name="Picture Placeholder 3"/>
          <p:cNvSpPr>
            <a:spLocks noGrp="1"/>
          </p:cNvSpPr>
          <p:nvPr>
            <p:ph type="pic" sz="quarter" idx="12"/>
          </p:nvPr>
        </p:nvSpPr>
        <p:spPr>
          <a:xfrm>
            <a:off x="3051" y="1024137"/>
            <a:ext cx="6081233" cy="5480643"/>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2" name="Title 11"/>
          <p:cNvSpPr>
            <a:spLocks noGrp="1"/>
          </p:cNvSpPr>
          <p:nvPr>
            <p:ph type="title" hasCustomPrompt="1"/>
          </p:nvPr>
        </p:nvSpPr>
        <p:spPr>
          <a:xfrm>
            <a:off x="411484"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9" name="Text Placeholder 33"/>
          <p:cNvSpPr>
            <a:spLocks noGrp="1"/>
          </p:cNvSpPr>
          <p:nvPr>
            <p:ph type="body" sz="quarter" idx="18" hasCustomPrompt="1"/>
          </p:nvPr>
        </p:nvSpPr>
        <p:spPr>
          <a:xfrm>
            <a:off x="-9544"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387500"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498774" y="5015600"/>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86207" y="1024137"/>
            <a:ext cx="45719" cy="5480643"/>
          </a:xfrm>
          <a:solidFill>
            <a:schemeClr val="tx2">
              <a:lumMod val="75000"/>
            </a:schemeClr>
          </a:solidFill>
        </p:spPr>
        <p:txBody>
          <a:bodyPr/>
          <a:lstStyle>
            <a:lvl1pPr marL="0" indent="0">
              <a:buNone/>
              <a:defRPr/>
            </a:lvl1pPr>
          </a:lstStyle>
          <a:p>
            <a:pPr lvl="0"/>
            <a:r>
              <a:rPr lang="en-US" dirty="0"/>
              <a:t> </a:t>
            </a:r>
          </a:p>
        </p:txBody>
      </p:sp>
      <p:sp>
        <p:nvSpPr>
          <p:cNvPr id="20" name="Text Placeholder 2"/>
          <p:cNvSpPr>
            <a:spLocks noGrp="1"/>
          </p:cNvSpPr>
          <p:nvPr>
            <p:ph type="body" sz="quarter" idx="21" hasCustomPrompt="1"/>
          </p:nvPr>
        </p:nvSpPr>
        <p:spPr>
          <a:xfrm rot="5400000">
            <a:off x="6074668" y="-5093199"/>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04019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1024128"/>
            <a:ext cx="4042250"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5" name="Picture Placeholder 25"/>
          <p:cNvSpPr>
            <a:spLocks noGrp="1"/>
          </p:cNvSpPr>
          <p:nvPr>
            <p:ph type="pic" sz="quarter" idx="14"/>
          </p:nvPr>
        </p:nvSpPr>
        <p:spPr>
          <a:xfrm>
            <a:off x="8159303" y="1024128"/>
            <a:ext cx="4032702"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6" name="Picture Placeholder 6"/>
          <p:cNvSpPr>
            <a:spLocks noGrp="1"/>
          </p:cNvSpPr>
          <p:nvPr>
            <p:ph type="pic" sz="quarter" idx="13"/>
          </p:nvPr>
        </p:nvSpPr>
        <p:spPr>
          <a:xfrm>
            <a:off x="4078858" y="1024128"/>
            <a:ext cx="4034293"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2" name="Title 11"/>
          <p:cNvSpPr>
            <a:spLocks noGrp="1"/>
          </p:cNvSpPr>
          <p:nvPr>
            <p:ph type="title" hasCustomPrompt="1"/>
          </p:nvPr>
        </p:nvSpPr>
        <p:spPr>
          <a:xfrm>
            <a:off x="411484"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16" name="Text Placeholder 33"/>
          <p:cNvSpPr>
            <a:spLocks noGrp="1"/>
          </p:cNvSpPr>
          <p:nvPr>
            <p:ph type="body" sz="quarter" idx="18" hasCustomPrompt="1"/>
          </p:nvPr>
        </p:nvSpPr>
        <p:spPr>
          <a:xfrm>
            <a:off x="-9544"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4254713" y="5011678"/>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bwMode="gray">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5" y="1024128"/>
            <a:ext cx="45719" cy="5480652"/>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6" y="1024128"/>
            <a:ext cx="47866" cy="5480652"/>
          </a:xfrm>
          <a:solidFill>
            <a:schemeClr val="tx2">
              <a:lumMod val="75000"/>
            </a:schemeClr>
          </a:solidFill>
        </p:spPr>
        <p:txBody>
          <a:bodyPr/>
          <a:lstStyle>
            <a:lvl1pPr marL="0" indent="0">
              <a:buNone/>
              <a:defRPr baseline="0"/>
            </a:lvl1pPr>
          </a:lstStyle>
          <a:p>
            <a:pPr lvl="0"/>
            <a:r>
              <a:rPr lang="en-US" dirty="0"/>
              <a:t> </a:t>
            </a:r>
          </a:p>
        </p:txBody>
      </p:sp>
      <p:sp>
        <p:nvSpPr>
          <p:cNvPr id="20" name="Text Placeholder 2"/>
          <p:cNvSpPr>
            <a:spLocks noGrp="1"/>
          </p:cNvSpPr>
          <p:nvPr>
            <p:ph type="body" sz="quarter" idx="21" hasCustomPrompt="1"/>
          </p:nvPr>
        </p:nvSpPr>
        <p:spPr>
          <a:xfrm rot="5400000">
            <a:off x="6074668" y="-5093208"/>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595332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Full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9544" y="1"/>
            <a:ext cx="12201549" cy="6858000"/>
          </a:xfrm>
        </p:spPr>
        <p:txBody>
          <a:bodyPr anchor="ctr"/>
          <a:lstStyle>
            <a:lvl1pPr marL="0" indent="0" algn="ctr">
              <a:buFontTx/>
              <a:buNone/>
              <a:defRPr baseline="0">
                <a:solidFill>
                  <a:schemeClr val="tx1"/>
                </a:solidFill>
                <a:latin typeface="+mn-lt"/>
              </a:defRPr>
            </a:lvl1pPr>
          </a:lstStyle>
          <a:p>
            <a:r>
              <a:rPr lang="en-US" dirty="0"/>
              <a:t>Click icon to add picture</a:t>
            </a:r>
          </a:p>
        </p:txBody>
      </p:sp>
      <p:sp>
        <p:nvSpPr>
          <p:cNvPr id="5" name="Text Placeholder 33"/>
          <p:cNvSpPr>
            <a:spLocks noGrp="1"/>
          </p:cNvSpPr>
          <p:nvPr>
            <p:ph type="body" sz="quarter" idx="18" hasCustomPrompt="1"/>
          </p:nvPr>
        </p:nvSpPr>
        <p:spPr>
          <a:xfrm>
            <a:off x="-9544" y="5033360"/>
            <a:ext cx="12201549" cy="902866"/>
          </a:xfrm>
          <a:solidFill>
            <a:srgbClr val="000000">
              <a:alpha val="90000"/>
            </a:srgbClr>
          </a:solidFill>
        </p:spPr>
        <p:txBody>
          <a:bodyPr anchor="ctr"/>
          <a:lstStyle>
            <a:lvl1pPr marL="0" indent="0" algn="ctr">
              <a:buNone/>
              <a:defRPr/>
            </a:lvl1pPr>
          </a:lstStyle>
          <a:p>
            <a:pPr lvl="0"/>
            <a:r>
              <a:rPr lang="en-US" dirty="0"/>
              <a:t> </a:t>
            </a:r>
          </a:p>
        </p:txBody>
      </p:sp>
      <p:sp>
        <p:nvSpPr>
          <p:cNvPr id="6" name="Text Placeholder 29"/>
          <p:cNvSpPr>
            <a:spLocks noGrp="1"/>
          </p:cNvSpPr>
          <p:nvPr>
            <p:ph type="body" sz="quarter" idx="16" hasCustomPrompt="1"/>
          </p:nvPr>
        </p:nvSpPr>
        <p:spPr bwMode="gray">
          <a:xfrm>
            <a:off x="293196" y="5239534"/>
            <a:ext cx="11605619" cy="490537"/>
          </a:xfrm>
        </p:spPr>
        <p:txBody>
          <a:bodyPr anchor="ctr">
            <a:normAutofit/>
          </a:bodyPr>
          <a:lstStyle>
            <a:lvl1pPr marL="0" indent="0" algn="ctr">
              <a:lnSpc>
                <a:spcPct val="90000"/>
              </a:lnSpc>
              <a:buNone/>
              <a:defRPr sz="3200" baseline="0">
                <a:solidFill>
                  <a:schemeClr val="bg1"/>
                </a:solidFill>
                <a:latin typeface="+mn-lt"/>
              </a:defRPr>
            </a:lvl1pPr>
          </a:lstStyle>
          <a:p>
            <a:pPr lvl="0"/>
            <a:r>
              <a:rPr lang="en-US" dirty="0"/>
              <a:t>Click to add text</a:t>
            </a:r>
          </a:p>
        </p:txBody>
      </p:sp>
    </p:spTree>
    <p:extLst>
      <p:ext uri="{BB962C8B-B14F-4D97-AF65-F5344CB8AC3E}">
        <p14:creationId xmlns:p14="http://schemas.microsoft.com/office/powerpoint/2010/main" val="1432215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wo Full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18863" y="4"/>
            <a:ext cx="6073141" cy="6857999"/>
          </a:xfrm>
        </p:spPr>
        <p:txBody>
          <a:bodyPr anchor="ctr"/>
          <a:lstStyle>
            <a:lvl1pPr marL="0" indent="0" algn="ctr">
              <a:buNone/>
              <a:defRPr>
                <a:solidFill>
                  <a:schemeClr val="tx1"/>
                </a:solidFill>
                <a:latin typeface="+mn-lt"/>
              </a:defRPr>
            </a:lvl1pPr>
          </a:lstStyle>
          <a:p>
            <a:r>
              <a:rPr lang="en-US" dirty="0"/>
              <a:t>Click icon to add picture</a:t>
            </a:r>
          </a:p>
        </p:txBody>
      </p:sp>
      <p:sp>
        <p:nvSpPr>
          <p:cNvPr id="7" name="Picture Placeholder 3"/>
          <p:cNvSpPr>
            <a:spLocks noGrp="1"/>
          </p:cNvSpPr>
          <p:nvPr>
            <p:ph type="pic" sz="quarter" idx="12"/>
          </p:nvPr>
        </p:nvSpPr>
        <p:spPr>
          <a:xfrm>
            <a:off x="1" y="1"/>
            <a:ext cx="6073140"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9" name="Text Placeholder 33"/>
          <p:cNvSpPr>
            <a:spLocks noGrp="1"/>
          </p:cNvSpPr>
          <p:nvPr>
            <p:ph type="body" sz="quarter" idx="18" hasCustomPrompt="1"/>
          </p:nvPr>
        </p:nvSpPr>
        <p:spPr>
          <a:xfrm>
            <a:off x="-9544"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387500"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498774" y="5015600"/>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73145" y="0"/>
            <a:ext cx="45719" cy="6858000"/>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37465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hree Full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0"/>
            <a:ext cx="4042250"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5" name="Picture Placeholder 25"/>
          <p:cNvSpPr>
            <a:spLocks noGrp="1"/>
          </p:cNvSpPr>
          <p:nvPr>
            <p:ph type="pic" sz="quarter" idx="14"/>
          </p:nvPr>
        </p:nvSpPr>
        <p:spPr>
          <a:xfrm>
            <a:off x="8159303" y="0"/>
            <a:ext cx="4032702"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6" name="Picture Placeholder 6"/>
          <p:cNvSpPr>
            <a:spLocks noGrp="1"/>
          </p:cNvSpPr>
          <p:nvPr>
            <p:ph type="pic" sz="quarter" idx="13"/>
          </p:nvPr>
        </p:nvSpPr>
        <p:spPr>
          <a:xfrm>
            <a:off x="4078858" y="0"/>
            <a:ext cx="4034293"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6" name="Text Placeholder 33"/>
          <p:cNvSpPr>
            <a:spLocks noGrp="1"/>
          </p:cNvSpPr>
          <p:nvPr>
            <p:ph type="body" sz="quarter" idx="18" hasCustomPrompt="1"/>
          </p:nvPr>
        </p:nvSpPr>
        <p:spPr>
          <a:xfrm>
            <a:off x="-9544"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4254713" y="5011678"/>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bwMode="gray">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0" y="0"/>
            <a:ext cx="45720" cy="6858000"/>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50" y="0"/>
            <a:ext cx="45720" cy="6858000"/>
          </a:xfrm>
          <a:solidFill>
            <a:schemeClr val="tx2">
              <a:lumMod val="75000"/>
            </a:schemeClr>
          </a:solidFill>
        </p:spPr>
        <p:txBody>
          <a:bodyPr/>
          <a:lstStyle>
            <a:lvl1pPr marL="0" indent="0">
              <a:buNone/>
              <a:defRPr baseline="0"/>
            </a:lvl1pPr>
          </a:lstStyle>
          <a:p>
            <a:pPr lvl="0"/>
            <a:r>
              <a:rPr lang="en-US" dirty="0"/>
              <a:t> </a:t>
            </a:r>
          </a:p>
        </p:txBody>
      </p:sp>
    </p:spTree>
    <p:extLst>
      <p:ext uri="{BB962C8B-B14F-4D97-AF65-F5344CB8AC3E}">
        <p14:creationId xmlns:p14="http://schemas.microsoft.com/office/powerpoint/2010/main" val="371402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One Over One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1757" y="1222375"/>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p:cNvSpPr>
            <a:spLocks noGrp="1"/>
          </p:cNvSpPr>
          <p:nvPr>
            <p:ph sz="quarter" idx="19" hasCustomPrompt="1"/>
          </p:nvPr>
        </p:nvSpPr>
        <p:spPr>
          <a:xfrm>
            <a:off x="431757" y="3808382"/>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Green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2" y="-1"/>
            <a:ext cx="12187065" cy="6858000"/>
          </a:xfrm>
          <a:prstGeom prst="rect">
            <a:avLst/>
          </a:prstGeom>
        </p:spPr>
      </p:pic>
      <p:sp>
        <p:nvSpPr>
          <p:cNvPr id="8" name="Rectangle 6"/>
          <p:cNvSpPr txBox="1">
            <a:spLocks noChangeArrowheads="1"/>
          </p:cNvSpPr>
          <p:nvPr/>
        </p:nvSpPr>
        <p:spPr bwMode="gray">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5"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81" y="2590309"/>
            <a:ext cx="1691925" cy="1687739"/>
          </a:xfrm>
          <a:prstGeom prst="ellipse">
            <a:avLst/>
          </a:prstGeom>
          <a:solidFill>
            <a:schemeClr val="bg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22513"/>
            <a:ext cx="9319456" cy="538609"/>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3" y="312673"/>
            <a:ext cx="860651" cy="334270"/>
          </a:xfrm>
          <a:prstGeom prst="rect">
            <a:avLst/>
          </a:prstGeom>
        </p:spPr>
      </p:pic>
    </p:spTree>
    <p:extLst>
      <p:ext uri="{BB962C8B-B14F-4D97-AF65-F5344CB8AC3E}">
        <p14:creationId xmlns:p14="http://schemas.microsoft.com/office/powerpoint/2010/main" val="3426881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Title Slide with Half Image">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r="50225"/>
          <a:stretch/>
        </p:blipFill>
        <p:spPr>
          <a:xfrm>
            <a:off x="2467" y="-1"/>
            <a:ext cx="6066101" cy="6858000"/>
          </a:xfrm>
          <a:prstGeom prst="rect">
            <a:avLst/>
          </a:prstGeom>
        </p:spPr>
      </p:pic>
      <p:sp>
        <p:nvSpPr>
          <p:cNvPr id="6" name="Picture Placeholder 5"/>
          <p:cNvSpPr>
            <a:spLocks noGrp="1"/>
          </p:cNvSpPr>
          <p:nvPr>
            <p:ph type="pic" sz="quarter" idx="13" hasCustomPrompt="1"/>
          </p:nvPr>
        </p:nvSpPr>
        <p:spPr>
          <a:xfrm>
            <a:off x="6123436" y="0"/>
            <a:ext cx="6068567" cy="6858000"/>
          </a:xfrm>
        </p:spPr>
        <p:txBody>
          <a:bodyPr anchor="ctr"/>
          <a:lstStyle>
            <a:lvl1pPr marL="0" indent="0" algn="ctr">
              <a:buNone/>
              <a:defRPr/>
            </a:lvl1pPr>
          </a:lstStyle>
          <a:p>
            <a:r>
              <a:rPr lang="en-US" dirty="0"/>
              <a:t>Insert Photo Here</a:t>
            </a:r>
          </a:p>
        </p:txBody>
      </p:sp>
      <p:sp>
        <p:nvSpPr>
          <p:cNvPr id="2" name="Title 1"/>
          <p:cNvSpPr>
            <a:spLocks noGrp="1"/>
          </p:cNvSpPr>
          <p:nvPr>
            <p:ph type="ctrTitle" hasCustomPrompt="1"/>
          </p:nvPr>
        </p:nvSpPr>
        <p:spPr bwMode="gray">
          <a:xfrm>
            <a:off x="427964" y="2728147"/>
            <a:ext cx="5417220" cy="1097736"/>
          </a:xfrm>
        </p:spPr>
        <p:txBody>
          <a:bodyPr wrap="square" tIns="91440" anchor="ctr" anchorCtr="0">
            <a:spAutoFit/>
          </a:bodyPr>
          <a:lstStyle>
            <a:lvl1pPr>
              <a:lnSpc>
                <a:spcPct val="80000"/>
              </a:lnSpc>
              <a:defRPr sz="4000" b="0" cap="all" baseline="0">
                <a:solidFill>
                  <a:schemeClr val="bg1"/>
                </a:solidFill>
                <a:effectLst/>
                <a:latin typeface="+mn-lt"/>
              </a:defRPr>
            </a:lvl1pPr>
          </a:lstStyle>
          <a:p>
            <a:r>
              <a:rPr lang="en-US" dirty="0"/>
              <a:t>Click to Add Presentation Title</a:t>
            </a:r>
          </a:p>
        </p:txBody>
      </p:sp>
      <p:sp>
        <p:nvSpPr>
          <p:cNvPr id="3" name="Subtitle 2"/>
          <p:cNvSpPr>
            <a:spLocks noGrp="1"/>
          </p:cNvSpPr>
          <p:nvPr>
            <p:ph type="subTitle" idx="1" hasCustomPrompt="1"/>
          </p:nvPr>
        </p:nvSpPr>
        <p:spPr bwMode="gray">
          <a:xfrm>
            <a:off x="427965" y="5444968"/>
            <a:ext cx="5424946" cy="28212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965" y="5761664"/>
            <a:ext cx="5424946" cy="225703"/>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965" y="6249405"/>
            <a:ext cx="5424946" cy="197490"/>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2" name="Rectangle 11"/>
          <p:cNvSpPr/>
          <p:nvPr userDrawn="1"/>
        </p:nvSpPr>
        <p:spPr bwMode="gray">
          <a:xfrm>
            <a:off x="6068568" y="0"/>
            <a:ext cx="548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7968" y="422412"/>
            <a:ext cx="1538859" cy="597682"/>
          </a:xfrm>
          <a:prstGeom prst="rect">
            <a:avLst/>
          </a:prstGeom>
        </p:spPr>
      </p:pic>
    </p:spTree>
    <p:extLst>
      <p:ext uri="{BB962C8B-B14F-4D97-AF65-F5344CB8AC3E}">
        <p14:creationId xmlns:p14="http://schemas.microsoft.com/office/powerpoint/2010/main" val="8120854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Title Slide with Full Imag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0" y="0"/>
            <a:ext cx="12192000" cy="6858000"/>
          </a:xfrm>
        </p:spPr>
        <p:txBody>
          <a:bodyPr anchor="ctr"/>
          <a:lstStyle>
            <a:lvl1pPr marL="0" indent="0" algn="ctr">
              <a:buNone/>
              <a:defRPr/>
            </a:lvl1pPr>
          </a:lstStyle>
          <a:p>
            <a:r>
              <a:rPr lang="en-US" dirty="0"/>
              <a:t>Click icon to add picture</a:t>
            </a:r>
          </a:p>
        </p:txBody>
      </p:sp>
      <p:sp>
        <p:nvSpPr>
          <p:cNvPr id="5" name="Text Placeholder 4"/>
          <p:cNvSpPr>
            <a:spLocks noGrp="1"/>
          </p:cNvSpPr>
          <p:nvPr>
            <p:ph type="body" sz="quarter" idx="17" hasCustomPrompt="1"/>
          </p:nvPr>
        </p:nvSpPr>
        <p:spPr>
          <a:xfrm>
            <a:off x="5" y="3474002"/>
            <a:ext cx="6105804" cy="2774398"/>
          </a:xfrm>
          <a:solidFill>
            <a:srgbClr val="000000">
              <a:alpha val="70000"/>
            </a:srgbClr>
          </a:solidFill>
        </p:spPr>
        <p:txBody>
          <a:bodyPr/>
          <a:lstStyle>
            <a:lvl1pPr marL="0" indent="0">
              <a:buNone/>
              <a:defRPr/>
            </a:lvl1pPr>
            <a:lvl2pPr marL="541501" indent="0">
              <a:buNone/>
              <a:defRPr/>
            </a:lvl2pPr>
            <a:lvl3pPr marL="1086776" indent="0">
              <a:buNone/>
              <a:defRPr/>
            </a:lvl3pPr>
            <a:lvl4pPr marL="1630163" indent="0">
              <a:buNone/>
              <a:defRPr/>
            </a:lvl4pPr>
            <a:lvl5pPr marL="2173551" indent="0">
              <a:buNone/>
              <a:defRPr/>
            </a:lvl5pPr>
          </a:lstStyle>
          <a:p>
            <a:pPr lvl="0"/>
            <a:r>
              <a:rPr lang="en-US" dirty="0"/>
              <a:t> </a:t>
            </a:r>
          </a:p>
        </p:txBody>
      </p:sp>
      <p:sp>
        <p:nvSpPr>
          <p:cNvPr id="2" name="Title 1"/>
          <p:cNvSpPr>
            <a:spLocks noGrp="1"/>
          </p:cNvSpPr>
          <p:nvPr>
            <p:ph type="ctrTitle" hasCustomPrompt="1"/>
          </p:nvPr>
        </p:nvSpPr>
        <p:spPr bwMode="gray">
          <a:xfrm>
            <a:off x="256910" y="3750687"/>
            <a:ext cx="5686317" cy="904863"/>
          </a:xfrm>
        </p:spPr>
        <p:txBody>
          <a:bodyPr wrap="square" anchor="ctr" anchorCtr="0">
            <a:spAutoFit/>
          </a:bodyPr>
          <a:lstStyle>
            <a:lvl1pPr algn="l">
              <a:lnSpc>
                <a:spcPct val="80000"/>
              </a:lnSpc>
              <a:defRPr sz="3600" b="0" i="0" cap="all" baseline="0">
                <a:solidFill>
                  <a:schemeClr val="bg1"/>
                </a:solidFill>
                <a:effectLst/>
                <a:latin typeface="+mj-lt"/>
                <a:ea typeface="DIN Pro Black" charset="0"/>
                <a:cs typeface="DIN Pro Black" charset="0"/>
              </a:defRPr>
            </a:lvl1pPr>
          </a:lstStyle>
          <a:p>
            <a:r>
              <a:rPr lang="en-US" dirty="0"/>
              <a:t>Click to Add Presentation Title</a:t>
            </a:r>
          </a:p>
        </p:txBody>
      </p:sp>
      <p:sp>
        <p:nvSpPr>
          <p:cNvPr id="3" name="Subtitle 2"/>
          <p:cNvSpPr>
            <a:spLocks noGrp="1"/>
          </p:cNvSpPr>
          <p:nvPr>
            <p:ph type="subTitle" idx="1" hasCustomPrompt="1"/>
          </p:nvPr>
        </p:nvSpPr>
        <p:spPr bwMode="gray">
          <a:xfrm>
            <a:off x="256910" y="4991498"/>
            <a:ext cx="5686317" cy="256480"/>
          </a:xfrm>
        </p:spPr>
        <p:txBody>
          <a:bodyPr wrap="square" anchor="b">
            <a:spAutoFit/>
          </a:bodyPr>
          <a:lstStyle>
            <a:lvl1pPr marL="0" indent="0" algn="l">
              <a:lnSpc>
                <a:spcPct val="80000"/>
              </a:lnSpc>
              <a:spcBef>
                <a:spcPts val="0"/>
              </a:spcBef>
              <a:spcAft>
                <a:spcPts val="800"/>
              </a:spcAft>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256910" y="5282551"/>
            <a:ext cx="5686317" cy="225703"/>
          </a:xfrm>
        </p:spPr>
        <p:txBody>
          <a:bodyPr wrap="square" anchor="t">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1" name="Text Placeholder 9"/>
          <p:cNvSpPr>
            <a:spLocks noGrp="1"/>
          </p:cNvSpPr>
          <p:nvPr>
            <p:ph type="body" sz="quarter" idx="13" hasCustomPrompt="1"/>
          </p:nvPr>
        </p:nvSpPr>
        <p:spPr bwMode="gray">
          <a:xfrm>
            <a:off x="256910" y="5793138"/>
            <a:ext cx="2242645" cy="197490"/>
          </a:xfrm>
        </p:spPr>
        <p:txBody>
          <a:bodyPr wrap="square">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13924582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Closing Slide">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87759" y="2493034"/>
            <a:ext cx="4818089" cy="1874520"/>
          </a:xfrm>
          <a:prstGeom prst="rect">
            <a:avLst/>
          </a:prstGeom>
        </p:spPr>
      </p:pic>
    </p:spTree>
    <p:extLst>
      <p:ext uri="{BB962C8B-B14F-4D97-AF65-F5344CB8AC3E}">
        <p14:creationId xmlns:p14="http://schemas.microsoft.com/office/powerpoint/2010/main" val="4284507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Accent Color Slide Options">
    <p:bg>
      <p:bgPr>
        <a:solidFill>
          <a:srgbClr val="000000"/>
        </a:solidFill>
        <a:effectLst/>
      </p:bgPr>
    </p:bg>
    <p:spTree>
      <p:nvGrpSpPr>
        <p:cNvPr id="1" name=""/>
        <p:cNvGrpSpPr/>
        <p:nvPr/>
      </p:nvGrpSpPr>
      <p:grpSpPr>
        <a:xfrm>
          <a:off x="0" y="0"/>
          <a:ext cx="0" cy="0"/>
          <a:chOff x="0" y="0"/>
          <a:chExt cx="0" cy="0"/>
        </a:xfrm>
      </p:grpSpPr>
      <p:sp>
        <p:nvSpPr>
          <p:cNvPr id="2" name="TextBox 1"/>
          <p:cNvSpPr txBox="1"/>
          <p:nvPr/>
        </p:nvSpPr>
        <p:spPr>
          <a:xfrm>
            <a:off x="858998" y="1505409"/>
            <a:ext cx="10474021" cy="3847207"/>
          </a:xfrm>
          <a:prstGeom prst="rect">
            <a:avLst/>
          </a:prstGeom>
          <a:noFill/>
        </p:spPr>
        <p:txBody>
          <a:bodyPr wrap="none" lIns="0" tIns="0" rIns="0" bIns="0" rtlCol="0" anchor="ctr">
            <a:spAutoFit/>
          </a:bodyPr>
          <a:lstStyle/>
          <a:p>
            <a:pPr algn="ctr"/>
            <a:r>
              <a:rPr lang="en-US" sz="12500" dirty="0">
                <a:solidFill>
                  <a:schemeClr val="bg1"/>
                </a:solidFill>
              </a:rPr>
              <a:t>Accent Color</a:t>
            </a:r>
            <a:br>
              <a:rPr lang="en-US" sz="12500" dirty="0">
                <a:solidFill>
                  <a:schemeClr val="bg1"/>
                </a:solidFill>
              </a:rPr>
            </a:br>
            <a:r>
              <a:rPr lang="en-US" sz="12500" dirty="0">
                <a:solidFill>
                  <a:schemeClr val="bg1"/>
                </a:solidFill>
              </a:rPr>
              <a:t>Slide Options</a:t>
            </a:r>
          </a:p>
        </p:txBody>
      </p:sp>
    </p:spTree>
    <p:extLst>
      <p:ext uri="{BB962C8B-B14F-4D97-AF65-F5344CB8AC3E}">
        <p14:creationId xmlns:p14="http://schemas.microsoft.com/office/powerpoint/2010/main" val="41327836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Blue Block &amp;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65023"/>
          <a:stretch/>
        </p:blipFill>
        <p:spPr>
          <a:xfrm>
            <a:off x="4" y="-1"/>
            <a:ext cx="4262664" cy="6858000"/>
          </a:xfrm>
          <a:prstGeom prst="rect">
            <a:avLst/>
          </a:prstGeom>
        </p:spPr>
      </p:pic>
      <p:sp>
        <p:nvSpPr>
          <p:cNvPr id="10" name="Content Placeholder 3"/>
          <p:cNvSpPr>
            <a:spLocks noGrp="1"/>
          </p:cNvSpPr>
          <p:nvPr>
            <p:ph sz="half" idx="2" hasCustomPrompt="1"/>
          </p:nvPr>
        </p:nvSpPr>
        <p:spPr>
          <a:xfrm>
            <a:off x="4690876"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75243"/>
            <a:ext cx="3273552" cy="904863"/>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192712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Blu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2" y="-1"/>
            <a:ext cx="12187065" cy="6858000"/>
          </a:xfrm>
          <a:prstGeom prst="rect">
            <a:avLst/>
          </a:prstGeom>
        </p:spPr>
      </p:pic>
      <p:sp>
        <p:nvSpPr>
          <p:cNvPr id="22" name="Title 21"/>
          <p:cNvSpPr>
            <a:spLocks noGrp="1"/>
          </p:cNvSpPr>
          <p:nvPr>
            <p:ph type="title" hasCustomPrompt="1"/>
          </p:nvPr>
        </p:nvSpPr>
        <p:spPr bwMode="gray">
          <a:xfrm>
            <a:off x="384048" y="3121227"/>
            <a:ext cx="10186416" cy="615553"/>
          </a:xfrm>
        </p:spPr>
        <p:txBody>
          <a:bodyP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3" y="312673"/>
            <a:ext cx="860651" cy="334270"/>
          </a:xfrm>
          <a:prstGeom prst="rect">
            <a:avLst/>
          </a:prstGeom>
        </p:spPr>
      </p:pic>
    </p:spTree>
    <p:extLst>
      <p:ext uri="{BB962C8B-B14F-4D97-AF65-F5344CB8AC3E}">
        <p14:creationId xmlns:p14="http://schemas.microsoft.com/office/powerpoint/2010/main" val="339175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Blue Number Divider">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2" y="-1"/>
            <a:ext cx="12187065" cy="6858000"/>
          </a:xfrm>
          <a:prstGeom prst="rect">
            <a:avLst/>
          </a:prstGeom>
        </p:spPr>
      </p:pic>
      <p:sp>
        <p:nvSpPr>
          <p:cNvPr id="8" name="Rectangle 6"/>
          <p:cNvSpPr txBox="1">
            <a:spLocks noChangeArrowheads="1"/>
          </p:cNvSpPr>
          <p:nvPr/>
        </p:nvSpPr>
        <p:spPr bwMode="gray">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5"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81" y="2590309"/>
            <a:ext cx="1691925" cy="1687739"/>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22513"/>
            <a:ext cx="9319456" cy="538609"/>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3" y="312673"/>
            <a:ext cx="860651" cy="334270"/>
          </a:xfrm>
          <a:prstGeom prst="rect">
            <a:avLst/>
          </a:prstGeom>
        </p:spPr>
      </p:pic>
    </p:spTree>
    <p:extLst>
      <p:ext uri="{BB962C8B-B14F-4D97-AF65-F5344CB8AC3E}">
        <p14:creationId xmlns:p14="http://schemas.microsoft.com/office/powerpoint/2010/main" val="22865292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Light Blue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65023"/>
          <a:stretch/>
        </p:blipFill>
        <p:spPr>
          <a:xfrm>
            <a:off x="4" y="-1"/>
            <a:ext cx="4262664" cy="6858000"/>
          </a:xfrm>
          <a:prstGeom prst="rect">
            <a:avLst/>
          </a:prstGeom>
        </p:spPr>
      </p:pic>
      <p:sp>
        <p:nvSpPr>
          <p:cNvPr id="10" name="Content Placeholder 3"/>
          <p:cNvSpPr>
            <a:spLocks noGrp="1"/>
          </p:cNvSpPr>
          <p:nvPr>
            <p:ph sz="half" idx="2" hasCustomPrompt="1"/>
          </p:nvPr>
        </p:nvSpPr>
        <p:spPr>
          <a:xfrm>
            <a:off x="4690876"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75243"/>
            <a:ext cx="3273552" cy="904863"/>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2167646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Light Blu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2" y="-1"/>
            <a:ext cx="12187065" cy="6858000"/>
          </a:xfrm>
          <a:prstGeom prst="rect">
            <a:avLst/>
          </a:prstGeom>
        </p:spPr>
      </p:pic>
      <p:sp>
        <p:nvSpPr>
          <p:cNvPr id="22" name="Title 21"/>
          <p:cNvSpPr>
            <a:spLocks noGrp="1"/>
          </p:cNvSpPr>
          <p:nvPr>
            <p:ph type="title" hasCustomPrompt="1"/>
          </p:nvPr>
        </p:nvSpPr>
        <p:spPr bwMode="gray">
          <a:xfrm>
            <a:off x="384048" y="3121227"/>
            <a:ext cx="10186416" cy="615553"/>
          </a:xfrm>
          <a:noFill/>
        </p:spPr>
        <p:txBody>
          <a:bodyPr>
            <a:spAutoFit/>
          </a:bodyPr>
          <a:lstStyle>
            <a:lvl1pPr algn="l">
              <a:lnSpc>
                <a:spcPct val="80000"/>
              </a:lnSpc>
              <a:defRPr sz="480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3" y="312673"/>
            <a:ext cx="860651" cy="334270"/>
          </a:xfrm>
          <a:prstGeom prst="rect">
            <a:avLst/>
          </a:prstGeom>
        </p:spPr>
      </p:pic>
    </p:spTree>
    <p:extLst>
      <p:ext uri="{BB962C8B-B14F-4D97-AF65-F5344CB8AC3E}">
        <p14:creationId xmlns:p14="http://schemas.microsoft.com/office/powerpoint/2010/main" val="758970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650666" y="1222375"/>
            <a:ext cx="7122234" cy="4956048"/>
          </a:xfrm>
        </p:spPr>
        <p:txBody>
          <a:bodyPr/>
          <a:lstStyle>
            <a:lvl1pPr>
              <a:defRPr sz="2200"/>
            </a:lvl1pPr>
            <a:lvl2pPr>
              <a:defRPr sz="2000"/>
            </a:lvl2pPr>
            <a:lvl3pPr>
              <a:defRPr sz="1800"/>
            </a:lvl3pPr>
            <a:lvl4pPr>
              <a:defRPr sz="1600"/>
            </a:lvl4pPr>
            <a:lvl5pPr>
              <a:defRPr sz="1400" baseline="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hasCustomPrompt="1"/>
          </p:nvPr>
        </p:nvSpPr>
        <p:spPr>
          <a:xfrm>
            <a:off x="433715" y="1222375"/>
            <a:ext cx="3866348" cy="4956048"/>
          </a:xfrm>
        </p:spPr>
        <p:txBody>
          <a:bodyPr/>
          <a:lstStyle>
            <a:lvl1pPr>
              <a:defRPr sz="2200"/>
            </a:lvl1pPr>
            <a:lvl2pPr>
              <a:defRPr sz="2000"/>
            </a:lvl2pPr>
            <a:lvl3pPr>
              <a:defRPr sz="1800"/>
            </a:lvl3pPr>
            <a:lvl4pPr>
              <a:defRPr sz="1600"/>
            </a:lvl4pPr>
            <a:lvl5pPr>
              <a:defRPr sz="140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p:txBody>
          <a:bodyPr/>
          <a:lstStyle>
            <a:lvl1pPr>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Light Blu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2" y="-1"/>
            <a:ext cx="12187065" cy="6858000"/>
          </a:xfrm>
          <a:prstGeom prst="rect">
            <a:avLst/>
          </a:prstGeom>
        </p:spPr>
      </p:pic>
      <p:sp>
        <p:nvSpPr>
          <p:cNvPr id="8" name="Rectangle 6"/>
          <p:cNvSpPr txBox="1">
            <a:spLocks noChangeArrowheads="1"/>
          </p:cNvSpPr>
          <p:nvPr/>
        </p:nvSpPr>
        <p:spPr bwMode="gray">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5"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81" y="2590309"/>
            <a:ext cx="1691925" cy="1687739"/>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22513"/>
            <a:ext cx="9319456" cy="538609"/>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3" y="312673"/>
            <a:ext cx="860651" cy="334270"/>
          </a:xfrm>
          <a:prstGeom prst="rect">
            <a:avLst/>
          </a:prstGeom>
        </p:spPr>
      </p:pic>
    </p:spTree>
    <p:extLst>
      <p:ext uri="{BB962C8B-B14F-4D97-AF65-F5344CB8AC3E}">
        <p14:creationId xmlns:p14="http://schemas.microsoft.com/office/powerpoint/2010/main" val="1091196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Orange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65023"/>
          <a:stretch/>
        </p:blipFill>
        <p:spPr>
          <a:xfrm>
            <a:off x="4" y="-1"/>
            <a:ext cx="4262664" cy="6858000"/>
          </a:xfrm>
          <a:prstGeom prst="rect">
            <a:avLst/>
          </a:prstGeom>
        </p:spPr>
      </p:pic>
      <p:sp>
        <p:nvSpPr>
          <p:cNvPr id="10" name="Content Placeholder 3"/>
          <p:cNvSpPr>
            <a:spLocks noGrp="1"/>
          </p:cNvSpPr>
          <p:nvPr>
            <p:ph sz="half" idx="2" hasCustomPrompt="1"/>
          </p:nvPr>
        </p:nvSpPr>
        <p:spPr>
          <a:xfrm>
            <a:off x="4690876"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75243"/>
            <a:ext cx="3273552" cy="904863"/>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191979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Orang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2" y="-1"/>
            <a:ext cx="12187065" cy="6858000"/>
          </a:xfrm>
          <a:prstGeom prst="rect">
            <a:avLst/>
          </a:prstGeom>
        </p:spPr>
      </p:pic>
      <p:sp>
        <p:nvSpPr>
          <p:cNvPr id="22" name="Title 21"/>
          <p:cNvSpPr>
            <a:spLocks noGrp="1"/>
          </p:cNvSpPr>
          <p:nvPr>
            <p:ph type="title" hasCustomPrompt="1"/>
          </p:nvPr>
        </p:nvSpPr>
        <p:spPr bwMode="gray">
          <a:xfrm>
            <a:off x="384048" y="3121227"/>
            <a:ext cx="10186416" cy="615553"/>
          </a:xfrm>
        </p:spPr>
        <p:txBody>
          <a:bodyP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3" y="312673"/>
            <a:ext cx="860651" cy="334270"/>
          </a:xfrm>
          <a:prstGeom prst="rect">
            <a:avLst/>
          </a:prstGeom>
        </p:spPr>
      </p:pic>
    </p:spTree>
    <p:extLst>
      <p:ext uri="{BB962C8B-B14F-4D97-AF65-F5344CB8AC3E}">
        <p14:creationId xmlns:p14="http://schemas.microsoft.com/office/powerpoint/2010/main" val="2412619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Orang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2" y="-1"/>
            <a:ext cx="12187065" cy="6858000"/>
          </a:xfrm>
          <a:prstGeom prst="rect">
            <a:avLst/>
          </a:prstGeom>
        </p:spPr>
      </p:pic>
      <p:sp>
        <p:nvSpPr>
          <p:cNvPr id="8" name="Rectangle 6"/>
          <p:cNvSpPr txBox="1">
            <a:spLocks noChangeArrowheads="1"/>
          </p:cNvSpPr>
          <p:nvPr/>
        </p:nvSpPr>
        <p:spPr bwMode="gray">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5"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81" y="2590309"/>
            <a:ext cx="1691925" cy="1687739"/>
          </a:xfrm>
          <a:prstGeom prst="ellipse">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22513"/>
            <a:ext cx="9319456" cy="538609"/>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3" y="312673"/>
            <a:ext cx="860651" cy="334270"/>
          </a:xfrm>
          <a:prstGeom prst="rect">
            <a:avLst/>
          </a:prstGeom>
        </p:spPr>
      </p:pic>
    </p:spTree>
    <p:extLst>
      <p:ext uri="{BB962C8B-B14F-4D97-AF65-F5344CB8AC3E}">
        <p14:creationId xmlns:p14="http://schemas.microsoft.com/office/powerpoint/2010/main" val="3017043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Gold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65023"/>
          <a:stretch/>
        </p:blipFill>
        <p:spPr>
          <a:xfrm>
            <a:off x="4" y="-1"/>
            <a:ext cx="4262664" cy="6858000"/>
          </a:xfrm>
          <a:prstGeom prst="rect">
            <a:avLst/>
          </a:prstGeom>
        </p:spPr>
      </p:pic>
      <p:sp>
        <p:nvSpPr>
          <p:cNvPr id="10" name="Content Placeholder 3"/>
          <p:cNvSpPr>
            <a:spLocks noGrp="1"/>
          </p:cNvSpPr>
          <p:nvPr>
            <p:ph sz="half" idx="2" hasCustomPrompt="1"/>
          </p:nvPr>
        </p:nvSpPr>
        <p:spPr>
          <a:xfrm>
            <a:off x="4690876"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75243"/>
            <a:ext cx="3273552" cy="904863"/>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388056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Gold Accent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2" y="-1"/>
            <a:ext cx="12187065" cy="6858000"/>
          </a:xfrm>
          <a:prstGeom prst="rect">
            <a:avLst/>
          </a:prstGeom>
        </p:spPr>
      </p:pic>
      <p:sp>
        <p:nvSpPr>
          <p:cNvPr id="22" name="Title 21"/>
          <p:cNvSpPr>
            <a:spLocks noGrp="1"/>
          </p:cNvSpPr>
          <p:nvPr>
            <p:ph type="title" hasCustomPrompt="1"/>
          </p:nvPr>
        </p:nvSpPr>
        <p:spPr bwMode="gray">
          <a:xfrm>
            <a:off x="384048" y="3121227"/>
            <a:ext cx="10186416" cy="615553"/>
          </a:xfrm>
        </p:spPr>
        <p:txBody>
          <a:bodyPr>
            <a:spAutoFit/>
          </a:bodyPr>
          <a:lstStyle>
            <a:lvl1pPr algn="l">
              <a:lnSpc>
                <a:spcPct val="80000"/>
              </a:lnSpc>
              <a:defRPr sz="480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3" y="312673"/>
            <a:ext cx="860651" cy="334270"/>
          </a:xfrm>
          <a:prstGeom prst="rect">
            <a:avLst/>
          </a:prstGeom>
        </p:spPr>
      </p:pic>
    </p:spTree>
    <p:extLst>
      <p:ext uri="{BB962C8B-B14F-4D97-AF65-F5344CB8AC3E}">
        <p14:creationId xmlns:p14="http://schemas.microsoft.com/office/powerpoint/2010/main" val="272911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Gold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2" y="-1"/>
            <a:ext cx="12187065" cy="6858000"/>
          </a:xfrm>
          <a:prstGeom prst="rect">
            <a:avLst/>
          </a:prstGeom>
        </p:spPr>
      </p:pic>
      <p:sp>
        <p:nvSpPr>
          <p:cNvPr id="8" name="Rectangle 6"/>
          <p:cNvSpPr txBox="1">
            <a:spLocks noChangeArrowheads="1"/>
          </p:cNvSpPr>
          <p:nvPr/>
        </p:nvSpPr>
        <p:spPr bwMode="gray">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5"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81" y="2590309"/>
            <a:ext cx="1691925" cy="1687739"/>
          </a:xfrm>
          <a:prstGeom prst="ellipse">
            <a:avLst/>
          </a:prstGeom>
          <a:solidFill>
            <a:schemeClr val="accent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22513"/>
            <a:ext cx="9319456" cy="538609"/>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3" y="312673"/>
            <a:ext cx="860651" cy="334270"/>
          </a:xfrm>
          <a:prstGeom prst="rect">
            <a:avLst/>
          </a:prstGeom>
        </p:spPr>
      </p:pic>
    </p:spTree>
    <p:extLst>
      <p:ext uri="{BB962C8B-B14F-4D97-AF65-F5344CB8AC3E}">
        <p14:creationId xmlns:p14="http://schemas.microsoft.com/office/powerpoint/2010/main" val="282643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Black Background">
    <p:bg bwMode="black">
      <p:bgPr>
        <a:solidFill>
          <a:srgbClr val="000000"/>
        </a:solidFill>
        <a:effectLst/>
      </p:bgPr>
    </p:bg>
    <p:spTree>
      <p:nvGrpSpPr>
        <p:cNvPr id="1" name=""/>
        <p:cNvGrpSpPr/>
        <p:nvPr/>
      </p:nvGrpSpPr>
      <p:grpSpPr>
        <a:xfrm>
          <a:off x="0" y="0"/>
          <a:ext cx="0" cy="0"/>
          <a:chOff x="0" y="0"/>
          <a:chExt cx="0" cy="0"/>
        </a:xfrm>
      </p:grpSpPr>
      <p:sp>
        <p:nvSpPr>
          <p:cNvPr id="10" name="Rectangle 6"/>
          <p:cNvSpPr txBox="1">
            <a:spLocks noChangeArrowheads="1"/>
          </p:cNvSpPr>
          <p:nvPr/>
        </p:nvSpPr>
        <p:spPr bwMode="gray">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3" y="312673"/>
            <a:ext cx="860651" cy="334270"/>
          </a:xfrm>
          <a:prstGeom prst="rect">
            <a:avLst/>
          </a:prstGeom>
        </p:spPr>
      </p:pic>
    </p:spTree>
    <p:extLst>
      <p:ext uri="{BB962C8B-B14F-4D97-AF65-F5344CB8AC3E}">
        <p14:creationId xmlns:p14="http://schemas.microsoft.com/office/powerpoint/2010/main" val="1523910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Blank_DO NOT DELETE">
    <p:spTree>
      <p:nvGrpSpPr>
        <p:cNvPr id="1" name=""/>
        <p:cNvGrpSpPr/>
        <p:nvPr/>
      </p:nvGrpSpPr>
      <p:grpSpPr>
        <a:xfrm>
          <a:off x="0" y="0"/>
          <a:ext cx="0" cy="0"/>
          <a:chOff x="0" y="0"/>
          <a:chExt cx="0" cy="0"/>
        </a:xfrm>
      </p:grpSpPr>
    </p:spTree>
    <p:extLst>
      <p:ext uri="{BB962C8B-B14F-4D97-AF65-F5344CB8AC3E}">
        <p14:creationId xmlns:p14="http://schemas.microsoft.com/office/powerpoint/2010/main" val="6824990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Title Slide w Full Image &amp; Fad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0" y="0"/>
            <a:ext cx="12192000" cy="6858000"/>
          </a:xfrm>
        </p:spPr>
        <p:txBody>
          <a:bodyPr anchor="ctr"/>
          <a:lstStyle>
            <a:lvl1pPr marL="0" indent="0" algn="ctr">
              <a:buNone/>
              <a:defRPr/>
            </a:lvl1pPr>
          </a:lstStyle>
          <a:p>
            <a:r>
              <a:rPr lang="en-US"/>
              <a:t>Click icon to add picture</a:t>
            </a:r>
            <a:endParaRPr lang="en-US" dirty="0"/>
          </a:p>
        </p:txBody>
      </p:sp>
      <p:sp>
        <p:nvSpPr>
          <p:cNvPr id="9" name="Text Placeholder 4"/>
          <p:cNvSpPr>
            <a:spLocks noGrp="1"/>
          </p:cNvSpPr>
          <p:nvPr>
            <p:ph type="body" sz="quarter" idx="17" hasCustomPrompt="1"/>
          </p:nvPr>
        </p:nvSpPr>
        <p:spPr>
          <a:xfrm rot="16200000">
            <a:off x="4449370" y="-875992"/>
            <a:ext cx="3293259" cy="12192000"/>
          </a:xfrm>
          <a:gradFill flip="none" rotWithShape="1">
            <a:gsLst>
              <a:gs pos="89000">
                <a:srgbClr val="3D4647">
                  <a:alpha val="25000"/>
                </a:srgbClr>
              </a:gs>
              <a:gs pos="100000">
                <a:schemeClr val="tx1">
                  <a:alpha val="0"/>
                </a:schemeClr>
              </a:gs>
              <a:gs pos="78000">
                <a:schemeClr val="tx1">
                  <a:alpha val="50000"/>
                </a:schemeClr>
              </a:gs>
              <a:gs pos="63000">
                <a:srgbClr val="3D4647">
                  <a:alpha val="65000"/>
                </a:srgbClr>
              </a:gs>
              <a:gs pos="49000">
                <a:schemeClr val="tx1">
                  <a:alpha val="75000"/>
                </a:schemeClr>
              </a:gs>
              <a:gs pos="23000">
                <a:schemeClr val="tx1"/>
              </a:gs>
            </a:gsLst>
            <a:lin ang="21594000" scaled="0"/>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lIns="454941" tIns="37851" rIns="75702" bIns="72790" rtlCol="0" anchor="b"/>
          <a:lstStyle>
            <a:lvl1pPr>
              <a:defRPr lang="en-US" sz="1094" dirty="0">
                <a:solidFill>
                  <a:schemeClr val="bg1"/>
                </a:solidFill>
                <a:latin typeface="Century Gothic" panose="020B0502020202020204" pitchFamily="34" charset="0"/>
              </a:defRPr>
            </a:lvl1pPr>
          </a:lstStyle>
          <a:p>
            <a:pPr marL="0" lvl="0"/>
            <a:r>
              <a:rPr lang="en-US"/>
              <a:t>  </a:t>
            </a:r>
            <a:endParaRPr lang="en-US" dirty="0"/>
          </a:p>
        </p:txBody>
      </p:sp>
      <p:sp>
        <p:nvSpPr>
          <p:cNvPr id="2" name="Title 1"/>
          <p:cNvSpPr>
            <a:spLocks noGrp="1"/>
          </p:cNvSpPr>
          <p:nvPr>
            <p:ph type="ctrTitle" hasCustomPrompt="1"/>
          </p:nvPr>
        </p:nvSpPr>
        <p:spPr bwMode="gray">
          <a:xfrm>
            <a:off x="433136" y="4367460"/>
            <a:ext cx="6215198" cy="1940584"/>
          </a:xfrm>
        </p:spPr>
        <p:txBody>
          <a:bodyPr wrap="square" anchor="ctr" anchorCtr="0">
            <a:noAutofit/>
          </a:bodyPr>
          <a:lstStyle>
            <a:lvl1pPr algn="l">
              <a:lnSpc>
                <a:spcPct val="85000"/>
              </a:lnSpc>
              <a:defRPr sz="5000" b="0" i="0" cap="all" baseline="0">
                <a:solidFill>
                  <a:schemeClr val="bg1"/>
                </a:solidFill>
                <a:effectLst/>
                <a:latin typeface="+mj-lt"/>
                <a:ea typeface="DIN Pro Black" charset="0"/>
                <a:cs typeface="DIN Pro Black" charset="0"/>
              </a:defRPr>
            </a:lvl1pPr>
          </a:lstStyle>
          <a:p>
            <a:r>
              <a:rPr lang="en-US" dirty="0"/>
              <a:t>Click to Add Presentation Title</a:t>
            </a:r>
          </a:p>
        </p:txBody>
      </p:sp>
      <p:sp>
        <p:nvSpPr>
          <p:cNvPr id="3" name="Subtitle 2"/>
          <p:cNvSpPr>
            <a:spLocks noGrp="1"/>
          </p:cNvSpPr>
          <p:nvPr>
            <p:ph type="subTitle" idx="1" hasCustomPrompt="1"/>
          </p:nvPr>
        </p:nvSpPr>
        <p:spPr bwMode="gray">
          <a:xfrm>
            <a:off x="8185727" y="5254426"/>
            <a:ext cx="3291840" cy="246221"/>
          </a:xfrm>
        </p:spPr>
        <p:txBody>
          <a:bodyPr wrap="square" anchor="b">
            <a:noAutofit/>
          </a:bodyPr>
          <a:lstStyle>
            <a:lvl1pPr marL="0" indent="0" algn="l">
              <a:lnSpc>
                <a:spcPct val="80000"/>
              </a:lnSpc>
              <a:spcBef>
                <a:spcPts val="0"/>
              </a:spcBef>
              <a:spcAft>
                <a:spcPts val="0"/>
              </a:spcAft>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 Presenter’s Name</a:t>
            </a:r>
          </a:p>
        </p:txBody>
      </p:sp>
      <p:sp>
        <p:nvSpPr>
          <p:cNvPr id="8" name="Text Placeholder 7"/>
          <p:cNvSpPr>
            <a:spLocks noGrp="1"/>
          </p:cNvSpPr>
          <p:nvPr>
            <p:ph type="body" sz="quarter" idx="10" hasCustomPrompt="1"/>
          </p:nvPr>
        </p:nvSpPr>
        <p:spPr bwMode="gray">
          <a:xfrm>
            <a:off x="8185727" y="5535213"/>
            <a:ext cx="3291840" cy="221599"/>
          </a:xfrm>
        </p:spPr>
        <p:txBody>
          <a:bodyPr wrap="square" anchor="t">
            <a:noAutofit/>
          </a:bodyPr>
          <a:lstStyle>
            <a:lvl1pPr marL="0" indent="0" algn="l">
              <a:spcBef>
                <a:spcPts val="0"/>
              </a:spcBef>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dd </a:t>
            </a:r>
            <a:r>
              <a:rPr lang="en-US" dirty="0"/>
              <a:t>Presenter’s Title</a:t>
            </a:r>
          </a:p>
        </p:txBody>
      </p:sp>
      <p:sp>
        <p:nvSpPr>
          <p:cNvPr id="11" name="Text Placeholder 9"/>
          <p:cNvSpPr>
            <a:spLocks noGrp="1"/>
          </p:cNvSpPr>
          <p:nvPr>
            <p:ph type="body" sz="quarter" idx="13" hasCustomPrompt="1"/>
          </p:nvPr>
        </p:nvSpPr>
        <p:spPr bwMode="gray">
          <a:xfrm>
            <a:off x="8185727" y="6009709"/>
            <a:ext cx="2468880" cy="193899"/>
          </a:xfrm>
        </p:spPr>
        <p:txBody>
          <a:bodyPr wrap="square" anchor="t" anchorCtr="0">
            <a:noAutofit/>
          </a:bodyPr>
          <a:lstStyle>
            <a:lvl1pPr marL="0" indent="0" algn="l">
              <a:spcBef>
                <a:spcPts val="0"/>
              </a:spcBef>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2875222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amp; Image">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a:xfrm>
            <a:off x="4610587" y="1220583"/>
            <a:ext cx="7150883" cy="4956048"/>
          </a:xfrm>
        </p:spPr>
        <p:txBody>
          <a:bodyPr anchor="ctr"/>
          <a:lstStyle>
            <a:lvl1pPr marL="0" indent="0" algn="ctr">
              <a:buNone/>
              <a:defRPr>
                <a:solidFill>
                  <a:schemeClr val="tx1"/>
                </a:solidFill>
                <a:latin typeface="+mn-lt"/>
              </a:defRPr>
            </a:lvl1pPr>
          </a:lstStyle>
          <a:p>
            <a:r>
              <a:rPr lang="en-US" dirty="0"/>
              <a:t>Click icon to add picture</a:t>
            </a:r>
          </a:p>
        </p:txBody>
      </p:sp>
      <p:sp>
        <p:nvSpPr>
          <p:cNvPr id="8" name="Content Placeholder 2"/>
          <p:cNvSpPr>
            <a:spLocks noGrp="1"/>
          </p:cNvSpPr>
          <p:nvPr>
            <p:ph idx="13" hasCustomPrompt="1"/>
          </p:nvPr>
        </p:nvSpPr>
        <p:spPr>
          <a:xfrm>
            <a:off x="431756" y="1220583"/>
            <a:ext cx="3866395" cy="4956048"/>
          </a:xfrm>
        </p:spPr>
        <p:txBody>
          <a:bodyPr>
            <a:normAutofit/>
          </a:bodyPr>
          <a:lstStyle>
            <a:lvl1pPr>
              <a:defRPr sz="2200"/>
            </a:lvl1pPr>
            <a:lvl2pPr>
              <a:defRPr sz="2000"/>
            </a:lvl2pPr>
            <a:lvl3pPr>
              <a:defRPr sz="1800"/>
            </a:lvl3pPr>
            <a:lvl4pPr>
              <a:defRPr sz="1600"/>
            </a:lvl4pPr>
            <a:lvl5pPr>
              <a:defRPr sz="1400" baseline="0"/>
            </a:lvl5pPr>
            <a:lvl6pPr>
              <a:defRPr sz="2000"/>
            </a:lvl6pPr>
            <a:lvl7pPr>
              <a:defRPr sz="2000"/>
            </a:lvl7pPr>
            <a:lvl8pPr>
              <a:defRPr sz="2000"/>
            </a:lvl8pPr>
            <a:lvl9pPr>
              <a:defRPr sz="20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a:xfrm>
            <a:off x="411480" y="347471"/>
            <a:ext cx="10259568" cy="347472"/>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242219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0800000">
            <a:off x="2" y="0"/>
            <a:ext cx="6090249" cy="6858000"/>
          </a:xfrm>
          <a:prstGeom prst="rect">
            <a:avLst/>
          </a:prstGeom>
        </p:spPr>
      </p:pic>
      <p:sp>
        <p:nvSpPr>
          <p:cNvPr id="2" name="Title 1"/>
          <p:cNvSpPr>
            <a:spLocks noGrp="1"/>
          </p:cNvSpPr>
          <p:nvPr>
            <p:ph type="ctrTitle" hasCustomPrompt="1"/>
          </p:nvPr>
        </p:nvSpPr>
        <p:spPr>
          <a:xfrm>
            <a:off x="427701" y="2889534"/>
            <a:ext cx="5417220" cy="1077218"/>
          </a:xfrm>
        </p:spPr>
        <p:txBody>
          <a:bodyPr wrap="square" tIns="91440" anchor="ctr" anchorCtr="0">
            <a:spAutoFit/>
          </a:bodyPr>
          <a:lstStyle>
            <a:lvl1pPr>
              <a:lnSpc>
                <a:spcPct val="80000"/>
              </a:lnSpc>
              <a:defRPr sz="3990" b="0" cap="all" baseline="0">
                <a:solidFill>
                  <a:schemeClr val="bg1"/>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a:xfrm>
            <a:off x="427703" y="5448377"/>
            <a:ext cx="5424946" cy="276999"/>
          </a:xfrm>
        </p:spPr>
        <p:txBody>
          <a:bodyPr wrap="square" anchor="b">
            <a:spAutoFit/>
          </a:bodyPr>
          <a:lstStyle>
            <a:lvl1pPr marL="0" indent="0" algn="l">
              <a:spcBef>
                <a:spcPts val="0"/>
              </a:spcBef>
              <a:buNone/>
              <a:defRPr sz="1995" b="0">
                <a:solidFill>
                  <a:schemeClr val="bg1"/>
                </a:solidFill>
                <a:effectLst/>
                <a:latin typeface="+mn-lt"/>
              </a:defRPr>
            </a:lvl1pPr>
            <a:lvl2pPr marL="456057" indent="0" algn="ctr">
              <a:buNone/>
              <a:defRPr>
                <a:solidFill>
                  <a:schemeClr val="tx1">
                    <a:tint val="75000"/>
                  </a:schemeClr>
                </a:solidFill>
              </a:defRPr>
            </a:lvl2pPr>
            <a:lvl3pPr marL="912114" indent="0" algn="ctr">
              <a:buNone/>
              <a:defRPr>
                <a:solidFill>
                  <a:schemeClr val="tx1">
                    <a:tint val="75000"/>
                  </a:schemeClr>
                </a:solidFill>
              </a:defRPr>
            </a:lvl3pPr>
            <a:lvl4pPr marL="1368171" indent="0" algn="ctr">
              <a:buNone/>
              <a:defRPr>
                <a:solidFill>
                  <a:schemeClr val="tx1">
                    <a:tint val="75000"/>
                  </a:schemeClr>
                </a:solidFill>
              </a:defRPr>
            </a:lvl4pPr>
            <a:lvl5pPr marL="1824228" indent="0" algn="ctr">
              <a:buNone/>
              <a:defRPr>
                <a:solidFill>
                  <a:schemeClr val="tx1">
                    <a:tint val="75000"/>
                  </a:schemeClr>
                </a:solidFill>
              </a:defRPr>
            </a:lvl5pPr>
            <a:lvl6pPr marL="2280285" indent="0" algn="ctr">
              <a:buNone/>
              <a:defRPr>
                <a:solidFill>
                  <a:schemeClr val="tx1">
                    <a:tint val="75000"/>
                  </a:schemeClr>
                </a:solidFill>
              </a:defRPr>
            </a:lvl6pPr>
            <a:lvl7pPr marL="2736342" indent="0" algn="ctr">
              <a:buNone/>
              <a:defRPr>
                <a:solidFill>
                  <a:schemeClr val="tx1">
                    <a:tint val="75000"/>
                  </a:schemeClr>
                </a:solidFill>
              </a:defRPr>
            </a:lvl7pPr>
            <a:lvl8pPr marL="3192399" indent="0" algn="ctr">
              <a:buNone/>
              <a:defRPr>
                <a:solidFill>
                  <a:schemeClr val="tx1">
                    <a:tint val="75000"/>
                  </a:schemeClr>
                </a:solidFill>
              </a:defRPr>
            </a:lvl8pPr>
            <a:lvl9pPr marL="3648456"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a:xfrm>
            <a:off x="427703" y="5759943"/>
            <a:ext cx="5424946" cy="221599"/>
          </a:xfrm>
        </p:spPr>
        <p:txBody>
          <a:bodyPr>
            <a:spAutoFit/>
          </a:bodyPr>
          <a:lstStyle>
            <a:lvl1pPr marL="0" indent="0" algn="l">
              <a:buNone/>
              <a:defRPr sz="1596">
                <a:solidFill>
                  <a:schemeClr val="bg1"/>
                </a:solidFill>
                <a:effectLst/>
                <a:latin typeface="+mn-lt"/>
              </a:defRPr>
            </a:lvl1pPr>
            <a:lvl2pPr marL="454474" indent="0">
              <a:buNone/>
              <a:defRPr>
                <a:solidFill>
                  <a:schemeClr val="bg1"/>
                </a:solidFill>
              </a:defRPr>
            </a:lvl2pPr>
            <a:lvl3pPr marL="912114" indent="0">
              <a:buNone/>
              <a:defRPr>
                <a:solidFill>
                  <a:schemeClr val="bg1"/>
                </a:solidFill>
              </a:defRPr>
            </a:lvl3pPr>
            <a:lvl4pPr marL="1368171" indent="0">
              <a:buNone/>
              <a:defRPr>
                <a:solidFill>
                  <a:schemeClr val="bg1"/>
                </a:solidFill>
              </a:defRPr>
            </a:lvl4pPr>
            <a:lvl5pPr marL="1824228"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a:xfrm>
            <a:off x="427703" y="6247691"/>
            <a:ext cx="5424946" cy="193899"/>
          </a:xfrm>
        </p:spPr>
        <p:txBody>
          <a:bodyPr>
            <a:spAutoFit/>
          </a:bodyPr>
          <a:lstStyle>
            <a:lvl1pPr marL="0" indent="0" algn="l">
              <a:buFontTx/>
              <a:buNone/>
              <a:defRPr sz="1397">
                <a:solidFill>
                  <a:schemeClr val="bg1"/>
                </a:solidFill>
                <a:effectLst/>
                <a:latin typeface="+mn-lt"/>
              </a:defRPr>
            </a:lvl1pPr>
            <a:lvl2pPr marL="454474" indent="0">
              <a:buFontTx/>
              <a:buNone/>
              <a:defRPr sz="1496">
                <a:solidFill>
                  <a:schemeClr val="bg1"/>
                </a:solidFill>
                <a:latin typeface="Arial Narrow" pitchFamily="34" charset="0"/>
              </a:defRPr>
            </a:lvl2pPr>
            <a:lvl3pPr marL="912114" indent="0">
              <a:buFontTx/>
              <a:buNone/>
              <a:defRPr sz="1496">
                <a:solidFill>
                  <a:schemeClr val="bg1"/>
                </a:solidFill>
                <a:latin typeface="Arial Narrow" pitchFamily="34" charset="0"/>
              </a:defRPr>
            </a:lvl3pPr>
            <a:lvl4pPr marL="1368171" indent="0">
              <a:buFontTx/>
              <a:buNone/>
              <a:defRPr sz="1496">
                <a:solidFill>
                  <a:schemeClr val="bg1"/>
                </a:solidFill>
                <a:latin typeface="Arial Narrow" pitchFamily="34" charset="0"/>
              </a:defRPr>
            </a:lvl4pPr>
            <a:lvl5pPr marL="1824228" indent="0">
              <a:buFontTx/>
              <a:buNone/>
              <a:defRPr sz="1496">
                <a:solidFill>
                  <a:schemeClr val="bg1"/>
                </a:solidFill>
                <a:latin typeface="Arial Narrow" pitchFamily="34" charset="0"/>
              </a:defRPr>
            </a:lvl5pPr>
          </a:lstStyle>
          <a:p>
            <a:pPr lvl="0"/>
            <a:r>
              <a:rPr lang="en-US" dirty="0"/>
              <a:t>Click to Add Date</a:t>
            </a:r>
          </a:p>
        </p:txBody>
      </p:sp>
      <p:sp>
        <p:nvSpPr>
          <p:cNvPr id="13" name="Rectangle 12"/>
          <p:cNvSpPr/>
          <p:nvPr userDrawn="1"/>
        </p:nvSpPr>
        <p:spPr>
          <a:xfrm>
            <a:off x="606856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49901" y="2647453"/>
            <a:ext cx="4015632" cy="1561385"/>
          </a:xfrm>
          <a:prstGeom prst="rect">
            <a:avLst/>
          </a:prstGeom>
        </p:spPr>
      </p:pic>
    </p:spTree>
    <p:extLst>
      <p:ext uri="{BB962C8B-B14F-4D97-AF65-F5344CB8AC3E}">
        <p14:creationId xmlns:p14="http://schemas.microsoft.com/office/powerpoint/2010/main" val="1227251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7580" y="1222375"/>
            <a:ext cx="11364518" cy="4956048"/>
          </a:xfrm>
        </p:spPr>
        <p:txBody>
          <a:bodyPr>
            <a:normAutofit/>
          </a:bodyPr>
          <a:lstStyle>
            <a:lvl1pPr marL="272898" indent="-272898">
              <a:lnSpc>
                <a:spcPct val="90000"/>
              </a:lnSpc>
              <a:spcBef>
                <a:spcPts val="2134"/>
              </a:spcBef>
              <a:buClr>
                <a:schemeClr val="tx1"/>
              </a:buClr>
              <a:defRPr sz="2195" b="0">
                <a:solidFill>
                  <a:schemeClr val="tx1"/>
                </a:solidFill>
                <a:latin typeface="+mn-lt"/>
              </a:defRPr>
            </a:lvl1pPr>
            <a:lvl2pPr marL="811162" indent="-271015">
              <a:lnSpc>
                <a:spcPct val="90000"/>
              </a:lnSpc>
              <a:spcBef>
                <a:spcPts val="0"/>
              </a:spcBef>
              <a:spcAft>
                <a:spcPts val="237"/>
              </a:spcAft>
              <a:defRPr sz="1995" b="0">
                <a:solidFill>
                  <a:schemeClr val="tx1"/>
                </a:solidFill>
                <a:latin typeface="+mn-lt"/>
              </a:defRPr>
            </a:lvl2pPr>
            <a:lvl3pPr marL="1355074" indent="-271015">
              <a:lnSpc>
                <a:spcPct val="90000"/>
              </a:lnSpc>
              <a:spcBef>
                <a:spcPts val="0"/>
              </a:spcBef>
              <a:spcAft>
                <a:spcPts val="237"/>
              </a:spcAft>
              <a:defRPr sz="1795" b="0">
                <a:solidFill>
                  <a:schemeClr val="tx1"/>
                </a:solidFill>
                <a:latin typeface="+mn-lt"/>
              </a:defRPr>
            </a:lvl3pPr>
            <a:lvl4pPr marL="1897197" indent="-271015">
              <a:lnSpc>
                <a:spcPct val="90000"/>
              </a:lnSpc>
              <a:defRPr sz="1596" b="0">
                <a:solidFill>
                  <a:schemeClr val="tx1"/>
                </a:solidFill>
                <a:latin typeface="+mn-lt"/>
              </a:defRPr>
            </a:lvl4pPr>
            <a:lvl5pPr marL="2435344" indent="-271015">
              <a:lnSpc>
                <a:spcPct val="90000"/>
              </a:lnSpc>
              <a:defRPr sz="1397" b="0" baseline="0">
                <a:solidFill>
                  <a:schemeClr val="tx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a:xfrm>
            <a:off x="411481" y="347472"/>
            <a:ext cx="10255125"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236315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rot="10800000">
            <a:off x="1" y="0"/>
            <a:ext cx="2589382" cy="6858000"/>
          </a:xfrm>
          <a:prstGeom prst="rect">
            <a:avLst/>
          </a:prstGeom>
        </p:spPr>
      </p:pic>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9602618" y="0"/>
            <a:ext cx="2589382" cy="6858000"/>
          </a:xfrm>
          <a:prstGeom prst="rect">
            <a:avLst/>
          </a:prstGeom>
        </p:spPr>
      </p:pic>
      <p:sp>
        <p:nvSpPr>
          <p:cNvPr id="6"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sp>
        <p:nvSpPr>
          <p:cNvPr id="2" name="Rectangle 1"/>
          <p:cNvSpPr/>
          <p:nvPr userDrawn="1"/>
        </p:nvSpPr>
        <p:spPr>
          <a:xfrm>
            <a:off x="2585547" y="0"/>
            <a:ext cx="70209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22" name="Title 21"/>
          <p:cNvSpPr>
            <a:spLocks noGrp="1"/>
          </p:cNvSpPr>
          <p:nvPr>
            <p:ph type="title" hasCustomPrompt="1"/>
          </p:nvPr>
        </p:nvSpPr>
        <p:spPr>
          <a:xfrm>
            <a:off x="2984942" y="627503"/>
            <a:ext cx="6222120" cy="344710"/>
          </a:xfrm>
        </p:spPr>
        <p:txBody>
          <a:bodyPr wrap="square" anchor="ctr">
            <a:spAutoFit/>
          </a:bodyPr>
          <a:lstStyle>
            <a:lvl1pPr algn="l">
              <a:lnSpc>
                <a:spcPct val="80000"/>
              </a:lnSpc>
              <a:defRPr sz="2793">
                <a:solidFill>
                  <a:schemeClr val="bg2"/>
                </a:solidFill>
                <a:latin typeface="+mn-lt"/>
              </a:defRPr>
            </a:lvl1pPr>
          </a:lstStyle>
          <a:p>
            <a:r>
              <a:rPr lang="en-US" dirty="0"/>
              <a:t>Click to add agenda title</a:t>
            </a:r>
          </a:p>
        </p:txBody>
      </p:sp>
      <p:sp>
        <p:nvSpPr>
          <p:cNvPr id="20" name="Content Placeholder 3"/>
          <p:cNvSpPr>
            <a:spLocks noGrp="1"/>
          </p:cNvSpPr>
          <p:nvPr>
            <p:ph sz="half" idx="2" hasCustomPrompt="1"/>
          </p:nvPr>
        </p:nvSpPr>
        <p:spPr>
          <a:xfrm>
            <a:off x="2984942" y="1334815"/>
            <a:ext cx="6222120" cy="5145885"/>
          </a:xfrm>
        </p:spPr>
        <p:txBody>
          <a:bodyPr anchor="t">
            <a:normAutofit/>
          </a:bodyPr>
          <a:lstStyle>
            <a:lvl1pPr marL="456057" indent="-456057">
              <a:buClr>
                <a:schemeClr val="tx1"/>
              </a:buClr>
              <a:buFont typeface="+mj-lt"/>
              <a:buAutoNum type="arabicPeriod"/>
              <a:defRPr sz="2195">
                <a:solidFill>
                  <a:schemeClr val="tx1"/>
                </a:solidFill>
              </a:defRPr>
            </a:lvl1pPr>
            <a:lvl2pPr>
              <a:buClr>
                <a:schemeClr val="tx1">
                  <a:lumMod val="75000"/>
                </a:schemeClr>
              </a:buClr>
              <a:defRPr sz="1995">
                <a:solidFill>
                  <a:schemeClr val="tx1"/>
                </a:solidFill>
              </a:defRPr>
            </a:lvl2pPr>
            <a:lvl3pPr>
              <a:buClr>
                <a:schemeClr val="tx1">
                  <a:lumMod val="75000"/>
                </a:schemeClr>
              </a:buClr>
              <a:defRPr sz="1795">
                <a:solidFill>
                  <a:schemeClr val="tx1"/>
                </a:solidFill>
              </a:defRPr>
            </a:lvl3pPr>
            <a:lvl4pPr>
              <a:buClr>
                <a:schemeClr val="tx1">
                  <a:lumMod val="75000"/>
                </a:schemeClr>
              </a:buClr>
              <a:defRPr sz="1596" baseline="0">
                <a:solidFill>
                  <a:schemeClr val="tx1"/>
                </a:solidFill>
              </a:defRPr>
            </a:lvl4pPr>
            <a:lvl5pPr>
              <a:buClr>
                <a:schemeClr val="tx1">
                  <a:lumMod val="75000"/>
                </a:schemeClr>
              </a:buClr>
              <a:defRPr sz="1397">
                <a:solidFill>
                  <a:schemeClr val="tx1"/>
                </a:solidFill>
              </a:defRPr>
            </a:lvl5pPr>
            <a:lvl6pPr>
              <a:defRPr sz="1795"/>
            </a:lvl6pPr>
            <a:lvl7pPr>
              <a:defRPr sz="1795"/>
            </a:lvl7pPr>
            <a:lvl8pPr>
              <a:defRPr sz="1795"/>
            </a:lvl8pPr>
            <a:lvl9pPr>
              <a:defRPr sz="1795"/>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960261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3" name="Rectangle 12"/>
          <p:cNvSpPr/>
          <p:nvPr userDrawn="1"/>
        </p:nvSpPr>
        <p:spPr>
          <a:xfrm>
            <a:off x="2534520"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7" y="290988"/>
            <a:ext cx="973108" cy="378266"/>
          </a:xfrm>
          <a:prstGeom prst="rect">
            <a:avLst/>
          </a:prstGeom>
        </p:spPr>
      </p:pic>
    </p:spTree>
    <p:extLst>
      <p:ext uri="{BB962C8B-B14F-4D97-AF65-F5344CB8AC3E}">
        <p14:creationId xmlns:p14="http://schemas.microsoft.com/office/powerpoint/2010/main" val="1583168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Green Divi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6286"/>
          </a:xfrm>
          <a:prstGeom prst="rect">
            <a:avLst/>
          </a:prstGeom>
        </p:spPr>
      </p:pic>
      <p:sp>
        <p:nvSpPr>
          <p:cNvPr id="22" name="Title 21"/>
          <p:cNvSpPr>
            <a:spLocks noGrp="1"/>
          </p:cNvSpPr>
          <p:nvPr>
            <p:ph type="title" hasCustomPrompt="1"/>
          </p:nvPr>
        </p:nvSpPr>
        <p:spPr>
          <a:xfrm>
            <a:off x="386943" y="3133537"/>
            <a:ext cx="10186176" cy="590931"/>
          </a:xfrm>
        </p:spPr>
        <p:txBody>
          <a:bodyPr wrap="square" anchor="ctr">
            <a:spAutoFit/>
          </a:bodyPr>
          <a:lstStyle>
            <a:lvl1pPr algn="l">
              <a:lnSpc>
                <a:spcPct val="80000"/>
              </a:lnSpc>
              <a:defRPr sz="4788"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7" y="290988"/>
            <a:ext cx="973108" cy="378266"/>
          </a:xfrm>
          <a:prstGeom prst="rect">
            <a:avLst/>
          </a:prstGeom>
        </p:spPr>
      </p:pic>
    </p:spTree>
    <p:extLst>
      <p:ext uri="{BB962C8B-B14F-4D97-AF65-F5344CB8AC3E}">
        <p14:creationId xmlns:p14="http://schemas.microsoft.com/office/powerpoint/2010/main" val="2018699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Green Block &amp; Conten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36685" cy="6858000"/>
          </a:xfrm>
          <a:prstGeom prst="rect">
            <a:avLst/>
          </a:prstGeom>
        </p:spPr>
      </p:pic>
      <p:sp>
        <p:nvSpPr>
          <p:cNvPr id="10" name="Content Placeholder 3"/>
          <p:cNvSpPr>
            <a:spLocks noGrp="1"/>
          </p:cNvSpPr>
          <p:nvPr>
            <p:ph sz="half" idx="2" hasCustomPrompt="1"/>
          </p:nvPr>
        </p:nvSpPr>
        <p:spPr>
          <a:xfrm>
            <a:off x="4694638" y="772358"/>
            <a:ext cx="7082577" cy="5477522"/>
          </a:xfrm>
        </p:spPr>
        <p:txBody>
          <a:bodyPr anchor="ctr">
            <a:normAutofit/>
          </a:bodyPr>
          <a:lstStyle>
            <a:lvl1pPr>
              <a:buClr>
                <a:schemeClr val="tx1"/>
              </a:buClr>
              <a:defRPr sz="2195">
                <a:solidFill>
                  <a:schemeClr val="tx1"/>
                </a:solidFill>
              </a:defRPr>
            </a:lvl1pPr>
            <a:lvl2pPr>
              <a:buClr>
                <a:schemeClr val="tx1">
                  <a:lumMod val="75000"/>
                </a:schemeClr>
              </a:buClr>
              <a:defRPr sz="1995">
                <a:solidFill>
                  <a:schemeClr val="tx1"/>
                </a:solidFill>
              </a:defRPr>
            </a:lvl2pPr>
            <a:lvl3pPr>
              <a:buClr>
                <a:schemeClr val="tx1">
                  <a:lumMod val="75000"/>
                </a:schemeClr>
              </a:buClr>
              <a:defRPr sz="1795">
                <a:solidFill>
                  <a:schemeClr val="tx1"/>
                </a:solidFill>
              </a:defRPr>
            </a:lvl3pPr>
            <a:lvl4pPr>
              <a:buClr>
                <a:schemeClr val="tx1">
                  <a:lumMod val="75000"/>
                </a:schemeClr>
              </a:buClr>
              <a:defRPr sz="1596" baseline="0">
                <a:solidFill>
                  <a:schemeClr val="tx1"/>
                </a:solidFill>
              </a:defRPr>
            </a:lvl4pPr>
            <a:lvl5pPr>
              <a:buClr>
                <a:schemeClr val="tx1">
                  <a:lumMod val="75000"/>
                </a:schemeClr>
              </a:buClr>
              <a:defRPr sz="1397">
                <a:solidFill>
                  <a:schemeClr val="tx1"/>
                </a:solidFill>
              </a:defRPr>
            </a:lvl5pPr>
            <a:lvl6pPr>
              <a:defRPr sz="1795"/>
            </a:lvl6pPr>
            <a:lvl7pPr>
              <a:defRPr sz="1795"/>
            </a:lvl7pPr>
            <a:lvl8pPr>
              <a:defRPr sz="1795"/>
            </a:lvl8pPr>
            <a:lvl9pPr>
              <a:defRPr sz="1795"/>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a:xfrm>
            <a:off x="430546" y="2984946"/>
            <a:ext cx="3271299" cy="886397"/>
          </a:xfrm>
        </p:spPr>
        <p:txBody>
          <a:bodyPr wrap="square" anchor="ctr">
            <a:spAutoFit/>
          </a:bodyPr>
          <a:lstStyle>
            <a:lvl1pPr>
              <a:lnSpc>
                <a:spcPct val="80000"/>
              </a:lnSpc>
              <a:defRPr sz="3591"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3D4647"/>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3D4647"/>
              </a:solidFill>
              <a:effectLst/>
              <a:uLnTx/>
              <a:uFillTx/>
              <a:latin typeface="Century Gothic" panose="020F0302020204030204"/>
              <a:ea typeface="MS PGothic" pitchFamily="34" charset="-128"/>
              <a:cs typeface="+mn-cs"/>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6" y="293170"/>
            <a:ext cx="967226" cy="376084"/>
          </a:xfrm>
          <a:prstGeom prst="rect">
            <a:avLst/>
          </a:prstGeom>
        </p:spPr>
      </p:pic>
    </p:spTree>
    <p:extLst>
      <p:ext uri="{BB962C8B-B14F-4D97-AF65-F5344CB8AC3E}">
        <p14:creationId xmlns:p14="http://schemas.microsoft.com/office/powerpoint/2010/main" val="380083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246398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Only - No Footer">
    <p:spTree>
      <p:nvGrpSpPr>
        <p:cNvPr id="1" name=""/>
        <p:cNvGrpSpPr/>
        <p:nvPr/>
      </p:nvGrpSpPr>
      <p:grpSpPr>
        <a:xfrm>
          <a:off x="0" y="0"/>
          <a:ext cx="0" cy="0"/>
          <a:chOff x="0" y="0"/>
          <a:chExt cx="0" cy="0"/>
        </a:xfrm>
      </p:grpSpPr>
      <p:sp>
        <p:nvSpPr>
          <p:cNvPr id="2" name="Rectangle 1"/>
          <p:cNvSpPr/>
          <p:nvPr/>
        </p:nvSpPr>
        <p:spPr>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8" name="Title 7"/>
          <p:cNvSpPr>
            <a:spLocks noGrp="1"/>
          </p:cNvSpPr>
          <p:nvPr>
            <p:ph type="title" hasCustomPrompt="1"/>
          </p:nvPr>
        </p:nvSpPr>
        <p:spPr/>
        <p:txBody>
          <a:bodyPr/>
          <a:lstStyle>
            <a:lvl1pPr>
              <a:defRPr/>
            </a:lvl1pPr>
          </a:lstStyle>
          <a:p>
            <a:r>
              <a:rPr lang="en-US" dirty="0"/>
              <a:t>Click to add title</a:t>
            </a:r>
          </a:p>
        </p:txBody>
      </p:sp>
      <p:sp>
        <p:nvSpPr>
          <p:cNvPr id="5"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3D4647"/>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3D4647"/>
              </a:solidFill>
              <a:effectLst/>
              <a:uLnTx/>
              <a:uFillTx/>
              <a:latin typeface="Century Gothic" panose="020F0302020204030204"/>
              <a:ea typeface="MS PGothic" pitchFamily="34" charset="-128"/>
              <a:cs typeface="+mn-cs"/>
            </a:endParaRPr>
          </a:p>
        </p:txBody>
      </p:sp>
    </p:spTree>
    <p:extLst>
      <p:ext uri="{BB962C8B-B14F-4D97-AF65-F5344CB8AC3E}">
        <p14:creationId xmlns:p14="http://schemas.microsoft.com/office/powerpoint/2010/main" val="2583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33715" y="1222375"/>
            <a:ext cx="5430358" cy="4956048"/>
          </a:xfrm>
        </p:spPr>
        <p:txBody>
          <a:bodyPr/>
          <a:lstStyle>
            <a:lvl1pPr>
              <a:defRPr sz="2195"/>
            </a:lvl1pPr>
            <a:lvl2pPr>
              <a:defRPr sz="1995"/>
            </a:lvl2pPr>
            <a:lvl3pPr>
              <a:defRPr sz="1795"/>
            </a:lvl3pPr>
            <a:lvl4pPr>
              <a:defRPr sz="1596"/>
            </a:lvl4pPr>
            <a:lvl5pPr>
              <a:defRPr sz="1397" baseline="0"/>
            </a:lvl5pPr>
            <a:lvl6pPr>
              <a:defRPr sz="2195"/>
            </a:lvl6pPr>
            <a:lvl7pPr>
              <a:defRPr sz="2195"/>
            </a:lvl7pPr>
            <a:lvl8pPr>
              <a:defRPr sz="2195"/>
            </a:lvl8pPr>
            <a:lvl9pPr>
              <a:defRPr sz="2195"/>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21144" y="1222375"/>
            <a:ext cx="5431536" cy="4956048"/>
          </a:xfrm>
        </p:spPr>
        <p:txBody>
          <a:bodyPr/>
          <a:lstStyle>
            <a:lvl1pPr>
              <a:defRPr sz="2195"/>
            </a:lvl1pPr>
            <a:lvl2pPr>
              <a:defRPr sz="1995"/>
            </a:lvl2pPr>
            <a:lvl3pPr>
              <a:defRPr sz="1795"/>
            </a:lvl3pPr>
            <a:lvl4pPr>
              <a:defRPr sz="1596"/>
            </a:lvl4pPr>
            <a:lvl5pPr>
              <a:defRPr sz="1397"/>
            </a:lvl5pPr>
            <a:lvl6pPr>
              <a:defRPr sz="2195"/>
            </a:lvl6pPr>
            <a:lvl7pPr>
              <a:defRPr sz="2195"/>
            </a:lvl7pPr>
            <a:lvl8pPr>
              <a:defRPr sz="2195"/>
            </a:lvl8pPr>
            <a:lvl9pPr>
              <a:defRPr sz="2195"/>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p:cNvSpPr>
            <a:spLocks noGrp="1"/>
          </p:cNvSpPr>
          <p:nvPr>
            <p:ph type="title" hasCustomPrompt="1"/>
          </p:nvPr>
        </p:nvSpPr>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317277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33716" y="1222375"/>
            <a:ext cx="3526818" cy="4956048"/>
          </a:xfrm>
        </p:spPr>
        <p:txBody>
          <a:bodyPr/>
          <a:lstStyle>
            <a:lvl1pPr>
              <a:defRPr sz="2195"/>
            </a:lvl1pPr>
            <a:lvl2pPr>
              <a:defRPr sz="1995"/>
            </a:lvl2pPr>
            <a:lvl3pPr>
              <a:defRPr sz="1795"/>
            </a:lvl3pPr>
            <a:lvl4pPr>
              <a:defRPr sz="1596"/>
            </a:lvl4pPr>
            <a:lvl5pPr>
              <a:defRPr sz="1397" baseline="0"/>
            </a:lvl5pPr>
            <a:lvl6pPr>
              <a:defRPr sz="1895"/>
            </a:lvl6pPr>
            <a:lvl7pPr>
              <a:defRPr sz="1895"/>
            </a:lvl7pPr>
            <a:lvl8pPr>
              <a:defRPr sz="1895"/>
            </a:lvl8pPr>
            <a:lvl9pPr>
              <a:defRPr sz="1895"/>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4"/>
          <p:cNvSpPr>
            <a:spLocks noGrp="1"/>
          </p:cNvSpPr>
          <p:nvPr>
            <p:ph type="title" hasCustomPrompt="1"/>
          </p:nvPr>
        </p:nvSpPr>
        <p:spPr/>
        <p:txBody>
          <a:bodyPr/>
          <a:lstStyle>
            <a:lvl1pPr>
              <a:defRPr/>
            </a:lvl1pPr>
          </a:lstStyle>
          <a:p>
            <a:r>
              <a:rPr lang="en-US" dirty="0"/>
              <a:t>Click to add title</a:t>
            </a:r>
          </a:p>
        </p:txBody>
      </p:sp>
      <p:sp>
        <p:nvSpPr>
          <p:cNvPr id="20" name="Content Placeholder 19"/>
          <p:cNvSpPr>
            <a:spLocks noGrp="1"/>
          </p:cNvSpPr>
          <p:nvPr>
            <p:ph sz="quarter" idx="15" hasCustomPrompt="1"/>
          </p:nvPr>
        </p:nvSpPr>
        <p:spPr>
          <a:xfrm>
            <a:off x="4334937" y="1222375"/>
            <a:ext cx="3531780" cy="4956048"/>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241121" y="1222375"/>
            <a:ext cx="3531780" cy="4956048"/>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0108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0530" y="1222377"/>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1"/>
          <p:cNvSpPr>
            <a:spLocks noGrp="1"/>
          </p:cNvSpPr>
          <p:nvPr>
            <p:ph sz="quarter" idx="16" hasCustomPrompt="1"/>
          </p:nvPr>
        </p:nvSpPr>
        <p:spPr>
          <a:xfrm>
            <a:off x="6470141" y="1222377"/>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1"/>
          <p:cNvSpPr>
            <a:spLocks noGrp="1"/>
          </p:cNvSpPr>
          <p:nvPr>
            <p:ph sz="quarter" idx="20" hasCustomPrompt="1"/>
          </p:nvPr>
        </p:nvSpPr>
        <p:spPr>
          <a:xfrm>
            <a:off x="6470141" y="3808385"/>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11"/>
          <p:cNvSpPr>
            <a:spLocks noGrp="1"/>
          </p:cNvSpPr>
          <p:nvPr>
            <p:ph sz="quarter" idx="19" hasCustomPrompt="1"/>
          </p:nvPr>
        </p:nvSpPr>
        <p:spPr>
          <a:xfrm>
            <a:off x="430530" y="3808385"/>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623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1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9101" y="1220583"/>
            <a:ext cx="11353800" cy="4979800"/>
          </a:xfrm>
        </p:spPr>
        <p:txBody>
          <a:bodyPr anchor="ctr"/>
          <a:lstStyle>
            <a:lvl1pPr marL="0" indent="0" algn="ctr">
              <a:buFontTx/>
              <a:buNone/>
              <a:defRPr baseline="0">
                <a:solidFill>
                  <a:schemeClr val="tx1"/>
                </a:solidFill>
                <a:latin typeface="+mn-lt"/>
              </a:defRPr>
            </a:lvl1pPr>
          </a:lstStyle>
          <a:p>
            <a:r>
              <a:rPr lang="en-US" dirty="0"/>
              <a:t>Click icon to add picture</a:t>
            </a:r>
          </a:p>
        </p:txBody>
      </p:sp>
      <p:sp>
        <p:nvSpPr>
          <p:cNvPr id="2" name="Title 1"/>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35765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One Over One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1757" y="1222375"/>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p:cNvSpPr>
            <a:spLocks noGrp="1"/>
          </p:cNvSpPr>
          <p:nvPr>
            <p:ph sz="quarter" idx="19" hasCustomPrompt="1"/>
          </p:nvPr>
        </p:nvSpPr>
        <p:spPr>
          <a:xfrm>
            <a:off x="431757" y="3808382"/>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015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650666" y="1222375"/>
            <a:ext cx="7122234" cy="4956048"/>
          </a:xfrm>
        </p:spPr>
        <p:txBody>
          <a:bodyPr/>
          <a:lstStyle>
            <a:lvl1pPr>
              <a:defRPr sz="2195"/>
            </a:lvl1pPr>
            <a:lvl2pPr>
              <a:defRPr sz="1995"/>
            </a:lvl2pPr>
            <a:lvl3pPr>
              <a:defRPr sz="1795"/>
            </a:lvl3pPr>
            <a:lvl4pPr>
              <a:defRPr sz="1596"/>
            </a:lvl4pPr>
            <a:lvl5pPr>
              <a:defRPr sz="1397" baseline="0"/>
            </a:lvl5pPr>
            <a:lvl6pPr>
              <a:defRPr sz="2394"/>
            </a:lvl6pPr>
            <a:lvl7pPr>
              <a:defRPr sz="2394"/>
            </a:lvl7pPr>
            <a:lvl8pPr>
              <a:defRPr sz="2394"/>
            </a:lvl8pPr>
            <a:lvl9pPr>
              <a:defRPr sz="2394"/>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hasCustomPrompt="1"/>
          </p:nvPr>
        </p:nvSpPr>
        <p:spPr>
          <a:xfrm>
            <a:off x="433715" y="1222375"/>
            <a:ext cx="3866348" cy="4956048"/>
          </a:xfrm>
        </p:spPr>
        <p:txBody>
          <a:bodyPr/>
          <a:lstStyle>
            <a:lvl1pPr>
              <a:defRPr sz="2195"/>
            </a:lvl1pPr>
            <a:lvl2pPr>
              <a:defRPr sz="1995"/>
            </a:lvl2pPr>
            <a:lvl3pPr>
              <a:defRPr sz="1795"/>
            </a:lvl3pPr>
            <a:lvl4pPr>
              <a:defRPr sz="1596"/>
            </a:lvl4pPr>
            <a:lvl5pPr>
              <a:defRPr sz="1397"/>
            </a:lvl5pPr>
            <a:lvl6pPr>
              <a:defRPr sz="2394"/>
            </a:lvl6pPr>
            <a:lvl7pPr>
              <a:defRPr sz="2394"/>
            </a:lvl7pPr>
            <a:lvl8pPr>
              <a:defRPr sz="2394"/>
            </a:lvl8pPr>
            <a:lvl9pPr>
              <a:defRPr sz="2394"/>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87769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Content &amp; Image">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a:xfrm>
            <a:off x="4610587" y="1220583"/>
            <a:ext cx="7150883" cy="4956048"/>
          </a:xfrm>
        </p:spPr>
        <p:txBody>
          <a:bodyPr anchor="ctr"/>
          <a:lstStyle>
            <a:lvl1pPr marL="0" indent="0" algn="ctr">
              <a:buNone/>
              <a:defRPr>
                <a:solidFill>
                  <a:schemeClr val="tx1"/>
                </a:solidFill>
                <a:latin typeface="+mn-lt"/>
              </a:defRPr>
            </a:lvl1pPr>
          </a:lstStyle>
          <a:p>
            <a:r>
              <a:rPr lang="en-US" dirty="0"/>
              <a:t>Click icon to add picture</a:t>
            </a:r>
          </a:p>
        </p:txBody>
      </p:sp>
      <p:sp>
        <p:nvSpPr>
          <p:cNvPr id="8" name="Content Placeholder 2"/>
          <p:cNvSpPr>
            <a:spLocks noGrp="1"/>
          </p:cNvSpPr>
          <p:nvPr>
            <p:ph idx="13" hasCustomPrompt="1"/>
          </p:nvPr>
        </p:nvSpPr>
        <p:spPr>
          <a:xfrm>
            <a:off x="431756" y="1220583"/>
            <a:ext cx="3866395" cy="4956048"/>
          </a:xfrm>
        </p:spPr>
        <p:txBody>
          <a:bodyPr>
            <a:normAutofit/>
          </a:bodyPr>
          <a:lstStyle>
            <a:lvl1pPr>
              <a:defRPr sz="2195"/>
            </a:lvl1pPr>
            <a:lvl2pPr>
              <a:defRPr sz="1995"/>
            </a:lvl2pPr>
            <a:lvl3pPr>
              <a:defRPr sz="1795"/>
            </a:lvl3pPr>
            <a:lvl4pPr>
              <a:defRPr sz="1596"/>
            </a:lvl4pPr>
            <a:lvl5pPr>
              <a:defRPr sz="1397" baseline="0"/>
            </a:lvl5pPr>
            <a:lvl6pPr>
              <a:defRPr sz="1995"/>
            </a:lvl6pPr>
            <a:lvl7pPr>
              <a:defRPr sz="1995"/>
            </a:lvl7pPr>
            <a:lvl8pPr>
              <a:defRPr sz="1995"/>
            </a:lvl8pPr>
            <a:lvl9pPr>
              <a:defRPr sz="1995"/>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a:xfrm>
            <a:off x="411481" y="347471"/>
            <a:ext cx="10259568" cy="347472"/>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291766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mp; 1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9101" y="1220583"/>
            <a:ext cx="11353800" cy="4979800"/>
          </a:xfrm>
        </p:spPr>
        <p:txBody>
          <a:bodyPr anchor="ctr"/>
          <a:lstStyle>
            <a:lvl1pPr marL="0" indent="0" algn="ctr">
              <a:buFontTx/>
              <a:buNone/>
              <a:defRPr baseline="0">
                <a:solidFill>
                  <a:schemeClr val="tx1"/>
                </a:solidFill>
                <a:latin typeface="+mn-lt"/>
              </a:defRPr>
            </a:lvl1pPr>
          </a:lstStyle>
          <a:p>
            <a:r>
              <a:rPr lang="en-US" dirty="0"/>
              <a:t>Click icon to add picture</a:t>
            </a:r>
          </a:p>
        </p:txBody>
      </p:sp>
      <p:sp>
        <p:nvSpPr>
          <p:cNvPr id="2" name="Title 1"/>
          <p:cNvSpPr>
            <a:spLocks noGrp="1"/>
          </p:cNvSpPr>
          <p:nvPr>
            <p:ph type="title" hasCustomPrompt="1"/>
          </p:nvPr>
        </p:nvSpPr>
        <p:spPr>
          <a:xfrm>
            <a:off x="411481"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2301924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amp; 2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32204" y="1024137"/>
            <a:ext cx="6059797" cy="5480643"/>
          </a:xfrm>
        </p:spPr>
        <p:txBody>
          <a:bodyPr anchor="ctr"/>
          <a:lstStyle>
            <a:lvl1pPr marL="0" indent="0" algn="ctr">
              <a:buNone/>
              <a:defRPr>
                <a:solidFill>
                  <a:schemeClr val="tx1"/>
                </a:solidFill>
                <a:latin typeface="+mn-lt"/>
              </a:defRPr>
            </a:lvl1pPr>
          </a:lstStyle>
          <a:p>
            <a:r>
              <a:rPr lang="en-US" dirty="0"/>
              <a:t>Click icon to add picture</a:t>
            </a:r>
          </a:p>
        </p:txBody>
      </p:sp>
      <p:sp>
        <p:nvSpPr>
          <p:cNvPr id="7" name="Picture Placeholder 3"/>
          <p:cNvSpPr>
            <a:spLocks noGrp="1"/>
          </p:cNvSpPr>
          <p:nvPr>
            <p:ph type="pic" sz="quarter" idx="12"/>
          </p:nvPr>
        </p:nvSpPr>
        <p:spPr>
          <a:xfrm>
            <a:off x="3048" y="1024137"/>
            <a:ext cx="6081233" cy="5480643"/>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2" name="Title 11"/>
          <p:cNvSpPr>
            <a:spLocks noGrp="1"/>
          </p:cNvSpPr>
          <p:nvPr>
            <p:ph type="title" hasCustomPrompt="1"/>
          </p:nvPr>
        </p:nvSpPr>
        <p:spPr>
          <a:xfrm>
            <a:off x="411481"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9" name="Text Placeholder 33"/>
          <p:cNvSpPr>
            <a:spLocks noGrp="1"/>
          </p:cNvSpPr>
          <p:nvPr>
            <p:ph type="body" sz="quarter" idx="18" hasCustomPrompt="1"/>
          </p:nvPr>
        </p:nvSpPr>
        <p:spPr>
          <a:xfrm>
            <a:off x="-9547"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a:xfrm>
            <a:off x="387497" y="5028290"/>
            <a:ext cx="5314257" cy="465138"/>
          </a:xfrm>
        </p:spPr>
        <p:txBody>
          <a:bodyPr anchor="ctr"/>
          <a:lstStyle>
            <a:lvl1pPr marL="0" indent="0" algn="ctr">
              <a:lnSpc>
                <a:spcPct val="90000"/>
              </a:lnSpc>
              <a:buNone/>
              <a:defRPr sz="2394">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a:xfrm>
            <a:off x="6498774" y="5015594"/>
            <a:ext cx="5325766" cy="490537"/>
          </a:xfrm>
        </p:spPr>
        <p:txBody>
          <a:bodyPr anchor="ctr"/>
          <a:lstStyle>
            <a:lvl1pPr marL="0" indent="0" algn="ctr">
              <a:lnSpc>
                <a:spcPct val="90000"/>
              </a:lnSpc>
              <a:buNone/>
              <a:defRPr sz="2394">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86204" y="1024137"/>
            <a:ext cx="45719" cy="5480643"/>
          </a:xfrm>
          <a:solidFill>
            <a:schemeClr val="tx2">
              <a:lumMod val="75000"/>
            </a:schemeClr>
          </a:solidFill>
        </p:spPr>
        <p:txBody>
          <a:bodyPr/>
          <a:lstStyle>
            <a:lvl1pPr marL="0" indent="0">
              <a:buNone/>
              <a:defRPr/>
            </a:lvl1pPr>
          </a:lstStyle>
          <a:p>
            <a:pPr lvl="0"/>
            <a:r>
              <a:rPr lang="en-US" dirty="0"/>
              <a:t> </a:t>
            </a:r>
          </a:p>
        </p:txBody>
      </p:sp>
      <p:sp>
        <p:nvSpPr>
          <p:cNvPr id="20" name="Text Placeholder 2"/>
          <p:cNvSpPr>
            <a:spLocks noGrp="1"/>
          </p:cNvSpPr>
          <p:nvPr>
            <p:ph type="body" sz="quarter" idx="21" hasCustomPrompt="1"/>
          </p:nvPr>
        </p:nvSpPr>
        <p:spPr>
          <a:xfrm rot="5400000">
            <a:off x="6074665" y="-5093199"/>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28854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1024128"/>
            <a:ext cx="4042250"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5" name="Picture Placeholder 25"/>
          <p:cNvSpPr>
            <a:spLocks noGrp="1"/>
          </p:cNvSpPr>
          <p:nvPr>
            <p:ph type="pic" sz="quarter" idx="14"/>
          </p:nvPr>
        </p:nvSpPr>
        <p:spPr>
          <a:xfrm>
            <a:off x="8159300" y="1024128"/>
            <a:ext cx="4032702"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6" name="Picture Placeholder 6"/>
          <p:cNvSpPr>
            <a:spLocks noGrp="1"/>
          </p:cNvSpPr>
          <p:nvPr>
            <p:ph type="pic" sz="quarter" idx="13"/>
          </p:nvPr>
        </p:nvSpPr>
        <p:spPr>
          <a:xfrm>
            <a:off x="4078855" y="1024128"/>
            <a:ext cx="4034293"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2" name="Title 11"/>
          <p:cNvSpPr>
            <a:spLocks noGrp="1"/>
          </p:cNvSpPr>
          <p:nvPr>
            <p:ph type="title" hasCustomPrompt="1"/>
          </p:nvPr>
        </p:nvSpPr>
        <p:spPr>
          <a:xfrm>
            <a:off x="411481"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16" name="Text Placeholder 33"/>
          <p:cNvSpPr>
            <a:spLocks noGrp="1"/>
          </p:cNvSpPr>
          <p:nvPr>
            <p:ph type="body" sz="quarter" idx="18" hasCustomPrompt="1"/>
          </p:nvPr>
        </p:nvSpPr>
        <p:spPr>
          <a:xfrm>
            <a:off x="-9547"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a:xfrm>
            <a:off x="174263" y="5024368"/>
            <a:ext cx="3674628" cy="465138"/>
          </a:xfrm>
        </p:spPr>
        <p:txBody>
          <a:bodyPr anchor="ctr">
            <a:noAutofit/>
          </a:bodyPr>
          <a:lstStyle>
            <a:lvl1pPr marL="0" indent="0" algn="ctr">
              <a:lnSpc>
                <a:spcPct val="90000"/>
              </a:lnSpc>
              <a:buNone/>
              <a:defRPr sz="2195">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a:xfrm>
            <a:off x="4254710" y="5011672"/>
            <a:ext cx="3682585" cy="490537"/>
          </a:xfrm>
        </p:spPr>
        <p:txBody>
          <a:bodyPr anchor="ctr">
            <a:noAutofit/>
          </a:bodyPr>
          <a:lstStyle>
            <a:lvl1pPr marL="0" indent="0" algn="ctr">
              <a:lnSpc>
                <a:spcPct val="90000"/>
              </a:lnSpc>
              <a:buNone/>
              <a:defRPr sz="2195">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a:xfrm>
            <a:off x="8338334" y="5015637"/>
            <a:ext cx="3674629" cy="482600"/>
          </a:xfrm>
        </p:spPr>
        <p:txBody>
          <a:bodyPr anchor="ctr">
            <a:noAutofit/>
          </a:bodyPr>
          <a:lstStyle>
            <a:lvl1pPr marL="0" indent="0" algn="ctr">
              <a:lnSpc>
                <a:spcPct val="90000"/>
              </a:lnSpc>
              <a:buNone/>
              <a:defRPr sz="2195">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2" y="1024128"/>
            <a:ext cx="45719" cy="5480652"/>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6" y="1024128"/>
            <a:ext cx="47866" cy="5480652"/>
          </a:xfrm>
          <a:solidFill>
            <a:schemeClr val="tx2">
              <a:lumMod val="75000"/>
            </a:schemeClr>
          </a:solidFill>
        </p:spPr>
        <p:txBody>
          <a:bodyPr/>
          <a:lstStyle>
            <a:lvl1pPr marL="0" indent="0">
              <a:buNone/>
              <a:defRPr baseline="0"/>
            </a:lvl1pPr>
          </a:lstStyle>
          <a:p>
            <a:pPr lvl="0"/>
            <a:r>
              <a:rPr lang="en-US" dirty="0"/>
              <a:t> </a:t>
            </a:r>
          </a:p>
        </p:txBody>
      </p:sp>
      <p:sp>
        <p:nvSpPr>
          <p:cNvPr id="20" name="Text Placeholder 2"/>
          <p:cNvSpPr>
            <a:spLocks noGrp="1"/>
          </p:cNvSpPr>
          <p:nvPr>
            <p:ph type="body" sz="quarter" idx="21" hasCustomPrompt="1"/>
          </p:nvPr>
        </p:nvSpPr>
        <p:spPr>
          <a:xfrm rot="5400000">
            <a:off x="6074665" y="-5093208"/>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07494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Full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9547" y="1"/>
            <a:ext cx="12201549" cy="6858000"/>
          </a:xfrm>
        </p:spPr>
        <p:txBody>
          <a:bodyPr anchor="ctr"/>
          <a:lstStyle>
            <a:lvl1pPr marL="0" indent="0" algn="ctr">
              <a:buFontTx/>
              <a:buNone/>
              <a:defRPr baseline="0">
                <a:solidFill>
                  <a:schemeClr val="tx1"/>
                </a:solidFill>
                <a:latin typeface="+mn-lt"/>
              </a:defRPr>
            </a:lvl1pPr>
          </a:lstStyle>
          <a:p>
            <a:r>
              <a:rPr lang="en-US" dirty="0"/>
              <a:t>Click icon to add picture</a:t>
            </a:r>
          </a:p>
        </p:txBody>
      </p:sp>
      <p:sp>
        <p:nvSpPr>
          <p:cNvPr id="5" name="Text Placeholder 33"/>
          <p:cNvSpPr>
            <a:spLocks noGrp="1"/>
          </p:cNvSpPr>
          <p:nvPr>
            <p:ph type="body" sz="quarter" idx="18" hasCustomPrompt="1"/>
          </p:nvPr>
        </p:nvSpPr>
        <p:spPr>
          <a:xfrm>
            <a:off x="-9547" y="5033360"/>
            <a:ext cx="12201549" cy="902866"/>
          </a:xfrm>
          <a:solidFill>
            <a:srgbClr val="000000">
              <a:alpha val="90000"/>
            </a:srgbClr>
          </a:solidFill>
        </p:spPr>
        <p:txBody>
          <a:bodyPr anchor="ctr"/>
          <a:lstStyle>
            <a:lvl1pPr marL="0" indent="0" algn="ctr">
              <a:buNone/>
              <a:defRPr/>
            </a:lvl1pPr>
          </a:lstStyle>
          <a:p>
            <a:pPr lvl="0"/>
            <a:r>
              <a:rPr lang="en-US" dirty="0"/>
              <a:t> </a:t>
            </a:r>
          </a:p>
        </p:txBody>
      </p:sp>
      <p:sp>
        <p:nvSpPr>
          <p:cNvPr id="6" name="Text Placeholder 29"/>
          <p:cNvSpPr>
            <a:spLocks noGrp="1"/>
          </p:cNvSpPr>
          <p:nvPr>
            <p:ph type="body" sz="quarter" idx="16" hasCustomPrompt="1"/>
          </p:nvPr>
        </p:nvSpPr>
        <p:spPr>
          <a:xfrm>
            <a:off x="293193" y="5239528"/>
            <a:ext cx="11605619" cy="490537"/>
          </a:xfrm>
        </p:spPr>
        <p:txBody>
          <a:bodyPr anchor="ctr">
            <a:normAutofit/>
          </a:bodyPr>
          <a:lstStyle>
            <a:lvl1pPr marL="0" indent="0" algn="ctr">
              <a:lnSpc>
                <a:spcPct val="90000"/>
              </a:lnSpc>
              <a:buNone/>
              <a:defRPr sz="3192" baseline="0">
                <a:solidFill>
                  <a:schemeClr val="bg1"/>
                </a:solidFill>
                <a:latin typeface="+mn-lt"/>
              </a:defRPr>
            </a:lvl1pPr>
          </a:lstStyle>
          <a:p>
            <a:pPr lvl="0"/>
            <a:r>
              <a:rPr lang="en-US" dirty="0"/>
              <a:t>Click to add text</a:t>
            </a:r>
          </a:p>
        </p:txBody>
      </p:sp>
    </p:spTree>
    <p:extLst>
      <p:ext uri="{BB962C8B-B14F-4D97-AF65-F5344CB8AC3E}">
        <p14:creationId xmlns:p14="http://schemas.microsoft.com/office/powerpoint/2010/main" val="29244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wo Full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089249" y="2"/>
            <a:ext cx="6102752" cy="6857999"/>
          </a:xfrm>
        </p:spPr>
        <p:txBody>
          <a:bodyPr anchor="ctr"/>
          <a:lstStyle>
            <a:lvl1pPr marL="0" indent="0" algn="ctr">
              <a:buNone/>
              <a:defRPr>
                <a:solidFill>
                  <a:schemeClr val="tx1"/>
                </a:solidFill>
                <a:latin typeface="+mn-lt"/>
              </a:defRPr>
            </a:lvl1pPr>
          </a:lstStyle>
          <a:p>
            <a:r>
              <a:rPr lang="en-US" dirty="0"/>
              <a:t>Click icon to add picture</a:t>
            </a:r>
          </a:p>
        </p:txBody>
      </p:sp>
      <p:sp>
        <p:nvSpPr>
          <p:cNvPr id="7" name="Picture Placeholder 3"/>
          <p:cNvSpPr>
            <a:spLocks noGrp="1"/>
          </p:cNvSpPr>
          <p:nvPr>
            <p:ph type="pic" sz="quarter" idx="12"/>
          </p:nvPr>
        </p:nvSpPr>
        <p:spPr>
          <a:xfrm>
            <a:off x="1" y="1"/>
            <a:ext cx="6081233"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9" name="Text Placeholder 33"/>
          <p:cNvSpPr>
            <a:spLocks noGrp="1"/>
          </p:cNvSpPr>
          <p:nvPr>
            <p:ph type="body" sz="quarter" idx="18" hasCustomPrompt="1"/>
          </p:nvPr>
        </p:nvSpPr>
        <p:spPr>
          <a:xfrm>
            <a:off x="-9547"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a:xfrm>
            <a:off x="387497" y="5028290"/>
            <a:ext cx="5314257" cy="465138"/>
          </a:xfrm>
        </p:spPr>
        <p:txBody>
          <a:bodyPr anchor="ctr"/>
          <a:lstStyle>
            <a:lvl1pPr marL="0" indent="0" algn="ctr">
              <a:lnSpc>
                <a:spcPct val="90000"/>
              </a:lnSpc>
              <a:buNone/>
              <a:defRPr sz="2394">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a:xfrm>
            <a:off x="6498774" y="5015594"/>
            <a:ext cx="5325766" cy="490537"/>
          </a:xfrm>
        </p:spPr>
        <p:txBody>
          <a:bodyPr anchor="ctr"/>
          <a:lstStyle>
            <a:lvl1pPr marL="0" indent="0" algn="ctr">
              <a:lnSpc>
                <a:spcPct val="90000"/>
              </a:lnSpc>
              <a:buNone/>
              <a:defRPr sz="2394">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73142" y="0"/>
            <a:ext cx="45719" cy="6858000"/>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72160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hree Full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0"/>
            <a:ext cx="4042250"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5" name="Picture Placeholder 25"/>
          <p:cNvSpPr>
            <a:spLocks noGrp="1"/>
          </p:cNvSpPr>
          <p:nvPr>
            <p:ph type="pic" sz="quarter" idx="14"/>
          </p:nvPr>
        </p:nvSpPr>
        <p:spPr>
          <a:xfrm>
            <a:off x="8159300" y="0"/>
            <a:ext cx="4032702"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6" name="Picture Placeholder 6"/>
          <p:cNvSpPr>
            <a:spLocks noGrp="1"/>
          </p:cNvSpPr>
          <p:nvPr>
            <p:ph type="pic" sz="quarter" idx="13"/>
          </p:nvPr>
        </p:nvSpPr>
        <p:spPr>
          <a:xfrm>
            <a:off x="4078855" y="0"/>
            <a:ext cx="4034293"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6" name="Text Placeholder 33"/>
          <p:cNvSpPr>
            <a:spLocks noGrp="1"/>
          </p:cNvSpPr>
          <p:nvPr>
            <p:ph type="body" sz="quarter" idx="18" hasCustomPrompt="1"/>
          </p:nvPr>
        </p:nvSpPr>
        <p:spPr>
          <a:xfrm>
            <a:off x="-9547"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a:xfrm>
            <a:off x="174263" y="5024368"/>
            <a:ext cx="3674628" cy="465138"/>
          </a:xfrm>
        </p:spPr>
        <p:txBody>
          <a:bodyPr anchor="ctr">
            <a:noAutofit/>
          </a:bodyPr>
          <a:lstStyle>
            <a:lvl1pPr marL="0" indent="0" algn="ctr">
              <a:lnSpc>
                <a:spcPct val="90000"/>
              </a:lnSpc>
              <a:buNone/>
              <a:defRPr sz="2195">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a:xfrm>
            <a:off x="4254710" y="5011672"/>
            <a:ext cx="3682585" cy="490537"/>
          </a:xfrm>
        </p:spPr>
        <p:txBody>
          <a:bodyPr anchor="ctr">
            <a:noAutofit/>
          </a:bodyPr>
          <a:lstStyle>
            <a:lvl1pPr marL="0" indent="0" algn="ctr">
              <a:lnSpc>
                <a:spcPct val="90000"/>
              </a:lnSpc>
              <a:buNone/>
              <a:defRPr sz="2195">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a:xfrm>
            <a:off x="8338334" y="5015637"/>
            <a:ext cx="3674629" cy="482600"/>
          </a:xfrm>
        </p:spPr>
        <p:txBody>
          <a:bodyPr anchor="ctr">
            <a:noAutofit/>
          </a:bodyPr>
          <a:lstStyle>
            <a:lvl1pPr marL="0" indent="0" algn="ctr">
              <a:lnSpc>
                <a:spcPct val="90000"/>
              </a:lnSpc>
              <a:buNone/>
              <a:defRPr sz="2195">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0" y="0"/>
            <a:ext cx="45720" cy="6858000"/>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7" y="0"/>
            <a:ext cx="45720" cy="6858000"/>
          </a:xfrm>
          <a:solidFill>
            <a:schemeClr val="tx2">
              <a:lumMod val="75000"/>
            </a:schemeClr>
          </a:solidFill>
        </p:spPr>
        <p:txBody>
          <a:bodyPr/>
          <a:lstStyle>
            <a:lvl1pPr marL="0" indent="0">
              <a:buNone/>
              <a:defRPr baseline="0"/>
            </a:lvl1pPr>
          </a:lstStyle>
          <a:p>
            <a:pPr lvl="0"/>
            <a:r>
              <a:rPr lang="en-US" dirty="0"/>
              <a:t> </a:t>
            </a:r>
          </a:p>
        </p:txBody>
      </p:sp>
    </p:spTree>
    <p:extLst>
      <p:ext uri="{BB962C8B-B14F-4D97-AF65-F5344CB8AC3E}">
        <p14:creationId xmlns:p14="http://schemas.microsoft.com/office/powerpoint/2010/main" val="4008614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Green Number Divider">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sp>
        <p:nvSpPr>
          <p:cNvPr id="3" name="Rectangle 2"/>
          <p:cNvSpPr/>
          <p:nvPr userDrawn="1"/>
        </p:nvSpPr>
        <p:spPr>
          <a:xfrm>
            <a:off x="1482572"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6" name="Oval 5"/>
          <p:cNvSpPr/>
          <p:nvPr userDrawn="1"/>
        </p:nvSpPr>
        <p:spPr>
          <a:xfrm>
            <a:off x="437478" y="2590309"/>
            <a:ext cx="1691925" cy="1687739"/>
          </a:xfrm>
          <a:prstGeom prst="ellipse">
            <a:avLst/>
          </a:prstGeom>
          <a:solidFill>
            <a:schemeClr val="bg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7182" b="0" i="0" u="none" strike="noStrike" kern="1200" cap="none" spc="0" normalizeH="0" baseline="0" noProof="0" dirty="0">
              <a:ln>
                <a:noFill/>
              </a:ln>
              <a:solidFill>
                <a:srgbClr val="FFFFFF"/>
              </a:solidFill>
              <a:effectLst/>
              <a:uLnTx/>
              <a:uFillTx/>
              <a:latin typeface="Century Gothic" panose="020F0302020204030204"/>
              <a:ea typeface="Arial" charset="0"/>
              <a:cs typeface="Arial" charset="0"/>
            </a:endParaRPr>
          </a:p>
        </p:txBody>
      </p:sp>
      <p:sp>
        <p:nvSpPr>
          <p:cNvPr id="5" name="Text Placeholder 4"/>
          <p:cNvSpPr>
            <a:spLocks noGrp="1"/>
          </p:cNvSpPr>
          <p:nvPr>
            <p:ph type="body" sz="quarter" idx="10" hasCustomPrompt="1"/>
          </p:nvPr>
        </p:nvSpPr>
        <p:spPr>
          <a:xfrm>
            <a:off x="815750" y="3122194"/>
            <a:ext cx="916668" cy="914400"/>
          </a:xfrm>
        </p:spPr>
        <p:txBody>
          <a:bodyPr anchor="ctr"/>
          <a:lstStyle>
            <a:lvl1pPr marL="0" indent="0" algn="ctr">
              <a:buNone/>
              <a:defRPr sz="9576" b="0">
                <a:solidFill>
                  <a:schemeClr val="bg1"/>
                </a:solidFill>
                <a:latin typeface="+mn-lt"/>
              </a:defRPr>
            </a:lvl1pPr>
            <a:lvl5pPr marL="1824228" indent="0">
              <a:buNone/>
              <a:defRPr/>
            </a:lvl5pPr>
          </a:lstStyle>
          <a:p>
            <a:pPr lvl="0"/>
            <a:r>
              <a:rPr lang="en-US" dirty="0"/>
              <a:t>#</a:t>
            </a:r>
          </a:p>
        </p:txBody>
      </p:sp>
      <p:sp>
        <p:nvSpPr>
          <p:cNvPr id="9" name="Title 1"/>
          <p:cNvSpPr>
            <a:spLocks noGrp="1"/>
          </p:cNvSpPr>
          <p:nvPr>
            <p:ph type="ctrTitle" hasCustomPrompt="1"/>
          </p:nvPr>
        </p:nvSpPr>
        <p:spPr>
          <a:xfrm>
            <a:off x="2517817" y="3233280"/>
            <a:ext cx="9319456" cy="517065"/>
          </a:xfrm>
        </p:spPr>
        <p:txBody>
          <a:bodyPr wrap="square" anchor="ctr" anchorCtr="0">
            <a:spAutoFit/>
          </a:bodyPr>
          <a:lstStyle>
            <a:lvl1pPr>
              <a:lnSpc>
                <a:spcPct val="80000"/>
              </a:lnSpc>
              <a:defRPr sz="419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7" y="290988"/>
            <a:ext cx="973108" cy="378266"/>
          </a:xfrm>
          <a:prstGeom prst="rect">
            <a:avLst/>
          </a:prstGeom>
        </p:spPr>
      </p:pic>
    </p:spTree>
    <p:extLst>
      <p:ext uri="{BB962C8B-B14F-4D97-AF65-F5344CB8AC3E}">
        <p14:creationId xmlns:p14="http://schemas.microsoft.com/office/powerpoint/2010/main" val="386226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mp; 2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32203" y="1024137"/>
            <a:ext cx="6059797" cy="5480643"/>
          </a:xfrm>
        </p:spPr>
        <p:txBody>
          <a:bodyPr anchor="ctr"/>
          <a:lstStyle>
            <a:lvl1pPr marL="0" indent="0" algn="ctr">
              <a:buNone/>
              <a:defRPr>
                <a:solidFill>
                  <a:schemeClr val="tx1"/>
                </a:solidFill>
                <a:latin typeface="+mn-lt"/>
              </a:defRPr>
            </a:lvl1pPr>
          </a:lstStyle>
          <a:p>
            <a:r>
              <a:rPr lang="en-US" dirty="0"/>
              <a:t>Click icon to add picture</a:t>
            </a:r>
          </a:p>
        </p:txBody>
      </p:sp>
      <p:sp>
        <p:nvSpPr>
          <p:cNvPr id="7" name="Picture Placeholder 3"/>
          <p:cNvSpPr>
            <a:spLocks noGrp="1"/>
          </p:cNvSpPr>
          <p:nvPr>
            <p:ph type="pic" sz="quarter" idx="12"/>
          </p:nvPr>
        </p:nvSpPr>
        <p:spPr>
          <a:xfrm>
            <a:off x="3047" y="1024137"/>
            <a:ext cx="6081233" cy="5480643"/>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2" name="Title 11"/>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9" name="Text Placeholder 33"/>
          <p:cNvSpPr>
            <a:spLocks noGrp="1"/>
          </p:cNvSpPr>
          <p:nvPr>
            <p:ph type="body" sz="quarter" idx="18" hasCustomPrompt="1"/>
          </p:nvPr>
        </p:nvSpPr>
        <p:spPr>
          <a:xfrm>
            <a:off x="-9548"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387496"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498774" y="5015592"/>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86203" y="1024137"/>
            <a:ext cx="45719" cy="5480643"/>
          </a:xfrm>
          <a:solidFill>
            <a:schemeClr val="tx2">
              <a:lumMod val="75000"/>
            </a:schemeClr>
          </a:solidFill>
        </p:spPr>
        <p:txBody>
          <a:bodyPr/>
          <a:lstStyle>
            <a:lvl1pPr marL="0" indent="0">
              <a:buNone/>
              <a:defRPr/>
            </a:lvl1pPr>
          </a:lstStyle>
          <a:p>
            <a:pPr lvl="0"/>
            <a:r>
              <a:rPr lang="en-US" dirty="0"/>
              <a:t> </a:t>
            </a:r>
          </a:p>
        </p:txBody>
      </p:sp>
      <p:sp>
        <p:nvSpPr>
          <p:cNvPr id="20" name="Text Placeholder 2"/>
          <p:cNvSpPr>
            <a:spLocks noGrp="1"/>
          </p:cNvSpPr>
          <p:nvPr>
            <p:ph type="body" sz="quarter" idx="21" hasCustomPrompt="1"/>
          </p:nvPr>
        </p:nvSpPr>
        <p:spPr>
          <a:xfrm rot="5400000">
            <a:off x="6074664" y="-5093199"/>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00875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Title Slide with Half Image">
    <p:bg>
      <p:bgRef idx="1001">
        <a:schemeClr val="bg1"/>
      </p:bgRef>
    </p:bg>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6123433" y="0"/>
            <a:ext cx="6068567" cy="6858000"/>
          </a:xfrm>
        </p:spPr>
        <p:txBody>
          <a:bodyPr anchor="ctr"/>
          <a:lstStyle>
            <a:lvl1pPr marL="0" indent="0" algn="ctr">
              <a:buNone/>
              <a:defRPr/>
            </a:lvl1pPr>
          </a:lstStyle>
          <a:p>
            <a:r>
              <a:rPr lang="en-US" dirty="0"/>
              <a:t>Insert Customer Logo and/or </a:t>
            </a:r>
            <a:br>
              <a:rPr lang="en-US" dirty="0"/>
            </a:br>
            <a:r>
              <a:rPr lang="en-US" dirty="0"/>
              <a:t>Customer Image Her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6090249" cy="6858000"/>
          </a:xfrm>
          <a:prstGeom prst="rect">
            <a:avLst/>
          </a:prstGeom>
        </p:spPr>
      </p:pic>
      <p:sp>
        <p:nvSpPr>
          <p:cNvPr id="2" name="Title 1"/>
          <p:cNvSpPr>
            <a:spLocks noGrp="1"/>
          </p:cNvSpPr>
          <p:nvPr>
            <p:ph type="ctrTitle" hasCustomPrompt="1"/>
          </p:nvPr>
        </p:nvSpPr>
        <p:spPr>
          <a:xfrm>
            <a:off x="427964" y="2738406"/>
            <a:ext cx="5417220" cy="1077218"/>
          </a:xfrm>
        </p:spPr>
        <p:txBody>
          <a:bodyPr wrap="square" tIns="91440" anchor="ctr" anchorCtr="0">
            <a:spAutoFit/>
          </a:bodyPr>
          <a:lstStyle>
            <a:lvl1pPr>
              <a:lnSpc>
                <a:spcPct val="80000"/>
              </a:lnSpc>
              <a:defRPr sz="3990" b="0" cap="all" baseline="0">
                <a:solidFill>
                  <a:schemeClr val="bg1"/>
                </a:solidFill>
                <a:effectLst/>
                <a:latin typeface="+mn-lt"/>
              </a:defRPr>
            </a:lvl1pPr>
          </a:lstStyle>
          <a:p>
            <a:r>
              <a:rPr lang="en-US" dirty="0"/>
              <a:t>Click to Add Presentation Title</a:t>
            </a:r>
          </a:p>
        </p:txBody>
      </p:sp>
      <p:sp>
        <p:nvSpPr>
          <p:cNvPr id="3" name="Subtitle 2"/>
          <p:cNvSpPr>
            <a:spLocks noGrp="1"/>
          </p:cNvSpPr>
          <p:nvPr>
            <p:ph type="subTitle" idx="1" hasCustomPrompt="1"/>
          </p:nvPr>
        </p:nvSpPr>
        <p:spPr>
          <a:xfrm>
            <a:off x="427965" y="5450092"/>
            <a:ext cx="5424946" cy="276999"/>
          </a:xfrm>
        </p:spPr>
        <p:txBody>
          <a:bodyPr wrap="square" anchor="b">
            <a:spAutoFit/>
          </a:bodyPr>
          <a:lstStyle>
            <a:lvl1pPr marL="0" indent="0" algn="l">
              <a:spcBef>
                <a:spcPts val="0"/>
              </a:spcBef>
              <a:buNone/>
              <a:defRPr sz="1995" b="0">
                <a:solidFill>
                  <a:schemeClr val="bg1"/>
                </a:solidFill>
                <a:effectLst/>
                <a:latin typeface="+mn-lt"/>
              </a:defRPr>
            </a:lvl1pPr>
            <a:lvl2pPr marL="456057" indent="0" algn="ctr">
              <a:buNone/>
              <a:defRPr>
                <a:solidFill>
                  <a:schemeClr val="tx1">
                    <a:tint val="75000"/>
                  </a:schemeClr>
                </a:solidFill>
              </a:defRPr>
            </a:lvl2pPr>
            <a:lvl3pPr marL="912114" indent="0" algn="ctr">
              <a:buNone/>
              <a:defRPr>
                <a:solidFill>
                  <a:schemeClr val="tx1">
                    <a:tint val="75000"/>
                  </a:schemeClr>
                </a:solidFill>
              </a:defRPr>
            </a:lvl3pPr>
            <a:lvl4pPr marL="1368171" indent="0" algn="ctr">
              <a:buNone/>
              <a:defRPr>
                <a:solidFill>
                  <a:schemeClr val="tx1">
                    <a:tint val="75000"/>
                  </a:schemeClr>
                </a:solidFill>
              </a:defRPr>
            </a:lvl4pPr>
            <a:lvl5pPr marL="1824228" indent="0" algn="ctr">
              <a:buNone/>
              <a:defRPr>
                <a:solidFill>
                  <a:schemeClr val="tx1">
                    <a:tint val="75000"/>
                  </a:schemeClr>
                </a:solidFill>
              </a:defRPr>
            </a:lvl5pPr>
            <a:lvl6pPr marL="2280285" indent="0" algn="ctr">
              <a:buNone/>
              <a:defRPr>
                <a:solidFill>
                  <a:schemeClr val="tx1">
                    <a:tint val="75000"/>
                  </a:schemeClr>
                </a:solidFill>
              </a:defRPr>
            </a:lvl6pPr>
            <a:lvl7pPr marL="2736342" indent="0" algn="ctr">
              <a:buNone/>
              <a:defRPr>
                <a:solidFill>
                  <a:schemeClr val="tx1">
                    <a:tint val="75000"/>
                  </a:schemeClr>
                </a:solidFill>
              </a:defRPr>
            </a:lvl7pPr>
            <a:lvl8pPr marL="3192399" indent="0" algn="ctr">
              <a:buNone/>
              <a:defRPr>
                <a:solidFill>
                  <a:schemeClr val="tx1">
                    <a:tint val="75000"/>
                  </a:schemeClr>
                </a:solidFill>
              </a:defRPr>
            </a:lvl8pPr>
            <a:lvl9pPr marL="3648456"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a:xfrm>
            <a:off x="427965" y="5761658"/>
            <a:ext cx="5424946" cy="221599"/>
          </a:xfrm>
        </p:spPr>
        <p:txBody>
          <a:bodyPr>
            <a:spAutoFit/>
          </a:bodyPr>
          <a:lstStyle>
            <a:lvl1pPr marL="0" indent="0" algn="l">
              <a:buNone/>
              <a:defRPr sz="1596">
                <a:solidFill>
                  <a:schemeClr val="bg1"/>
                </a:solidFill>
                <a:effectLst/>
                <a:latin typeface="+mn-lt"/>
              </a:defRPr>
            </a:lvl1pPr>
            <a:lvl2pPr marL="454474" indent="0">
              <a:buNone/>
              <a:defRPr>
                <a:solidFill>
                  <a:schemeClr val="bg1"/>
                </a:solidFill>
              </a:defRPr>
            </a:lvl2pPr>
            <a:lvl3pPr marL="912114" indent="0">
              <a:buNone/>
              <a:defRPr>
                <a:solidFill>
                  <a:schemeClr val="bg1"/>
                </a:solidFill>
              </a:defRPr>
            </a:lvl3pPr>
            <a:lvl4pPr marL="1368171" indent="0">
              <a:buNone/>
              <a:defRPr>
                <a:solidFill>
                  <a:schemeClr val="bg1"/>
                </a:solidFill>
              </a:defRPr>
            </a:lvl4pPr>
            <a:lvl5pPr marL="1824228"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a:xfrm>
            <a:off x="427965" y="6249406"/>
            <a:ext cx="5424946" cy="193899"/>
          </a:xfrm>
        </p:spPr>
        <p:txBody>
          <a:bodyPr>
            <a:spAutoFit/>
          </a:bodyPr>
          <a:lstStyle>
            <a:lvl1pPr marL="0" indent="0" algn="l">
              <a:buFontTx/>
              <a:buNone/>
              <a:defRPr sz="1397">
                <a:solidFill>
                  <a:schemeClr val="bg1"/>
                </a:solidFill>
                <a:effectLst/>
                <a:latin typeface="+mn-lt"/>
              </a:defRPr>
            </a:lvl1pPr>
            <a:lvl2pPr marL="454474" indent="0">
              <a:buFontTx/>
              <a:buNone/>
              <a:defRPr sz="1496">
                <a:solidFill>
                  <a:schemeClr val="bg1"/>
                </a:solidFill>
                <a:latin typeface="Arial Narrow" pitchFamily="34" charset="0"/>
              </a:defRPr>
            </a:lvl2pPr>
            <a:lvl3pPr marL="912114" indent="0">
              <a:buFontTx/>
              <a:buNone/>
              <a:defRPr sz="1496">
                <a:solidFill>
                  <a:schemeClr val="bg1"/>
                </a:solidFill>
                <a:latin typeface="Arial Narrow" pitchFamily="34" charset="0"/>
              </a:defRPr>
            </a:lvl3pPr>
            <a:lvl4pPr marL="1368171" indent="0">
              <a:buFontTx/>
              <a:buNone/>
              <a:defRPr sz="1496">
                <a:solidFill>
                  <a:schemeClr val="bg1"/>
                </a:solidFill>
                <a:latin typeface="Arial Narrow" pitchFamily="34" charset="0"/>
              </a:defRPr>
            </a:lvl4pPr>
            <a:lvl5pPr marL="1824228" indent="0">
              <a:buFontTx/>
              <a:buNone/>
              <a:defRPr sz="1496">
                <a:solidFill>
                  <a:schemeClr val="bg1"/>
                </a:solidFill>
                <a:latin typeface="Arial Narrow" pitchFamily="34" charset="0"/>
              </a:defRPr>
            </a:lvl5pPr>
          </a:lstStyle>
          <a:p>
            <a:pPr lvl="0"/>
            <a:r>
              <a:rPr lang="en-US" dirty="0"/>
              <a:t>Click to Add Date</a:t>
            </a:r>
          </a:p>
        </p:txBody>
      </p:sp>
      <p:sp>
        <p:nvSpPr>
          <p:cNvPr id="12" name="Rectangle 11"/>
          <p:cNvSpPr/>
          <p:nvPr userDrawn="1"/>
        </p:nvSpPr>
        <p:spPr>
          <a:xfrm>
            <a:off x="6068568" y="0"/>
            <a:ext cx="548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7965" y="425190"/>
            <a:ext cx="1553480" cy="604035"/>
          </a:xfrm>
          <a:prstGeom prst="rect">
            <a:avLst/>
          </a:prstGeom>
        </p:spPr>
      </p:pic>
    </p:spTree>
    <p:extLst>
      <p:ext uri="{BB962C8B-B14F-4D97-AF65-F5344CB8AC3E}">
        <p14:creationId xmlns:p14="http://schemas.microsoft.com/office/powerpoint/2010/main" val="141312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Title Slide with Full Imag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0" y="0"/>
            <a:ext cx="12192000" cy="6858000"/>
          </a:xfrm>
        </p:spPr>
        <p:txBody>
          <a:bodyPr anchor="ctr"/>
          <a:lstStyle>
            <a:lvl1pPr marL="0" indent="0" algn="ctr">
              <a:buNone/>
              <a:defRPr/>
            </a:lvl1pPr>
          </a:lstStyle>
          <a:p>
            <a:r>
              <a:rPr lang="en-US" dirty="0"/>
              <a:t>Click icon to add picture</a:t>
            </a:r>
          </a:p>
        </p:txBody>
      </p:sp>
      <p:sp>
        <p:nvSpPr>
          <p:cNvPr id="5" name="Text Placeholder 4"/>
          <p:cNvSpPr>
            <a:spLocks noGrp="1"/>
          </p:cNvSpPr>
          <p:nvPr>
            <p:ph type="body" sz="quarter" idx="17" hasCustomPrompt="1"/>
          </p:nvPr>
        </p:nvSpPr>
        <p:spPr>
          <a:xfrm>
            <a:off x="2" y="3474002"/>
            <a:ext cx="6105804" cy="2774398"/>
          </a:xfrm>
          <a:solidFill>
            <a:srgbClr val="000000">
              <a:alpha val="70000"/>
            </a:srgbClr>
          </a:solidFill>
        </p:spPr>
        <p:txBody>
          <a:bodyPr/>
          <a:lstStyle>
            <a:lvl1pPr marL="0" indent="0">
              <a:buNone/>
              <a:defRPr/>
            </a:lvl1pPr>
            <a:lvl2pPr marL="540147" indent="0">
              <a:buNone/>
              <a:defRPr/>
            </a:lvl2pPr>
            <a:lvl3pPr marL="1084059" indent="0">
              <a:buNone/>
              <a:defRPr/>
            </a:lvl3pPr>
            <a:lvl4pPr marL="1626088" indent="0">
              <a:buNone/>
              <a:defRPr/>
            </a:lvl4pPr>
            <a:lvl5pPr marL="2168117" indent="0">
              <a:buNone/>
              <a:defRPr/>
            </a:lvl5pPr>
          </a:lstStyle>
          <a:p>
            <a:pPr lvl="0"/>
            <a:r>
              <a:rPr lang="en-US" dirty="0"/>
              <a:t> </a:t>
            </a:r>
          </a:p>
        </p:txBody>
      </p:sp>
      <p:sp>
        <p:nvSpPr>
          <p:cNvPr id="2" name="Title 1"/>
          <p:cNvSpPr>
            <a:spLocks noGrp="1"/>
          </p:cNvSpPr>
          <p:nvPr>
            <p:ph type="ctrTitle" hasCustomPrompt="1"/>
          </p:nvPr>
        </p:nvSpPr>
        <p:spPr>
          <a:xfrm>
            <a:off x="256907" y="3759914"/>
            <a:ext cx="5686317" cy="886397"/>
          </a:xfrm>
        </p:spPr>
        <p:txBody>
          <a:bodyPr wrap="square" anchor="ctr" anchorCtr="0">
            <a:spAutoFit/>
          </a:bodyPr>
          <a:lstStyle>
            <a:lvl1pPr algn="l">
              <a:lnSpc>
                <a:spcPct val="80000"/>
              </a:lnSpc>
              <a:defRPr sz="3591" b="0" i="0" cap="all" baseline="0">
                <a:solidFill>
                  <a:schemeClr val="bg1"/>
                </a:solidFill>
                <a:effectLst/>
                <a:latin typeface="+mj-lt"/>
                <a:ea typeface="DIN Pro Black" charset="0"/>
                <a:cs typeface="DIN Pro Black" charset="0"/>
              </a:defRPr>
            </a:lvl1pPr>
          </a:lstStyle>
          <a:p>
            <a:r>
              <a:rPr lang="en-US" dirty="0"/>
              <a:t>Click to Add Presentation Title</a:t>
            </a:r>
          </a:p>
        </p:txBody>
      </p:sp>
      <p:sp>
        <p:nvSpPr>
          <p:cNvPr id="3" name="Subtitle 2"/>
          <p:cNvSpPr>
            <a:spLocks noGrp="1"/>
          </p:cNvSpPr>
          <p:nvPr>
            <p:ph type="subTitle" idx="1" hasCustomPrompt="1"/>
          </p:nvPr>
        </p:nvSpPr>
        <p:spPr>
          <a:xfrm>
            <a:off x="256907" y="5001758"/>
            <a:ext cx="5686317" cy="246221"/>
          </a:xfrm>
        </p:spPr>
        <p:txBody>
          <a:bodyPr wrap="square" anchor="b">
            <a:spAutoFit/>
          </a:bodyPr>
          <a:lstStyle>
            <a:lvl1pPr marL="0" indent="0" algn="l">
              <a:lnSpc>
                <a:spcPct val="80000"/>
              </a:lnSpc>
              <a:spcBef>
                <a:spcPts val="0"/>
              </a:spcBef>
              <a:spcAft>
                <a:spcPts val="798"/>
              </a:spcAft>
              <a:buNone/>
              <a:defRPr sz="1995" b="0">
                <a:solidFill>
                  <a:schemeClr val="bg1"/>
                </a:solidFill>
                <a:effectLst/>
                <a:latin typeface="+mn-lt"/>
              </a:defRPr>
            </a:lvl1pPr>
            <a:lvl2pPr marL="456057" indent="0" algn="ctr">
              <a:buNone/>
              <a:defRPr>
                <a:solidFill>
                  <a:schemeClr val="tx1">
                    <a:tint val="75000"/>
                  </a:schemeClr>
                </a:solidFill>
              </a:defRPr>
            </a:lvl2pPr>
            <a:lvl3pPr marL="912114" indent="0" algn="ctr">
              <a:buNone/>
              <a:defRPr>
                <a:solidFill>
                  <a:schemeClr val="tx1">
                    <a:tint val="75000"/>
                  </a:schemeClr>
                </a:solidFill>
              </a:defRPr>
            </a:lvl3pPr>
            <a:lvl4pPr marL="1368171" indent="0" algn="ctr">
              <a:buNone/>
              <a:defRPr>
                <a:solidFill>
                  <a:schemeClr val="tx1">
                    <a:tint val="75000"/>
                  </a:schemeClr>
                </a:solidFill>
              </a:defRPr>
            </a:lvl4pPr>
            <a:lvl5pPr marL="1824228" indent="0" algn="ctr">
              <a:buNone/>
              <a:defRPr>
                <a:solidFill>
                  <a:schemeClr val="tx1">
                    <a:tint val="75000"/>
                  </a:schemeClr>
                </a:solidFill>
              </a:defRPr>
            </a:lvl5pPr>
            <a:lvl6pPr marL="2280285" indent="0" algn="ctr">
              <a:buNone/>
              <a:defRPr>
                <a:solidFill>
                  <a:schemeClr val="tx1">
                    <a:tint val="75000"/>
                  </a:schemeClr>
                </a:solidFill>
              </a:defRPr>
            </a:lvl6pPr>
            <a:lvl7pPr marL="2736342" indent="0" algn="ctr">
              <a:buNone/>
              <a:defRPr>
                <a:solidFill>
                  <a:schemeClr val="tx1">
                    <a:tint val="75000"/>
                  </a:schemeClr>
                </a:solidFill>
              </a:defRPr>
            </a:lvl7pPr>
            <a:lvl8pPr marL="3192399" indent="0" algn="ctr">
              <a:buNone/>
              <a:defRPr>
                <a:solidFill>
                  <a:schemeClr val="tx1">
                    <a:tint val="75000"/>
                  </a:schemeClr>
                </a:solidFill>
              </a:defRPr>
            </a:lvl8pPr>
            <a:lvl9pPr marL="3648456"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a:xfrm>
            <a:off x="256907" y="5282545"/>
            <a:ext cx="5686317" cy="221599"/>
          </a:xfrm>
        </p:spPr>
        <p:txBody>
          <a:bodyPr wrap="square" anchor="t">
            <a:spAutoFit/>
          </a:bodyPr>
          <a:lstStyle>
            <a:lvl1pPr marL="0" indent="0" algn="l">
              <a:buNone/>
              <a:defRPr sz="1596">
                <a:solidFill>
                  <a:schemeClr val="bg1"/>
                </a:solidFill>
                <a:effectLst/>
                <a:latin typeface="+mn-lt"/>
              </a:defRPr>
            </a:lvl1pPr>
            <a:lvl2pPr marL="454474" indent="0">
              <a:buNone/>
              <a:defRPr>
                <a:solidFill>
                  <a:schemeClr val="bg1"/>
                </a:solidFill>
              </a:defRPr>
            </a:lvl2pPr>
            <a:lvl3pPr marL="912114" indent="0">
              <a:buNone/>
              <a:defRPr>
                <a:solidFill>
                  <a:schemeClr val="bg1"/>
                </a:solidFill>
              </a:defRPr>
            </a:lvl3pPr>
            <a:lvl4pPr marL="1368171" indent="0">
              <a:buNone/>
              <a:defRPr>
                <a:solidFill>
                  <a:schemeClr val="bg1"/>
                </a:solidFill>
              </a:defRPr>
            </a:lvl4pPr>
            <a:lvl5pPr marL="1824228" indent="0">
              <a:buNone/>
              <a:defRPr>
                <a:solidFill>
                  <a:schemeClr val="bg1"/>
                </a:solidFill>
              </a:defRPr>
            </a:lvl5pPr>
          </a:lstStyle>
          <a:p>
            <a:pPr lvl="0"/>
            <a:r>
              <a:rPr lang="en-US" dirty="0"/>
              <a:t>Click to Add Presenter’s Title</a:t>
            </a:r>
          </a:p>
        </p:txBody>
      </p:sp>
      <p:sp>
        <p:nvSpPr>
          <p:cNvPr id="11" name="Text Placeholder 9"/>
          <p:cNvSpPr>
            <a:spLocks noGrp="1"/>
          </p:cNvSpPr>
          <p:nvPr>
            <p:ph type="body" sz="quarter" idx="13" hasCustomPrompt="1"/>
          </p:nvPr>
        </p:nvSpPr>
        <p:spPr>
          <a:xfrm>
            <a:off x="256907" y="5793139"/>
            <a:ext cx="2242645" cy="193899"/>
          </a:xfrm>
        </p:spPr>
        <p:txBody>
          <a:bodyPr wrap="square">
            <a:spAutoFit/>
          </a:bodyPr>
          <a:lstStyle>
            <a:lvl1pPr marL="0" indent="0" algn="l">
              <a:buFontTx/>
              <a:buNone/>
              <a:defRPr sz="1397">
                <a:solidFill>
                  <a:schemeClr val="bg1"/>
                </a:solidFill>
                <a:effectLst/>
                <a:latin typeface="+mn-lt"/>
              </a:defRPr>
            </a:lvl1pPr>
            <a:lvl2pPr marL="454474" indent="0">
              <a:buFontTx/>
              <a:buNone/>
              <a:defRPr sz="1496">
                <a:solidFill>
                  <a:schemeClr val="bg1"/>
                </a:solidFill>
                <a:latin typeface="Arial Narrow" pitchFamily="34" charset="0"/>
              </a:defRPr>
            </a:lvl2pPr>
            <a:lvl3pPr marL="912114" indent="0">
              <a:buFontTx/>
              <a:buNone/>
              <a:defRPr sz="1496">
                <a:solidFill>
                  <a:schemeClr val="bg1"/>
                </a:solidFill>
                <a:latin typeface="Arial Narrow" pitchFamily="34" charset="0"/>
              </a:defRPr>
            </a:lvl3pPr>
            <a:lvl4pPr marL="1368171" indent="0">
              <a:buFontTx/>
              <a:buNone/>
              <a:defRPr sz="1496">
                <a:solidFill>
                  <a:schemeClr val="bg1"/>
                </a:solidFill>
                <a:latin typeface="Arial Narrow" pitchFamily="34" charset="0"/>
              </a:defRPr>
            </a:lvl4pPr>
            <a:lvl5pPr marL="1824228" indent="0">
              <a:buFontTx/>
              <a:buNone/>
              <a:defRPr sz="1496">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2133083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Closing Slide">
    <p:bg>
      <p:bgRef idx="1001">
        <a:schemeClr val="bg1"/>
      </p:bgRef>
    </p:bg>
    <p:spTree>
      <p:nvGrpSpPr>
        <p:cNvPr id="1" name=""/>
        <p:cNvGrpSpPr/>
        <p:nvPr/>
      </p:nvGrpSpPr>
      <p:grpSpPr>
        <a:xfrm>
          <a:off x="0" y="0"/>
          <a:ext cx="0" cy="0"/>
          <a:chOff x="0" y="0"/>
          <a:chExt cx="0" cy="0"/>
        </a:xfrm>
      </p:grpSpPr>
      <p:sp>
        <p:nvSpPr>
          <p:cNvPr id="9" name="Hexagon 8"/>
          <p:cNvSpPr/>
          <p:nvPr userDrawn="1"/>
        </p:nvSpPr>
        <p:spPr>
          <a:xfrm rot="5400000">
            <a:off x="3132287" y="766361"/>
            <a:ext cx="5930052" cy="5325278"/>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82725" y="2257358"/>
            <a:ext cx="6026552" cy="2343284"/>
          </a:xfrm>
          <a:prstGeom prst="rect">
            <a:avLst/>
          </a:prstGeom>
        </p:spPr>
      </p:pic>
    </p:spTree>
    <p:extLst>
      <p:ext uri="{BB962C8B-B14F-4D97-AF65-F5344CB8AC3E}">
        <p14:creationId xmlns:p14="http://schemas.microsoft.com/office/powerpoint/2010/main" val="2419823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Accent Color Slide Options">
    <p:bg>
      <p:bgPr>
        <a:solidFill>
          <a:srgbClr val="000000"/>
        </a:solidFill>
        <a:effectLst/>
      </p:bgPr>
    </p:bg>
    <p:spTree>
      <p:nvGrpSpPr>
        <p:cNvPr id="1" name=""/>
        <p:cNvGrpSpPr/>
        <p:nvPr/>
      </p:nvGrpSpPr>
      <p:grpSpPr>
        <a:xfrm>
          <a:off x="0" y="0"/>
          <a:ext cx="0" cy="0"/>
          <a:chOff x="0" y="0"/>
          <a:chExt cx="0" cy="0"/>
        </a:xfrm>
      </p:grpSpPr>
      <p:sp>
        <p:nvSpPr>
          <p:cNvPr id="2" name="TextBox 1"/>
          <p:cNvSpPr txBox="1"/>
          <p:nvPr/>
        </p:nvSpPr>
        <p:spPr>
          <a:xfrm>
            <a:off x="858995" y="1505407"/>
            <a:ext cx="10474021" cy="3847207"/>
          </a:xfrm>
          <a:prstGeom prst="rect">
            <a:avLst/>
          </a:prstGeom>
          <a:noFill/>
        </p:spPr>
        <p:txBody>
          <a:bodyPr wrap="none" lIns="0" tIns="0" rIns="0" bIns="0" rtlCol="0" anchor="ctr">
            <a:spAutoFit/>
          </a:bodyPr>
          <a:lstStyle/>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12469" b="0" i="0" u="none" strike="noStrike" kern="1200" cap="none" spc="0" normalizeH="0" baseline="0" noProof="0" dirty="0">
                <a:ln>
                  <a:noFill/>
                </a:ln>
                <a:solidFill>
                  <a:srgbClr val="FFFFFF"/>
                </a:solidFill>
                <a:effectLst/>
                <a:uLnTx/>
                <a:uFillTx/>
                <a:latin typeface="Century Gothic" panose="020F0302020204030204"/>
                <a:ea typeface="+mn-ea"/>
                <a:cs typeface="+mn-cs"/>
              </a:rPr>
              <a:t>Accent Color</a:t>
            </a:r>
            <a:br>
              <a:rPr kumimoji="0" lang="en-US" sz="12469" b="0" i="0" u="none" strike="noStrike" kern="1200" cap="none" spc="0" normalizeH="0" baseline="0" noProof="0" dirty="0">
                <a:ln>
                  <a:noFill/>
                </a:ln>
                <a:solidFill>
                  <a:srgbClr val="FFFFFF"/>
                </a:solidFill>
                <a:effectLst/>
                <a:uLnTx/>
                <a:uFillTx/>
                <a:latin typeface="Century Gothic" panose="020F0302020204030204"/>
                <a:ea typeface="+mn-ea"/>
                <a:cs typeface="+mn-cs"/>
              </a:rPr>
            </a:br>
            <a:r>
              <a:rPr kumimoji="0" lang="en-US" sz="12469" b="0" i="0" u="none" strike="noStrike" kern="1200" cap="none" spc="0" normalizeH="0" baseline="0" noProof="0" dirty="0">
                <a:ln>
                  <a:noFill/>
                </a:ln>
                <a:solidFill>
                  <a:srgbClr val="FFFFFF"/>
                </a:solidFill>
                <a:effectLst/>
                <a:uLnTx/>
                <a:uFillTx/>
                <a:latin typeface="Century Gothic" panose="020F0302020204030204"/>
                <a:ea typeface="+mn-ea"/>
                <a:cs typeface="+mn-cs"/>
              </a:rPr>
              <a:t>Slide Options</a:t>
            </a:r>
          </a:p>
        </p:txBody>
      </p:sp>
    </p:spTree>
    <p:extLst>
      <p:ext uri="{BB962C8B-B14F-4D97-AF65-F5344CB8AC3E}">
        <p14:creationId xmlns:p14="http://schemas.microsoft.com/office/powerpoint/2010/main" val="253487736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Blue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62664" cy="6858000"/>
          </a:xfrm>
          <a:prstGeom prst="rect">
            <a:avLst/>
          </a:prstGeom>
        </p:spPr>
      </p:pic>
      <p:sp>
        <p:nvSpPr>
          <p:cNvPr id="10" name="Content Placeholder 3"/>
          <p:cNvSpPr>
            <a:spLocks noGrp="1"/>
          </p:cNvSpPr>
          <p:nvPr>
            <p:ph sz="half" idx="2" hasCustomPrompt="1"/>
          </p:nvPr>
        </p:nvSpPr>
        <p:spPr>
          <a:xfrm>
            <a:off x="4690873" y="777240"/>
            <a:ext cx="7082577" cy="5477256"/>
          </a:xfrm>
        </p:spPr>
        <p:txBody>
          <a:bodyPr anchor="ctr">
            <a:normAutofit/>
          </a:bodyPr>
          <a:lstStyle>
            <a:lvl1pPr>
              <a:buClr>
                <a:schemeClr val="tx1"/>
              </a:buClr>
              <a:defRPr sz="2195">
                <a:solidFill>
                  <a:schemeClr val="tx1"/>
                </a:solidFill>
              </a:defRPr>
            </a:lvl1pPr>
            <a:lvl2pPr>
              <a:buClr>
                <a:schemeClr val="tx1">
                  <a:lumMod val="75000"/>
                </a:schemeClr>
              </a:buClr>
              <a:defRPr sz="1995">
                <a:solidFill>
                  <a:schemeClr val="tx1"/>
                </a:solidFill>
              </a:defRPr>
            </a:lvl2pPr>
            <a:lvl3pPr>
              <a:buClr>
                <a:schemeClr val="tx1">
                  <a:lumMod val="75000"/>
                </a:schemeClr>
              </a:buClr>
              <a:defRPr sz="1795">
                <a:solidFill>
                  <a:schemeClr val="tx1"/>
                </a:solidFill>
              </a:defRPr>
            </a:lvl3pPr>
            <a:lvl4pPr>
              <a:buClr>
                <a:schemeClr val="tx1">
                  <a:lumMod val="75000"/>
                </a:schemeClr>
              </a:buClr>
              <a:defRPr sz="1596" baseline="0">
                <a:solidFill>
                  <a:schemeClr val="tx1"/>
                </a:solidFill>
              </a:defRPr>
            </a:lvl4pPr>
            <a:lvl5pPr>
              <a:buClr>
                <a:schemeClr val="tx1">
                  <a:lumMod val="75000"/>
                </a:schemeClr>
              </a:buClr>
              <a:defRPr sz="1397">
                <a:solidFill>
                  <a:schemeClr val="tx1"/>
                </a:solidFill>
              </a:defRPr>
            </a:lvl5pPr>
            <a:lvl6pPr>
              <a:defRPr sz="1795"/>
            </a:lvl6pPr>
            <a:lvl7pPr>
              <a:defRPr sz="1795"/>
            </a:lvl7pPr>
            <a:lvl8pPr>
              <a:defRPr sz="1795"/>
            </a:lvl8pPr>
            <a:lvl9pPr>
              <a:defRPr sz="1795"/>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a:xfrm>
            <a:off x="429768" y="2984470"/>
            <a:ext cx="3273552" cy="886397"/>
          </a:xfrm>
        </p:spPr>
        <p:txBody>
          <a:bodyPr anchor="ctr">
            <a:spAutoFit/>
          </a:bodyPr>
          <a:lstStyle>
            <a:lvl1pPr>
              <a:lnSpc>
                <a:spcPct val="80000"/>
              </a:lnSpc>
              <a:defRPr sz="3591"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3D4647"/>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3D4647"/>
              </a:solidFill>
              <a:effectLst/>
              <a:uLnTx/>
              <a:uFillTx/>
              <a:latin typeface="Century Gothic" panose="020F0302020204030204"/>
              <a:ea typeface="MS PGothic" pitchFamily="34" charset="-128"/>
              <a:cs typeface="+mn-cs"/>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6" y="293170"/>
            <a:ext cx="967226" cy="376084"/>
          </a:xfrm>
          <a:prstGeom prst="rect">
            <a:avLst/>
          </a:prstGeom>
        </p:spPr>
      </p:pic>
    </p:spTree>
    <p:extLst>
      <p:ext uri="{BB962C8B-B14F-4D97-AF65-F5344CB8AC3E}">
        <p14:creationId xmlns:p14="http://schemas.microsoft.com/office/powerpoint/2010/main" val="290682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Blue 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2" name="Title 21"/>
          <p:cNvSpPr>
            <a:spLocks noGrp="1"/>
          </p:cNvSpPr>
          <p:nvPr>
            <p:ph type="title" hasCustomPrompt="1"/>
          </p:nvPr>
        </p:nvSpPr>
        <p:spPr>
          <a:xfrm>
            <a:off x="384048" y="3133537"/>
            <a:ext cx="10186416" cy="590931"/>
          </a:xfrm>
        </p:spPr>
        <p:txBody>
          <a:bodyPr>
            <a:spAutoFit/>
          </a:bodyPr>
          <a:lstStyle>
            <a:lvl1pPr algn="l">
              <a:lnSpc>
                <a:spcPct val="80000"/>
              </a:lnSpc>
              <a:defRPr sz="4788"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7" y="290988"/>
            <a:ext cx="973108" cy="378266"/>
          </a:xfrm>
          <a:prstGeom prst="rect">
            <a:avLst/>
          </a:prstGeom>
        </p:spPr>
      </p:pic>
    </p:spTree>
    <p:extLst>
      <p:ext uri="{BB962C8B-B14F-4D97-AF65-F5344CB8AC3E}">
        <p14:creationId xmlns:p14="http://schemas.microsoft.com/office/powerpoint/2010/main" val="52970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Blu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sp>
        <p:nvSpPr>
          <p:cNvPr id="3" name="Rectangle 2"/>
          <p:cNvSpPr/>
          <p:nvPr userDrawn="1"/>
        </p:nvSpPr>
        <p:spPr>
          <a:xfrm>
            <a:off x="1482572"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6" name="Oval 5"/>
          <p:cNvSpPr/>
          <p:nvPr userDrawn="1"/>
        </p:nvSpPr>
        <p:spPr>
          <a:xfrm>
            <a:off x="437478" y="2590309"/>
            <a:ext cx="1691925" cy="1687739"/>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7182" b="0" i="0" u="none" strike="noStrike" kern="1200" cap="none" spc="0" normalizeH="0" baseline="0" noProof="0" dirty="0">
              <a:ln>
                <a:noFill/>
              </a:ln>
              <a:solidFill>
                <a:srgbClr val="FFFFFF"/>
              </a:solidFill>
              <a:effectLst/>
              <a:uLnTx/>
              <a:uFillTx/>
              <a:latin typeface="Century Gothic" panose="020F0302020204030204"/>
              <a:ea typeface="Arial" charset="0"/>
              <a:cs typeface="Arial" charset="0"/>
            </a:endParaRPr>
          </a:p>
        </p:txBody>
      </p:sp>
      <p:sp>
        <p:nvSpPr>
          <p:cNvPr id="5" name="Text Placeholder 4"/>
          <p:cNvSpPr>
            <a:spLocks noGrp="1"/>
          </p:cNvSpPr>
          <p:nvPr>
            <p:ph type="body" sz="quarter" idx="10" hasCustomPrompt="1"/>
          </p:nvPr>
        </p:nvSpPr>
        <p:spPr>
          <a:xfrm>
            <a:off x="815750" y="3122194"/>
            <a:ext cx="916668" cy="914400"/>
          </a:xfrm>
        </p:spPr>
        <p:txBody>
          <a:bodyPr anchor="ctr"/>
          <a:lstStyle>
            <a:lvl1pPr marL="0" indent="0" algn="ctr">
              <a:buNone/>
              <a:defRPr sz="9576" b="0">
                <a:solidFill>
                  <a:schemeClr val="bg1"/>
                </a:solidFill>
                <a:latin typeface="+mn-lt"/>
              </a:defRPr>
            </a:lvl1pPr>
            <a:lvl5pPr marL="1824228" indent="0">
              <a:buNone/>
              <a:defRPr/>
            </a:lvl5pPr>
          </a:lstStyle>
          <a:p>
            <a:pPr lvl="0"/>
            <a:r>
              <a:rPr lang="en-US" dirty="0"/>
              <a:t>#</a:t>
            </a:r>
          </a:p>
        </p:txBody>
      </p:sp>
      <p:sp>
        <p:nvSpPr>
          <p:cNvPr id="9" name="Title 1"/>
          <p:cNvSpPr>
            <a:spLocks noGrp="1"/>
          </p:cNvSpPr>
          <p:nvPr>
            <p:ph type="ctrTitle" hasCustomPrompt="1"/>
          </p:nvPr>
        </p:nvSpPr>
        <p:spPr>
          <a:xfrm>
            <a:off x="2517817" y="3233280"/>
            <a:ext cx="9319456" cy="517065"/>
          </a:xfrm>
        </p:spPr>
        <p:txBody>
          <a:bodyPr wrap="square" anchor="ctr" anchorCtr="0">
            <a:spAutoFit/>
          </a:bodyPr>
          <a:lstStyle>
            <a:lvl1pPr>
              <a:lnSpc>
                <a:spcPct val="80000"/>
              </a:lnSpc>
              <a:defRPr sz="419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7" y="290988"/>
            <a:ext cx="973108" cy="378266"/>
          </a:xfrm>
          <a:prstGeom prst="rect">
            <a:avLst/>
          </a:prstGeom>
        </p:spPr>
      </p:pic>
    </p:spTree>
    <p:extLst>
      <p:ext uri="{BB962C8B-B14F-4D97-AF65-F5344CB8AC3E}">
        <p14:creationId xmlns:p14="http://schemas.microsoft.com/office/powerpoint/2010/main" val="1848160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Light Blue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62664" cy="6858000"/>
          </a:xfrm>
          <a:prstGeom prst="rect">
            <a:avLst/>
          </a:prstGeom>
        </p:spPr>
      </p:pic>
      <p:sp>
        <p:nvSpPr>
          <p:cNvPr id="10" name="Content Placeholder 3"/>
          <p:cNvSpPr>
            <a:spLocks noGrp="1"/>
          </p:cNvSpPr>
          <p:nvPr>
            <p:ph sz="half" idx="2" hasCustomPrompt="1"/>
          </p:nvPr>
        </p:nvSpPr>
        <p:spPr>
          <a:xfrm>
            <a:off x="4690873" y="777240"/>
            <a:ext cx="7082577" cy="5477256"/>
          </a:xfrm>
        </p:spPr>
        <p:txBody>
          <a:bodyPr anchor="ctr">
            <a:normAutofit/>
          </a:bodyPr>
          <a:lstStyle>
            <a:lvl1pPr>
              <a:buClr>
                <a:schemeClr val="tx1"/>
              </a:buClr>
              <a:defRPr sz="2195">
                <a:solidFill>
                  <a:schemeClr val="tx1"/>
                </a:solidFill>
              </a:defRPr>
            </a:lvl1pPr>
            <a:lvl2pPr>
              <a:buClr>
                <a:schemeClr val="tx1">
                  <a:lumMod val="75000"/>
                </a:schemeClr>
              </a:buClr>
              <a:defRPr sz="1995">
                <a:solidFill>
                  <a:schemeClr val="tx1"/>
                </a:solidFill>
              </a:defRPr>
            </a:lvl2pPr>
            <a:lvl3pPr>
              <a:buClr>
                <a:schemeClr val="tx1">
                  <a:lumMod val="75000"/>
                </a:schemeClr>
              </a:buClr>
              <a:defRPr sz="1795">
                <a:solidFill>
                  <a:schemeClr val="tx1"/>
                </a:solidFill>
              </a:defRPr>
            </a:lvl3pPr>
            <a:lvl4pPr>
              <a:buClr>
                <a:schemeClr val="tx1">
                  <a:lumMod val="75000"/>
                </a:schemeClr>
              </a:buClr>
              <a:defRPr sz="1596" baseline="0">
                <a:solidFill>
                  <a:schemeClr val="tx1"/>
                </a:solidFill>
              </a:defRPr>
            </a:lvl4pPr>
            <a:lvl5pPr>
              <a:buClr>
                <a:schemeClr val="tx1">
                  <a:lumMod val="75000"/>
                </a:schemeClr>
              </a:buClr>
              <a:defRPr sz="1397">
                <a:solidFill>
                  <a:schemeClr val="tx1"/>
                </a:solidFill>
              </a:defRPr>
            </a:lvl5pPr>
            <a:lvl6pPr>
              <a:defRPr sz="1795"/>
            </a:lvl6pPr>
            <a:lvl7pPr>
              <a:defRPr sz="1795"/>
            </a:lvl7pPr>
            <a:lvl8pPr>
              <a:defRPr sz="1795"/>
            </a:lvl8pPr>
            <a:lvl9pPr>
              <a:defRPr sz="1795"/>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a:xfrm>
            <a:off x="429768" y="2984470"/>
            <a:ext cx="3273552" cy="886397"/>
          </a:xfrm>
        </p:spPr>
        <p:txBody>
          <a:bodyPr anchor="ctr">
            <a:spAutoFit/>
          </a:bodyPr>
          <a:lstStyle>
            <a:lvl1pPr>
              <a:lnSpc>
                <a:spcPct val="80000"/>
              </a:lnSpc>
              <a:defRPr sz="3591"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3D4647"/>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3D4647"/>
              </a:solidFill>
              <a:effectLst/>
              <a:uLnTx/>
              <a:uFillTx/>
              <a:latin typeface="Century Gothic" panose="020F0302020204030204"/>
              <a:ea typeface="MS PGothic" pitchFamily="34" charset="-128"/>
              <a:cs typeface="+mn-cs"/>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6" y="293170"/>
            <a:ext cx="967226" cy="376084"/>
          </a:xfrm>
          <a:prstGeom prst="rect">
            <a:avLst/>
          </a:prstGeom>
        </p:spPr>
      </p:pic>
    </p:spTree>
    <p:extLst>
      <p:ext uri="{BB962C8B-B14F-4D97-AF65-F5344CB8AC3E}">
        <p14:creationId xmlns:p14="http://schemas.microsoft.com/office/powerpoint/2010/main" val="449351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Light Blue 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2" name="Title 21"/>
          <p:cNvSpPr>
            <a:spLocks noGrp="1"/>
          </p:cNvSpPr>
          <p:nvPr>
            <p:ph type="title" hasCustomPrompt="1"/>
          </p:nvPr>
        </p:nvSpPr>
        <p:spPr>
          <a:xfrm>
            <a:off x="384048" y="3133537"/>
            <a:ext cx="10186416" cy="590931"/>
          </a:xfrm>
          <a:noFill/>
        </p:spPr>
        <p:txBody>
          <a:bodyPr>
            <a:spAutoFit/>
          </a:bodyPr>
          <a:lstStyle>
            <a:lvl1pPr algn="l">
              <a:lnSpc>
                <a:spcPct val="80000"/>
              </a:lnSpc>
              <a:defRPr sz="4788">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7" y="290988"/>
            <a:ext cx="973108" cy="378266"/>
          </a:xfrm>
          <a:prstGeom prst="rect">
            <a:avLst/>
          </a:prstGeom>
        </p:spPr>
      </p:pic>
    </p:spTree>
    <p:extLst>
      <p:ext uri="{BB962C8B-B14F-4D97-AF65-F5344CB8AC3E}">
        <p14:creationId xmlns:p14="http://schemas.microsoft.com/office/powerpoint/2010/main" val="4135449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Light Blue Number Divider">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sp>
        <p:nvSpPr>
          <p:cNvPr id="3" name="Rectangle 2"/>
          <p:cNvSpPr/>
          <p:nvPr userDrawn="1"/>
        </p:nvSpPr>
        <p:spPr>
          <a:xfrm>
            <a:off x="1482572"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6" name="Oval 5"/>
          <p:cNvSpPr/>
          <p:nvPr userDrawn="1"/>
        </p:nvSpPr>
        <p:spPr>
          <a:xfrm>
            <a:off x="437478" y="2590309"/>
            <a:ext cx="1691925" cy="1687739"/>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7182" b="0" i="0" u="none" strike="noStrike" kern="1200" cap="none" spc="0" normalizeH="0" baseline="0" noProof="0" dirty="0">
              <a:ln>
                <a:noFill/>
              </a:ln>
              <a:solidFill>
                <a:srgbClr val="FFFFFF"/>
              </a:solidFill>
              <a:effectLst/>
              <a:uLnTx/>
              <a:uFillTx/>
              <a:latin typeface="Century Gothic" panose="020F0302020204030204"/>
              <a:ea typeface="Arial" charset="0"/>
              <a:cs typeface="Arial" charset="0"/>
            </a:endParaRPr>
          </a:p>
        </p:txBody>
      </p:sp>
      <p:sp>
        <p:nvSpPr>
          <p:cNvPr id="5" name="Text Placeholder 4"/>
          <p:cNvSpPr>
            <a:spLocks noGrp="1"/>
          </p:cNvSpPr>
          <p:nvPr>
            <p:ph type="body" sz="quarter" idx="10" hasCustomPrompt="1"/>
          </p:nvPr>
        </p:nvSpPr>
        <p:spPr>
          <a:xfrm>
            <a:off x="815750" y="3122194"/>
            <a:ext cx="916668" cy="914400"/>
          </a:xfrm>
        </p:spPr>
        <p:txBody>
          <a:bodyPr anchor="ctr"/>
          <a:lstStyle>
            <a:lvl1pPr marL="0" indent="0" algn="ctr">
              <a:buNone/>
              <a:defRPr sz="9576" b="0">
                <a:solidFill>
                  <a:schemeClr val="bg1"/>
                </a:solidFill>
                <a:latin typeface="+mn-lt"/>
              </a:defRPr>
            </a:lvl1pPr>
            <a:lvl5pPr marL="1824228" indent="0">
              <a:buNone/>
              <a:defRPr/>
            </a:lvl5pPr>
          </a:lstStyle>
          <a:p>
            <a:pPr lvl="0"/>
            <a:r>
              <a:rPr lang="en-US" dirty="0"/>
              <a:t>#</a:t>
            </a:r>
          </a:p>
        </p:txBody>
      </p:sp>
      <p:sp>
        <p:nvSpPr>
          <p:cNvPr id="9" name="Title 1"/>
          <p:cNvSpPr>
            <a:spLocks noGrp="1"/>
          </p:cNvSpPr>
          <p:nvPr>
            <p:ph type="ctrTitle" hasCustomPrompt="1"/>
          </p:nvPr>
        </p:nvSpPr>
        <p:spPr>
          <a:xfrm>
            <a:off x="2517817" y="3233280"/>
            <a:ext cx="9319456" cy="517065"/>
          </a:xfrm>
        </p:spPr>
        <p:txBody>
          <a:bodyPr wrap="square" anchor="ctr" anchorCtr="0">
            <a:spAutoFit/>
          </a:bodyPr>
          <a:lstStyle>
            <a:lvl1pPr>
              <a:lnSpc>
                <a:spcPct val="80000"/>
              </a:lnSpc>
              <a:defRPr sz="419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7" y="290988"/>
            <a:ext cx="973108" cy="378266"/>
          </a:xfrm>
          <a:prstGeom prst="rect">
            <a:avLst/>
          </a:prstGeom>
        </p:spPr>
      </p:pic>
    </p:spTree>
    <p:extLst>
      <p:ext uri="{BB962C8B-B14F-4D97-AF65-F5344CB8AC3E}">
        <p14:creationId xmlns:p14="http://schemas.microsoft.com/office/powerpoint/2010/main" val="1883302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1024128"/>
            <a:ext cx="4042250"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5" name="Picture Placeholder 25"/>
          <p:cNvSpPr>
            <a:spLocks noGrp="1"/>
          </p:cNvSpPr>
          <p:nvPr>
            <p:ph type="pic" sz="quarter" idx="14"/>
          </p:nvPr>
        </p:nvSpPr>
        <p:spPr>
          <a:xfrm>
            <a:off x="8159299" y="1024128"/>
            <a:ext cx="4032702"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6" name="Picture Placeholder 6"/>
          <p:cNvSpPr>
            <a:spLocks noGrp="1"/>
          </p:cNvSpPr>
          <p:nvPr>
            <p:ph type="pic" sz="quarter" idx="13"/>
          </p:nvPr>
        </p:nvSpPr>
        <p:spPr>
          <a:xfrm>
            <a:off x="4078854" y="1024128"/>
            <a:ext cx="4034293"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2" name="Title 11"/>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16" name="Text Placeholder 33"/>
          <p:cNvSpPr>
            <a:spLocks noGrp="1"/>
          </p:cNvSpPr>
          <p:nvPr>
            <p:ph type="body" sz="quarter" idx="18" hasCustomPrompt="1"/>
          </p:nvPr>
        </p:nvSpPr>
        <p:spPr>
          <a:xfrm>
            <a:off x="-9548"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4254709" y="5011670"/>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bwMode="gray">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1" y="1024128"/>
            <a:ext cx="45719" cy="5480652"/>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6" y="1024128"/>
            <a:ext cx="47866" cy="5480652"/>
          </a:xfrm>
          <a:solidFill>
            <a:schemeClr val="tx2">
              <a:lumMod val="75000"/>
            </a:schemeClr>
          </a:solidFill>
        </p:spPr>
        <p:txBody>
          <a:bodyPr/>
          <a:lstStyle>
            <a:lvl1pPr marL="0" indent="0">
              <a:buNone/>
              <a:defRPr baseline="0"/>
            </a:lvl1pPr>
          </a:lstStyle>
          <a:p>
            <a:pPr lvl="0"/>
            <a:r>
              <a:rPr lang="en-US" dirty="0"/>
              <a:t> </a:t>
            </a:r>
          </a:p>
        </p:txBody>
      </p:sp>
      <p:sp>
        <p:nvSpPr>
          <p:cNvPr id="20" name="Text Placeholder 2"/>
          <p:cNvSpPr>
            <a:spLocks noGrp="1"/>
          </p:cNvSpPr>
          <p:nvPr>
            <p:ph type="body" sz="quarter" idx="21" hasCustomPrompt="1"/>
          </p:nvPr>
        </p:nvSpPr>
        <p:spPr>
          <a:xfrm rot="5400000">
            <a:off x="6074664" y="-5093208"/>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62553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Orange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62664" cy="6858000"/>
          </a:xfrm>
          <a:prstGeom prst="rect">
            <a:avLst/>
          </a:prstGeom>
        </p:spPr>
      </p:pic>
      <p:sp>
        <p:nvSpPr>
          <p:cNvPr id="10" name="Content Placeholder 3"/>
          <p:cNvSpPr>
            <a:spLocks noGrp="1"/>
          </p:cNvSpPr>
          <p:nvPr>
            <p:ph sz="half" idx="2" hasCustomPrompt="1"/>
          </p:nvPr>
        </p:nvSpPr>
        <p:spPr>
          <a:xfrm>
            <a:off x="4690873" y="777240"/>
            <a:ext cx="7082577" cy="5477256"/>
          </a:xfrm>
        </p:spPr>
        <p:txBody>
          <a:bodyPr anchor="ctr">
            <a:normAutofit/>
          </a:bodyPr>
          <a:lstStyle>
            <a:lvl1pPr>
              <a:buClr>
                <a:schemeClr val="tx1"/>
              </a:buClr>
              <a:defRPr sz="2195">
                <a:solidFill>
                  <a:schemeClr val="tx1"/>
                </a:solidFill>
              </a:defRPr>
            </a:lvl1pPr>
            <a:lvl2pPr>
              <a:buClr>
                <a:schemeClr val="tx1">
                  <a:lumMod val="75000"/>
                </a:schemeClr>
              </a:buClr>
              <a:defRPr sz="1995">
                <a:solidFill>
                  <a:schemeClr val="tx1"/>
                </a:solidFill>
              </a:defRPr>
            </a:lvl2pPr>
            <a:lvl3pPr>
              <a:buClr>
                <a:schemeClr val="tx1">
                  <a:lumMod val="75000"/>
                </a:schemeClr>
              </a:buClr>
              <a:defRPr sz="1795">
                <a:solidFill>
                  <a:schemeClr val="tx1"/>
                </a:solidFill>
              </a:defRPr>
            </a:lvl3pPr>
            <a:lvl4pPr>
              <a:buClr>
                <a:schemeClr val="tx1">
                  <a:lumMod val="75000"/>
                </a:schemeClr>
              </a:buClr>
              <a:defRPr sz="1596" baseline="0">
                <a:solidFill>
                  <a:schemeClr val="tx1"/>
                </a:solidFill>
              </a:defRPr>
            </a:lvl4pPr>
            <a:lvl5pPr>
              <a:buClr>
                <a:schemeClr val="tx1">
                  <a:lumMod val="75000"/>
                </a:schemeClr>
              </a:buClr>
              <a:defRPr sz="1397">
                <a:solidFill>
                  <a:schemeClr val="tx1"/>
                </a:solidFill>
              </a:defRPr>
            </a:lvl5pPr>
            <a:lvl6pPr>
              <a:defRPr sz="1795"/>
            </a:lvl6pPr>
            <a:lvl7pPr>
              <a:defRPr sz="1795"/>
            </a:lvl7pPr>
            <a:lvl8pPr>
              <a:defRPr sz="1795"/>
            </a:lvl8pPr>
            <a:lvl9pPr>
              <a:defRPr sz="1795"/>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a:xfrm>
            <a:off x="429768" y="2984470"/>
            <a:ext cx="3273552" cy="886397"/>
          </a:xfrm>
        </p:spPr>
        <p:txBody>
          <a:bodyPr anchor="ctr">
            <a:spAutoFit/>
          </a:bodyPr>
          <a:lstStyle>
            <a:lvl1pPr>
              <a:lnSpc>
                <a:spcPct val="80000"/>
              </a:lnSpc>
              <a:defRPr sz="3591"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3D4647"/>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3D4647"/>
              </a:solidFill>
              <a:effectLst/>
              <a:uLnTx/>
              <a:uFillTx/>
              <a:latin typeface="Century Gothic" panose="020F0302020204030204"/>
              <a:ea typeface="MS PGothic" pitchFamily="34" charset="-128"/>
              <a:cs typeface="+mn-cs"/>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6" y="293170"/>
            <a:ext cx="967226" cy="376084"/>
          </a:xfrm>
          <a:prstGeom prst="rect">
            <a:avLst/>
          </a:prstGeom>
        </p:spPr>
      </p:pic>
    </p:spTree>
    <p:extLst>
      <p:ext uri="{BB962C8B-B14F-4D97-AF65-F5344CB8AC3E}">
        <p14:creationId xmlns:p14="http://schemas.microsoft.com/office/powerpoint/2010/main" val="462193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Orange 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2" name="Title 21"/>
          <p:cNvSpPr>
            <a:spLocks noGrp="1"/>
          </p:cNvSpPr>
          <p:nvPr>
            <p:ph type="title" hasCustomPrompt="1"/>
          </p:nvPr>
        </p:nvSpPr>
        <p:spPr>
          <a:xfrm>
            <a:off x="384048" y="3133537"/>
            <a:ext cx="10186416" cy="590931"/>
          </a:xfrm>
        </p:spPr>
        <p:txBody>
          <a:bodyPr>
            <a:spAutoFit/>
          </a:bodyPr>
          <a:lstStyle>
            <a:lvl1pPr algn="l">
              <a:lnSpc>
                <a:spcPct val="80000"/>
              </a:lnSpc>
              <a:defRPr sz="4788"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7" y="290988"/>
            <a:ext cx="973108" cy="378266"/>
          </a:xfrm>
          <a:prstGeom prst="rect">
            <a:avLst/>
          </a:prstGeom>
        </p:spPr>
      </p:pic>
    </p:spTree>
    <p:extLst>
      <p:ext uri="{BB962C8B-B14F-4D97-AF65-F5344CB8AC3E}">
        <p14:creationId xmlns:p14="http://schemas.microsoft.com/office/powerpoint/2010/main" val="147531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Orange Number Divider">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sp>
        <p:nvSpPr>
          <p:cNvPr id="3" name="Rectangle 2"/>
          <p:cNvSpPr/>
          <p:nvPr userDrawn="1"/>
        </p:nvSpPr>
        <p:spPr>
          <a:xfrm>
            <a:off x="1482572"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6" name="Oval 5"/>
          <p:cNvSpPr/>
          <p:nvPr userDrawn="1"/>
        </p:nvSpPr>
        <p:spPr>
          <a:xfrm>
            <a:off x="437478" y="2590309"/>
            <a:ext cx="1691925" cy="1687739"/>
          </a:xfrm>
          <a:prstGeom prst="ellipse">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7182" b="0" i="0" u="none" strike="noStrike" kern="1200" cap="none" spc="0" normalizeH="0" baseline="0" noProof="0" dirty="0">
              <a:ln>
                <a:noFill/>
              </a:ln>
              <a:solidFill>
                <a:srgbClr val="FFFFFF"/>
              </a:solidFill>
              <a:effectLst/>
              <a:uLnTx/>
              <a:uFillTx/>
              <a:latin typeface="Century Gothic" panose="020F0302020204030204"/>
              <a:ea typeface="Arial" charset="0"/>
              <a:cs typeface="Arial" charset="0"/>
            </a:endParaRPr>
          </a:p>
        </p:txBody>
      </p:sp>
      <p:sp>
        <p:nvSpPr>
          <p:cNvPr id="5" name="Text Placeholder 4"/>
          <p:cNvSpPr>
            <a:spLocks noGrp="1"/>
          </p:cNvSpPr>
          <p:nvPr>
            <p:ph type="body" sz="quarter" idx="10" hasCustomPrompt="1"/>
          </p:nvPr>
        </p:nvSpPr>
        <p:spPr>
          <a:xfrm>
            <a:off x="815750" y="3122194"/>
            <a:ext cx="916668" cy="914400"/>
          </a:xfrm>
        </p:spPr>
        <p:txBody>
          <a:bodyPr anchor="ctr"/>
          <a:lstStyle>
            <a:lvl1pPr marL="0" indent="0" algn="ctr">
              <a:buNone/>
              <a:defRPr sz="9576" b="0">
                <a:solidFill>
                  <a:schemeClr val="bg1"/>
                </a:solidFill>
                <a:latin typeface="+mn-lt"/>
              </a:defRPr>
            </a:lvl1pPr>
            <a:lvl5pPr marL="1824228" indent="0">
              <a:buNone/>
              <a:defRPr/>
            </a:lvl5pPr>
          </a:lstStyle>
          <a:p>
            <a:pPr lvl="0"/>
            <a:r>
              <a:rPr lang="en-US" dirty="0"/>
              <a:t>#</a:t>
            </a:r>
          </a:p>
        </p:txBody>
      </p:sp>
      <p:sp>
        <p:nvSpPr>
          <p:cNvPr id="9" name="Title 1"/>
          <p:cNvSpPr>
            <a:spLocks noGrp="1"/>
          </p:cNvSpPr>
          <p:nvPr>
            <p:ph type="ctrTitle" hasCustomPrompt="1"/>
          </p:nvPr>
        </p:nvSpPr>
        <p:spPr>
          <a:xfrm>
            <a:off x="2517817" y="3233280"/>
            <a:ext cx="9319456" cy="517065"/>
          </a:xfrm>
        </p:spPr>
        <p:txBody>
          <a:bodyPr wrap="square" anchor="ctr" anchorCtr="0">
            <a:spAutoFit/>
          </a:bodyPr>
          <a:lstStyle>
            <a:lvl1pPr>
              <a:lnSpc>
                <a:spcPct val="80000"/>
              </a:lnSpc>
              <a:defRPr sz="419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7" y="290988"/>
            <a:ext cx="973108" cy="378266"/>
          </a:xfrm>
          <a:prstGeom prst="rect">
            <a:avLst/>
          </a:prstGeom>
        </p:spPr>
      </p:pic>
    </p:spTree>
    <p:extLst>
      <p:ext uri="{BB962C8B-B14F-4D97-AF65-F5344CB8AC3E}">
        <p14:creationId xmlns:p14="http://schemas.microsoft.com/office/powerpoint/2010/main" val="2507611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Gold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62664" cy="6858000"/>
          </a:xfrm>
          <a:prstGeom prst="rect">
            <a:avLst/>
          </a:prstGeom>
        </p:spPr>
      </p:pic>
      <p:sp>
        <p:nvSpPr>
          <p:cNvPr id="10" name="Content Placeholder 3"/>
          <p:cNvSpPr>
            <a:spLocks noGrp="1"/>
          </p:cNvSpPr>
          <p:nvPr>
            <p:ph sz="half" idx="2" hasCustomPrompt="1"/>
          </p:nvPr>
        </p:nvSpPr>
        <p:spPr>
          <a:xfrm>
            <a:off x="4690873" y="777240"/>
            <a:ext cx="7082577" cy="5477256"/>
          </a:xfrm>
        </p:spPr>
        <p:txBody>
          <a:bodyPr anchor="ctr">
            <a:normAutofit/>
          </a:bodyPr>
          <a:lstStyle>
            <a:lvl1pPr>
              <a:buClr>
                <a:schemeClr val="tx1"/>
              </a:buClr>
              <a:defRPr sz="2195">
                <a:solidFill>
                  <a:schemeClr val="tx1"/>
                </a:solidFill>
              </a:defRPr>
            </a:lvl1pPr>
            <a:lvl2pPr>
              <a:buClr>
                <a:schemeClr val="tx1">
                  <a:lumMod val="75000"/>
                </a:schemeClr>
              </a:buClr>
              <a:defRPr sz="1995">
                <a:solidFill>
                  <a:schemeClr val="tx1"/>
                </a:solidFill>
              </a:defRPr>
            </a:lvl2pPr>
            <a:lvl3pPr>
              <a:buClr>
                <a:schemeClr val="tx1">
                  <a:lumMod val="75000"/>
                </a:schemeClr>
              </a:buClr>
              <a:defRPr sz="1795">
                <a:solidFill>
                  <a:schemeClr val="tx1"/>
                </a:solidFill>
              </a:defRPr>
            </a:lvl3pPr>
            <a:lvl4pPr>
              <a:buClr>
                <a:schemeClr val="tx1">
                  <a:lumMod val="75000"/>
                </a:schemeClr>
              </a:buClr>
              <a:defRPr sz="1596" baseline="0">
                <a:solidFill>
                  <a:schemeClr val="tx1"/>
                </a:solidFill>
              </a:defRPr>
            </a:lvl4pPr>
            <a:lvl5pPr>
              <a:buClr>
                <a:schemeClr val="tx1">
                  <a:lumMod val="75000"/>
                </a:schemeClr>
              </a:buClr>
              <a:defRPr sz="1397">
                <a:solidFill>
                  <a:schemeClr val="tx1"/>
                </a:solidFill>
              </a:defRPr>
            </a:lvl5pPr>
            <a:lvl6pPr>
              <a:defRPr sz="1795"/>
            </a:lvl6pPr>
            <a:lvl7pPr>
              <a:defRPr sz="1795"/>
            </a:lvl7pPr>
            <a:lvl8pPr>
              <a:defRPr sz="1795"/>
            </a:lvl8pPr>
            <a:lvl9pPr>
              <a:defRPr sz="1795"/>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a:xfrm>
            <a:off x="429768" y="2984470"/>
            <a:ext cx="3273552" cy="886397"/>
          </a:xfrm>
        </p:spPr>
        <p:txBody>
          <a:bodyPr anchor="ctr">
            <a:spAutoFit/>
          </a:bodyPr>
          <a:lstStyle>
            <a:lvl1pPr>
              <a:lnSpc>
                <a:spcPct val="80000"/>
              </a:lnSpc>
              <a:defRPr sz="3591"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3D4647"/>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3D4647"/>
              </a:solidFill>
              <a:effectLst/>
              <a:uLnTx/>
              <a:uFillTx/>
              <a:latin typeface="Century Gothic" panose="020F0302020204030204"/>
              <a:ea typeface="MS PGothic" pitchFamily="34" charset="-128"/>
              <a:cs typeface="+mn-cs"/>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6" y="293170"/>
            <a:ext cx="967226" cy="376084"/>
          </a:xfrm>
          <a:prstGeom prst="rect">
            <a:avLst/>
          </a:prstGeom>
        </p:spPr>
      </p:pic>
    </p:spTree>
    <p:extLst>
      <p:ext uri="{BB962C8B-B14F-4D97-AF65-F5344CB8AC3E}">
        <p14:creationId xmlns:p14="http://schemas.microsoft.com/office/powerpoint/2010/main" val="1921333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Gold Accent 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2" name="Title 21"/>
          <p:cNvSpPr>
            <a:spLocks noGrp="1"/>
          </p:cNvSpPr>
          <p:nvPr>
            <p:ph type="title" hasCustomPrompt="1"/>
          </p:nvPr>
        </p:nvSpPr>
        <p:spPr>
          <a:xfrm>
            <a:off x="384048" y="3133537"/>
            <a:ext cx="10186416" cy="590931"/>
          </a:xfrm>
        </p:spPr>
        <p:txBody>
          <a:bodyPr>
            <a:spAutoFit/>
          </a:bodyPr>
          <a:lstStyle>
            <a:lvl1pPr algn="l">
              <a:lnSpc>
                <a:spcPct val="80000"/>
              </a:lnSpc>
              <a:defRPr sz="4788">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7" y="290988"/>
            <a:ext cx="973108" cy="378266"/>
          </a:xfrm>
          <a:prstGeom prst="rect">
            <a:avLst/>
          </a:prstGeom>
        </p:spPr>
      </p:pic>
    </p:spTree>
    <p:extLst>
      <p:ext uri="{BB962C8B-B14F-4D97-AF65-F5344CB8AC3E}">
        <p14:creationId xmlns:p14="http://schemas.microsoft.com/office/powerpoint/2010/main" val="2500168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Gold Number Divider">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6"/>
          <p:cNvSpPr txBox="1">
            <a:spLocks noChangeArrowheads="1"/>
          </p:cNvSpPr>
          <p:nvPr/>
        </p:nvSpPr>
        <p:spPr bwMode="auto">
          <a:xfrm>
            <a:off x="11320847"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sp>
        <p:nvSpPr>
          <p:cNvPr id="3" name="Rectangle 2"/>
          <p:cNvSpPr/>
          <p:nvPr userDrawn="1"/>
        </p:nvSpPr>
        <p:spPr>
          <a:xfrm>
            <a:off x="1482572"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6" name="Oval 5"/>
          <p:cNvSpPr/>
          <p:nvPr userDrawn="1"/>
        </p:nvSpPr>
        <p:spPr>
          <a:xfrm>
            <a:off x="437478" y="2590309"/>
            <a:ext cx="1691925" cy="1687739"/>
          </a:xfrm>
          <a:prstGeom prst="ellipse">
            <a:avLst/>
          </a:prstGeom>
          <a:solidFill>
            <a:schemeClr val="accent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7182" b="0" i="0" u="none" strike="noStrike" kern="1200" cap="none" spc="0" normalizeH="0" baseline="0" noProof="0" dirty="0">
              <a:ln>
                <a:noFill/>
              </a:ln>
              <a:solidFill>
                <a:srgbClr val="FFFFFF"/>
              </a:solidFill>
              <a:effectLst/>
              <a:uLnTx/>
              <a:uFillTx/>
              <a:latin typeface="Century Gothic" panose="020F0302020204030204"/>
              <a:ea typeface="Arial" charset="0"/>
              <a:cs typeface="Arial" charset="0"/>
            </a:endParaRPr>
          </a:p>
        </p:txBody>
      </p:sp>
      <p:sp>
        <p:nvSpPr>
          <p:cNvPr id="5" name="Text Placeholder 4"/>
          <p:cNvSpPr>
            <a:spLocks noGrp="1"/>
          </p:cNvSpPr>
          <p:nvPr>
            <p:ph type="body" sz="quarter" idx="10" hasCustomPrompt="1"/>
          </p:nvPr>
        </p:nvSpPr>
        <p:spPr>
          <a:xfrm>
            <a:off x="815750" y="3122194"/>
            <a:ext cx="916668" cy="914400"/>
          </a:xfrm>
        </p:spPr>
        <p:txBody>
          <a:bodyPr anchor="ctr"/>
          <a:lstStyle>
            <a:lvl1pPr marL="0" indent="0" algn="ctr">
              <a:buNone/>
              <a:defRPr sz="9576" b="0">
                <a:solidFill>
                  <a:schemeClr val="bg1"/>
                </a:solidFill>
                <a:latin typeface="+mn-lt"/>
              </a:defRPr>
            </a:lvl1pPr>
            <a:lvl5pPr marL="1824228" indent="0">
              <a:buNone/>
              <a:defRPr/>
            </a:lvl5pPr>
          </a:lstStyle>
          <a:p>
            <a:pPr lvl="0"/>
            <a:r>
              <a:rPr lang="en-US" dirty="0"/>
              <a:t>#</a:t>
            </a:r>
          </a:p>
        </p:txBody>
      </p:sp>
      <p:sp>
        <p:nvSpPr>
          <p:cNvPr id="9" name="Title 1"/>
          <p:cNvSpPr>
            <a:spLocks noGrp="1"/>
          </p:cNvSpPr>
          <p:nvPr>
            <p:ph type="ctrTitle" hasCustomPrompt="1"/>
          </p:nvPr>
        </p:nvSpPr>
        <p:spPr>
          <a:xfrm>
            <a:off x="2517817" y="3233280"/>
            <a:ext cx="9319456" cy="517065"/>
          </a:xfrm>
        </p:spPr>
        <p:txBody>
          <a:bodyPr wrap="square" anchor="ctr" anchorCtr="0">
            <a:spAutoFit/>
          </a:bodyPr>
          <a:lstStyle>
            <a:lvl1pPr>
              <a:lnSpc>
                <a:spcPct val="80000"/>
              </a:lnSpc>
              <a:defRPr sz="419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12187" y="290988"/>
            <a:ext cx="973108" cy="378266"/>
          </a:xfrm>
          <a:prstGeom prst="rect">
            <a:avLst/>
          </a:prstGeom>
        </p:spPr>
      </p:pic>
    </p:spTree>
    <p:extLst>
      <p:ext uri="{BB962C8B-B14F-4D97-AF65-F5344CB8AC3E}">
        <p14:creationId xmlns:p14="http://schemas.microsoft.com/office/powerpoint/2010/main" val="3511395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Blank_DO NOT DELE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48574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Black Background">
    <p:bg bwMode="black">
      <p:bgPr>
        <a:solidFill>
          <a:srgbClr val="000000"/>
        </a:solidFill>
        <a:effectLst/>
      </p:bgPr>
    </p:bg>
    <p:spTree>
      <p:nvGrpSpPr>
        <p:cNvPr id="1" name=""/>
        <p:cNvGrpSpPr/>
        <p:nvPr/>
      </p:nvGrpSpPr>
      <p:grpSpPr>
        <a:xfrm>
          <a:off x="0" y="0"/>
          <a:ext cx="0" cy="0"/>
          <a:chOff x="0" y="0"/>
          <a:chExt cx="0" cy="0"/>
        </a:xfrm>
      </p:grpSpPr>
      <p:sp>
        <p:nvSpPr>
          <p:cNvPr id="10" name="Rectangle 6"/>
          <p:cNvSpPr txBox="1">
            <a:spLocks noChangeArrowheads="1"/>
          </p:cNvSpPr>
          <p:nvPr/>
        </p:nvSpPr>
        <p:spPr bwMode="gray">
          <a:xfrm>
            <a:off x="11320847" y="6629407"/>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2" y="312673"/>
            <a:ext cx="860651" cy="334270"/>
          </a:xfrm>
          <a:prstGeom prst="rect">
            <a:avLst/>
          </a:prstGeom>
        </p:spPr>
      </p:pic>
    </p:spTree>
    <p:extLst>
      <p:ext uri="{BB962C8B-B14F-4D97-AF65-F5344CB8AC3E}">
        <p14:creationId xmlns:p14="http://schemas.microsoft.com/office/powerpoint/2010/main" val="1752637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r="49979"/>
          <a:stretch/>
        </p:blipFill>
        <p:spPr>
          <a:xfrm rot="10800000">
            <a:off x="-1" y="-857"/>
            <a:ext cx="6096000" cy="6858000"/>
          </a:xfrm>
          <a:prstGeom prst="rect">
            <a:avLst/>
          </a:prstGeom>
        </p:spPr>
      </p:pic>
      <p:sp>
        <p:nvSpPr>
          <p:cNvPr id="2" name="Title 1"/>
          <p:cNvSpPr>
            <a:spLocks noGrp="1"/>
          </p:cNvSpPr>
          <p:nvPr>
            <p:ph type="ctrTitle" hasCustomPrompt="1"/>
          </p:nvPr>
        </p:nvSpPr>
        <p:spPr bwMode="gray">
          <a:xfrm>
            <a:off x="427701" y="2889534"/>
            <a:ext cx="5417220" cy="1077218"/>
          </a:xfrm>
        </p:spPr>
        <p:txBody>
          <a:bodyPr wrap="square" tIns="91440" anchor="ctr" anchorCtr="0">
            <a:spAutoFit/>
          </a:bodyPr>
          <a:lstStyle>
            <a:lvl1pPr>
              <a:lnSpc>
                <a:spcPct val="80000"/>
              </a:lnSpc>
              <a:defRPr sz="4000" b="0" cap="all" baseline="0">
                <a:solidFill>
                  <a:schemeClr val="bg1"/>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bwMode="gray">
          <a:xfrm>
            <a:off x="427702" y="5448375"/>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702" y="5759941"/>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702" y="6247689"/>
            <a:ext cx="5424946" cy="193899"/>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3" name="Rectangle 12"/>
          <p:cNvSpPr/>
          <p:nvPr userDrawn="1"/>
        </p:nvSpPr>
        <p:spPr>
          <a:xfrm>
            <a:off x="606856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83956" y="2914006"/>
            <a:ext cx="4947522" cy="1029990"/>
          </a:xfrm>
          <a:prstGeom prst="rect">
            <a:avLst/>
          </a:prstGeom>
        </p:spPr>
      </p:pic>
    </p:spTree>
    <p:extLst>
      <p:ext uri="{BB962C8B-B14F-4D97-AF65-F5344CB8AC3E}">
        <p14:creationId xmlns:p14="http://schemas.microsoft.com/office/powerpoint/2010/main" val="3920330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7579" y="1222375"/>
            <a:ext cx="11471932" cy="4956048"/>
          </a:xfrm>
        </p:spPr>
        <p:txBody>
          <a:bodyPr>
            <a:normAutofit/>
          </a:bodyPr>
          <a:lstStyle>
            <a:lvl1pPr marL="273582" indent="-273582">
              <a:lnSpc>
                <a:spcPct val="90000"/>
              </a:lnSpc>
              <a:spcBef>
                <a:spcPts val="2139"/>
              </a:spcBef>
              <a:buClr>
                <a:schemeClr val="tx1"/>
              </a:buClr>
              <a:defRPr sz="2200" b="0">
                <a:solidFill>
                  <a:schemeClr val="tx1"/>
                </a:solidFill>
                <a:latin typeface="Calibri" panose="020F0502020204030204" pitchFamily="34" charset="0"/>
                <a:cs typeface="Calibri" panose="020F0502020204030204" pitchFamily="34" charset="0"/>
              </a:defRPr>
            </a:lvl1pPr>
            <a:lvl2pPr marL="813195" indent="-271694">
              <a:lnSpc>
                <a:spcPct val="90000"/>
              </a:lnSpc>
              <a:spcBef>
                <a:spcPts val="0"/>
              </a:spcBef>
              <a:spcAft>
                <a:spcPts val="238"/>
              </a:spcAft>
              <a:defRPr sz="2000" b="0">
                <a:solidFill>
                  <a:schemeClr val="tx1"/>
                </a:solidFill>
                <a:latin typeface="Calibri" panose="020F0502020204030204" pitchFamily="34" charset="0"/>
                <a:cs typeface="Calibri" panose="020F0502020204030204" pitchFamily="34" charset="0"/>
              </a:defRPr>
            </a:lvl2pPr>
            <a:lvl3pPr marL="1358470" indent="-271694">
              <a:lnSpc>
                <a:spcPct val="90000"/>
              </a:lnSpc>
              <a:spcBef>
                <a:spcPts val="0"/>
              </a:spcBef>
              <a:spcAft>
                <a:spcPts val="238"/>
              </a:spcAft>
              <a:defRPr sz="1800" b="0">
                <a:solidFill>
                  <a:schemeClr val="tx1"/>
                </a:solidFill>
                <a:latin typeface="Calibri" panose="020F0502020204030204" pitchFamily="34" charset="0"/>
                <a:cs typeface="Calibri" panose="020F0502020204030204" pitchFamily="34" charset="0"/>
              </a:defRPr>
            </a:lvl3pPr>
            <a:lvl4pPr marL="1901952" indent="-271694">
              <a:lnSpc>
                <a:spcPct val="90000"/>
              </a:lnSpc>
              <a:defRPr sz="1600" b="0">
                <a:solidFill>
                  <a:schemeClr val="tx1"/>
                </a:solidFill>
                <a:latin typeface="Calibri" panose="020F0502020204030204" pitchFamily="34" charset="0"/>
                <a:cs typeface="Calibri" panose="020F0502020204030204" pitchFamily="34" charset="0"/>
              </a:defRPr>
            </a:lvl4pPr>
            <a:lvl5pPr marL="2441448" indent="-271694">
              <a:lnSpc>
                <a:spcPct val="90000"/>
              </a:lnSpc>
              <a:defRPr sz="1400" b="0" baseline="0">
                <a:solidFill>
                  <a:schemeClr val="tx1"/>
                </a:solidFill>
                <a:latin typeface="Calibri" panose="020F0502020204030204" pitchFamily="34" charset="0"/>
                <a:cs typeface="Calibri" panose="020F0502020204030204" pitchFamily="34" charset="0"/>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a:xfrm>
            <a:off x="411480" y="347472"/>
            <a:ext cx="9601200"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140130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Full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9548" y="1"/>
            <a:ext cx="12201549" cy="6858000"/>
          </a:xfrm>
        </p:spPr>
        <p:txBody>
          <a:bodyPr anchor="ctr"/>
          <a:lstStyle>
            <a:lvl1pPr marL="0" indent="0" algn="ctr">
              <a:buFontTx/>
              <a:buNone/>
              <a:defRPr baseline="0">
                <a:solidFill>
                  <a:schemeClr val="tx1"/>
                </a:solidFill>
                <a:latin typeface="+mn-lt"/>
              </a:defRPr>
            </a:lvl1pPr>
          </a:lstStyle>
          <a:p>
            <a:r>
              <a:rPr lang="en-US" dirty="0"/>
              <a:t>Click icon to add picture</a:t>
            </a:r>
          </a:p>
        </p:txBody>
      </p:sp>
      <p:sp>
        <p:nvSpPr>
          <p:cNvPr id="5" name="Text Placeholder 33"/>
          <p:cNvSpPr>
            <a:spLocks noGrp="1"/>
          </p:cNvSpPr>
          <p:nvPr>
            <p:ph type="body" sz="quarter" idx="18" hasCustomPrompt="1"/>
          </p:nvPr>
        </p:nvSpPr>
        <p:spPr>
          <a:xfrm>
            <a:off x="-9548" y="5033360"/>
            <a:ext cx="12201549" cy="902866"/>
          </a:xfrm>
          <a:solidFill>
            <a:srgbClr val="000000">
              <a:alpha val="90000"/>
            </a:srgbClr>
          </a:solidFill>
        </p:spPr>
        <p:txBody>
          <a:bodyPr anchor="ctr"/>
          <a:lstStyle>
            <a:lvl1pPr marL="0" indent="0" algn="ctr">
              <a:buNone/>
              <a:defRPr/>
            </a:lvl1pPr>
          </a:lstStyle>
          <a:p>
            <a:pPr lvl="0"/>
            <a:r>
              <a:rPr lang="en-US" dirty="0"/>
              <a:t> </a:t>
            </a:r>
          </a:p>
        </p:txBody>
      </p:sp>
      <p:sp>
        <p:nvSpPr>
          <p:cNvPr id="6" name="Text Placeholder 29"/>
          <p:cNvSpPr>
            <a:spLocks noGrp="1"/>
          </p:cNvSpPr>
          <p:nvPr>
            <p:ph type="body" sz="quarter" idx="16" hasCustomPrompt="1"/>
          </p:nvPr>
        </p:nvSpPr>
        <p:spPr bwMode="gray">
          <a:xfrm>
            <a:off x="293192" y="5239526"/>
            <a:ext cx="11605619" cy="490537"/>
          </a:xfrm>
        </p:spPr>
        <p:txBody>
          <a:bodyPr anchor="ctr">
            <a:normAutofit/>
          </a:bodyPr>
          <a:lstStyle>
            <a:lvl1pPr marL="0" indent="0" algn="ctr">
              <a:lnSpc>
                <a:spcPct val="90000"/>
              </a:lnSpc>
              <a:buNone/>
              <a:defRPr sz="3200" baseline="0">
                <a:solidFill>
                  <a:schemeClr val="bg1"/>
                </a:solidFill>
                <a:latin typeface="+mn-lt"/>
              </a:defRPr>
            </a:lvl1pPr>
          </a:lstStyle>
          <a:p>
            <a:pPr lvl="0"/>
            <a:r>
              <a:rPr lang="en-US" dirty="0"/>
              <a:t>Click to add text</a:t>
            </a:r>
          </a:p>
        </p:txBody>
      </p:sp>
    </p:spTree>
    <p:extLst>
      <p:ext uri="{BB962C8B-B14F-4D97-AF65-F5344CB8AC3E}">
        <p14:creationId xmlns:p14="http://schemas.microsoft.com/office/powerpoint/2010/main" val="386705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a:ext>
            </a:extLst>
          </a:blip>
          <a:srcRect l="650" t="650"/>
          <a:stretch/>
        </p:blipFill>
        <p:spPr>
          <a:xfrm rot="10800000">
            <a:off x="1" y="0"/>
            <a:ext cx="2586914" cy="6857999"/>
          </a:xfrm>
          <a:prstGeom prst="rect">
            <a:avLst/>
          </a:pr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650" t="650"/>
          <a:stretch/>
        </p:blipFill>
        <p:spPr>
          <a:xfrm>
            <a:off x="9602618" y="0"/>
            <a:ext cx="2586914" cy="6857999"/>
          </a:xfrm>
          <a:prstGeom prst="rect">
            <a:avLst/>
          </a:prstGeom>
        </p:spPr>
      </p:pic>
      <p:sp>
        <p:nvSpPr>
          <p:cNvPr id="6"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2" name="Rectangle 1"/>
          <p:cNvSpPr/>
          <p:nvPr userDrawn="1"/>
        </p:nvSpPr>
        <p:spPr bwMode="gray">
          <a:xfrm>
            <a:off x="2585546" y="0"/>
            <a:ext cx="70209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itle 21"/>
          <p:cNvSpPr>
            <a:spLocks noGrp="1"/>
          </p:cNvSpPr>
          <p:nvPr>
            <p:ph type="title" hasCustomPrompt="1"/>
          </p:nvPr>
        </p:nvSpPr>
        <p:spPr>
          <a:xfrm>
            <a:off x="2984942" y="627503"/>
            <a:ext cx="6222120" cy="344710"/>
          </a:xfrm>
        </p:spPr>
        <p:txBody>
          <a:bodyPr wrap="square" anchor="ctr">
            <a:spAutoFit/>
          </a:bodyPr>
          <a:lstStyle>
            <a:lvl1pPr algn="l">
              <a:lnSpc>
                <a:spcPct val="80000"/>
              </a:lnSpc>
              <a:defRPr sz="2800">
                <a:solidFill>
                  <a:schemeClr val="bg2"/>
                </a:solidFill>
                <a:latin typeface="+mn-lt"/>
              </a:defRPr>
            </a:lvl1pPr>
          </a:lstStyle>
          <a:p>
            <a:r>
              <a:rPr lang="en-US" dirty="0"/>
              <a:t>Click to add agenda title</a:t>
            </a:r>
          </a:p>
        </p:txBody>
      </p:sp>
      <p:sp>
        <p:nvSpPr>
          <p:cNvPr id="20" name="Content Placeholder 3"/>
          <p:cNvSpPr>
            <a:spLocks noGrp="1"/>
          </p:cNvSpPr>
          <p:nvPr>
            <p:ph sz="half" idx="2" hasCustomPrompt="1"/>
          </p:nvPr>
        </p:nvSpPr>
        <p:spPr>
          <a:xfrm>
            <a:off x="2984942" y="1334813"/>
            <a:ext cx="6222120" cy="5145885"/>
          </a:xfrm>
        </p:spPr>
        <p:txBody>
          <a:bodyPr anchor="t">
            <a:normAutofit/>
          </a:bodyPr>
          <a:lstStyle>
            <a:lvl1pPr marL="457200" indent="-457200">
              <a:buClr>
                <a:schemeClr val="tx1"/>
              </a:buClr>
              <a:buFont typeface="+mj-lt"/>
              <a:buAutoNum type="arabicPeriod"/>
              <a:defRPr sz="2200">
                <a:solidFill>
                  <a:schemeClr val="tx1"/>
                </a:solidFill>
                <a:latin typeface="Calibri" panose="020F0502020204030204" pitchFamily="34" charset="0"/>
                <a:cs typeface="Calibri" panose="020F0502020204030204" pitchFamily="34" charset="0"/>
              </a:defRPr>
            </a:lvl1pPr>
            <a:lvl2pPr>
              <a:buClr>
                <a:schemeClr val="tx1">
                  <a:lumMod val="75000"/>
                </a:schemeClr>
              </a:buClr>
              <a:defRPr sz="2000">
                <a:solidFill>
                  <a:schemeClr val="tx1"/>
                </a:solidFill>
                <a:latin typeface="Calibri" panose="020F0502020204030204" pitchFamily="34" charset="0"/>
                <a:cs typeface="Calibri" panose="020F0502020204030204" pitchFamily="34" charset="0"/>
              </a:defRPr>
            </a:lvl2pPr>
            <a:lvl3pPr>
              <a:buClr>
                <a:schemeClr val="tx1">
                  <a:lumMod val="75000"/>
                </a:schemeClr>
              </a:buClr>
              <a:defRPr sz="1800">
                <a:solidFill>
                  <a:schemeClr val="tx1"/>
                </a:solidFill>
                <a:latin typeface="Calibri" panose="020F0502020204030204" pitchFamily="34" charset="0"/>
                <a:cs typeface="Calibri" panose="020F0502020204030204" pitchFamily="34" charset="0"/>
              </a:defRPr>
            </a:lvl3pPr>
            <a:lvl4pPr>
              <a:buClr>
                <a:schemeClr val="tx1">
                  <a:lumMod val="75000"/>
                </a:schemeClr>
              </a:buClr>
              <a:defRPr sz="1600" baseline="0">
                <a:solidFill>
                  <a:schemeClr val="tx1"/>
                </a:solidFill>
                <a:latin typeface="Calibri" panose="020F0502020204030204" pitchFamily="34" charset="0"/>
                <a:cs typeface="Calibri" panose="020F0502020204030204" pitchFamily="34" charset="0"/>
              </a:defRPr>
            </a:lvl4pPr>
            <a:lvl5pPr>
              <a:buClr>
                <a:schemeClr val="tx1">
                  <a:lumMod val="75000"/>
                </a:schemeClr>
              </a:buClr>
              <a:defRPr sz="1400">
                <a:solidFill>
                  <a:schemeClr val="tx1"/>
                </a:solidFill>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960261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Rectangle 12"/>
          <p:cNvSpPr/>
          <p:nvPr userDrawn="1"/>
        </p:nvSpPr>
        <p:spPr>
          <a:xfrm>
            <a:off x="2534520"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4432" y="316082"/>
            <a:ext cx="1589273" cy="330860"/>
          </a:xfrm>
          <a:prstGeom prst="rect">
            <a:avLst/>
          </a:prstGeom>
        </p:spPr>
      </p:pic>
      <p:pic>
        <p:nvPicPr>
          <p:cNvPr id="21" name="Picture 2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897499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Gree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6943" y="3133535"/>
            <a:ext cx="10186176" cy="590931"/>
          </a:xfrm>
        </p:spPr>
        <p:txBody>
          <a:bodyPr wrap="square" anchor="ct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4432" y="316082"/>
            <a:ext cx="1589273" cy="330860"/>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4048723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Green Color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l="65236"/>
          <a:stretch/>
        </p:blipFill>
        <p:spPr>
          <a:xfrm>
            <a:off x="0" y="-1"/>
            <a:ext cx="4236684" cy="6858000"/>
          </a:xfrm>
          <a:prstGeom prst="rect">
            <a:avLst/>
          </a:prstGeom>
        </p:spPr>
      </p:pic>
      <p:sp>
        <p:nvSpPr>
          <p:cNvPr id="10" name="Content Placeholder 3"/>
          <p:cNvSpPr>
            <a:spLocks noGrp="1"/>
          </p:cNvSpPr>
          <p:nvPr>
            <p:ph sz="half" idx="2" hasCustomPrompt="1"/>
          </p:nvPr>
        </p:nvSpPr>
        <p:spPr>
          <a:xfrm>
            <a:off x="4694637" y="772358"/>
            <a:ext cx="7082577" cy="5477522"/>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30546" y="2984944"/>
            <a:ext cx="3271299" cy="886397"/>
          </a:xfrm>
        </p:spPr>
        <p:txBody>
          <a:bodyPr wrap="square"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7192" y="316082"/>
            <a:ext cx="1586386" cy="33025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719599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2606886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Only - No Footer">
    <p:spTree>
      <p:nvGrpSpPr>
        <p:cNvPr id="1" name=""/>
        <p:cNvGrpSpPr/>
        <p:nvPr/>
      </p:nvGrpSpPr>
      <p:grpSpPr>
        <a:xfrm>
          <a:off x="0" y="0"/>
          <a:ext cx="0" cy="0"/>
          <a:chOff x="0" y="0"/>
          <a:chExt cx="0" cy="0"/>
        </a:xfrm>
      </p:grpSpPr>
      <p:sp>
        <p:nvSpPr>
          <p:cNvPr id="2" name="Rectangle 1"/>
          <p:cNvSpPr/>
          <p:nvPr/>
        </p:nvSpPr>
        <p:spPr bwMode="gray">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schemeClr val="bg1"/>
              </a:solidFill>
            </a:endParaRPr>
          </a:p>
        </p:txBody>
      </p:sp>
      <p:sp>
        <p:nvSpPr>
          <p:cNvPr id="8" name="Title 7"/>
          <p:cNvSpPr>
            <a:spLocks noGrp="1"/>
          </p:cNvSpPr>
          <p:nvPr>
            <p:ph type="title" hasCustomPrompt="1"/>
          </p:nvPr>
        </p:nvSpPr>
        <p:spPr/>
        <p:txBody>
          <a:bodyPr/>
          <a:lstStyle>
            <a:lvl1pPr>
              <a:defRPr/>
            </a:lvl1pPr>
          </a:lstStyle>
          <a:p>
            <a:r>
              <a:rPr lang="en-US" dirty="0"/>
              <a:t>Click to add title</a:t>
            </a:r>
          </a:p>
        </p:txBody>
      </p:sp>
      <p:sp>
        <p:nvSpPr>
          <p:cNvPr id="5"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148638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33715" y="1222375"/>
            <a:ext cx="5430358" cy="4956048"/>
          </a:xfrm>
        </p:spPr>
        <p:txBody>
          <a:bodyPr/>
          <a:lstStyle>
            <a:lvl1pPr>
              <a:defRPr sz="2200"/>
            </a:lvl1pPr>
            <a:lvl2pPr>
              <a:defRPr sz="2000"/>
            </a:lvl2pPr>
            <a:lvl3pPr>
              <a:defRPr sz="1800"/>
            </a:lvl3pPr>
            <a:lvl4pPr>
              <a:defRPr sz="1600"/>
            </a:lvl4pPr>
            <a:lvl5pPr>
              <a:defRPr sz="1400" baseline="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21143" y="1222375"/>
            <a:ext cx="5431536" cy="4956048"/>
          </a:xfrm>
        </p:spPr>
        <p:txBody>
          <a:bodyPr/>
          <a:lstStyle>
            <a:lvl1pPr>
              <a:defRPr sz="2200"/>
            </a:lvl1pPr>
            <a:lvl2pPr>
              <a:defRPr sz="2000"/>
            </a:lvl2pPr>
            <a:lvl3pPr>
              <a:defRPr sz="1800"/>
            </a:lvl3pPr>
            <a:lvl4pPr>
              <a:defRPr sz="1600"/>
            </a:lvl4pPr>
            <a:lvl5pPr>
              <a:defRPr sz="140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p:cNvSpPr>
            <a:spLocks noGrp="1"/>
          </p:cNvSpPr>
          <p:nvPr>
            <p:ph type="title" hasCustomPrompt="1"/>
          </p:nvPr>
        </p:nvSpPr>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3786896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33715" y="1222375"/>
            <a:ext cx="3526818" cy="4956048"/>
          </a:xfrm>
        </p:spPr>
        <p:txBody>
          <a:bodyPr/>
          <a:lstStyle>
            <a:lvl1pPr>
              <a:defRPr sz="2200"/>
            </a:lvl1pPr>
            <a:lvl2pPr>
              <a:defRPr sz="2000"/>
            </a:lvl2pPr>
            <a:lvl3pPr>
              <a:defRPr sz="1800"/>
            </a:lvl3pPr>
            <a:lvl4pPr>
              <a:defRPr sz="1600"/>
            </a:lvl4pPr>
            <a:lvl5pPr>
              <a:defRPr sz="1400" baseline="0"/>
            </a:lvl5pPr>
            <a:lvl6pPr>
              <a:defRPr sz="1900"/>
            </a:lvl6pPr>
            <a:lvl7pPr>
              <a:defRPr sz="1900"/>
            </a:lvl7pPr>
            <a:lvl8pPr>
              <a:defRPr sz="1900"/>
            </a:lvl8pPr>
            <a:lvl9pPr>
              <a:defRPr sz="19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4"/>
          <p:cNvSpPr>
            <a:spLocks noGrp="1"/>
          </p:cNvSpPr>
          <p:nvPr>
            <p:ph type="title" hasCustomPrompt="1"/>
          </p:nvPr>
        </p:nvSpPr>
        <p:spPr/>
        <p:txBody>
          <a:bodyPr/>
          <a:lstStyle>
            <a:lvl1pPr>
              <a:defRPr/>
            </a:lvl1pPr>
          </a:lstStyle>
          <a:p>
            <a:r>
              <a:rPr lang="en-US" dirty="0"/>
              <a:t>Click to add title</a:t>
            </a:r>
          </a:p>
        </p:txBody>
      </p:sp>
      <p:sp>
        <p:nvSpPr>
          <p:cNvPr id="20" name="Content Placeholder 19"/>
          <p:cNvSpPr>
            <a:spLocks noGrp="1"/>
          </p:cNvSpPr>
          <p:nvPr>
            <p:ph sz="quarter" idx="15" hasCustomPrompt="1"/>
          </p:nvPr>
        </p:nvSpPr>
        <p:spPr>
          <a:xfrm>
            <a:off x="4334936" y="1222375"/>
            <a:ext cx="3531780" cy="4956048"/>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241120" y="1222375"/>
            <a:ext cx="3531780" cy="4956048"/>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299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0530" y="1222375"/>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1"/>
          <p:cNvSpPr>
            <a:spLocks noGrp="1"/>
          </p:cNvSpPr>
          <p:nvPr>
            <p:ph sz="quarter" idx="16" hasCustomPrompt="1"/>
          </p:nvPr>
        </p:nvSpPr>
        <p:spPr>
          <a:xfrm>
            <a:off x="6470140" y="1222375"/>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1"/>
          <p:cNvSpPr>
            <a:spLocks noGrp="1"/>
          </p:cNvSpPr>
          <p:nvPr>
            <p:ph sz="quarter" idx="20" hasCustomPrompt="1"/>
          </p:nvPr>
        </p:nvSpPr>
        <p:spPr>
          <a:xfrm>
            <a:off x="6470140" y="3808383"/>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11"/>
          <p:cNvSpPr>
            <a:spLocks noGrp="1"/>
          </p:cNvSpPr>
          <p:nvPr>
            <p:ph sz="quarter" idx="19" hasCustomPrompt="1"/>
          </p:nvPr>
        </p:nvSpPr>
        <p:spPr>
          <a:xfrm>
            <a:off x="430530" y="3808383"/>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108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One Over One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1757" y="1222375"/>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p:cNvSpPr>
            <a:spLocks noGrp="1"/>
          </p:cNvSpPr>
          <p:nvPr>
            <p:ph sz="quarter" idx="19" hasCustomPrompt="1"/>
          </p:nvPr>
        </p:nvSpPr>
        <p:spPr>
          <a:xfrm>
            <a:off x="431757" y="3808382"/>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062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650666" y="1222375"/>
            <a:ext cx="7122234" cy="4956048"/>
          </a:xfrm>
        </p:spPr>
        <p:txBody>
          <a:bodyPr/>
          <a:lstStyle>
            <a:lvl1pPr>
              <a:defRPr sz="2200"/>
            </a:lvl1pPr>
            <a:lvl2pPr>
              <a:defRPr sz="2000"/>
            </a:lvl2pPr>
            <a:lvl3pPr>
              <a:defRPr sz="1800"/>
            </a:lvl3pPr>
            <a:lvl4pPr>
              <a:defRPr sz="1600"/>
            </a:lvl4pPr>
            <a:lvl5pPr>
              <a:defRPr sz="1400" baseline="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hasCustomPrompt="1"/>
          </p:nvPr>
        </p:nvSpPr>
        <p:spPr>
          <a:xfrm>
            <a:off x="433715" y="1222375"/>
            <a:ext cx="3866348" cy="4956048"/>
          </a:xfrm>
        </p:spPr>
        <p:txBody>
          <a:bodyPr/>
          <a:lstStyle>
            <a:lvl1pPr>
              <a:defRPr sz="2200"/>
            </a:lvl1pPr>
            <a:lvl2pPr>
              <a:defRPr sz="2000"/>
            </a:lvl2pPr>
            <a:lvl3pPr>
              <a:defRPr sz="1800"/>
            </a:lvl3pPr>
            <a:lvl4pPr>
              <a:defRPr sz="1600"/>
            </a:lvl4pPr>
            <a:lvl5pPr>
              <a:defRPr sz="140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3645913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 Full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18859" y="0"/>
            <a:ext cx="6073141" cy="6857999"/>
          </a:xfrm>
        </p:spPr>
        <p:txBody>
          <a:bodyPr anchor="ctr"/>
          <a:lstStyle>
            <a:lvl1pPr marL="0" indent="0" algn="ctr">
              <a:buNone/>
              <a:defRPr>
                <a:solidFill>
                  <a:schemeClr val="tx1"/>
                </a:solidFill>
                <a:latin typeface="+mn-lt"/>
              </a:defRPr>
            </a:lvl1pPr>
          </a:lstStyle>
          <a:p>
            <a:r>
              <a:rPr lang="en-US" dirty="0"/>
              <a:t>Click icon to add picture</a:t>
            </a:r>
          </a:p>
        </p:txBody>
      </p:sp>
      <p:sp>
        <p:nvSpPr>
          <p:cNvPr id="7" name="Picture Placeholder 3"/>
          <p:cNvSpPr>
            <a:spLocks noGrp="1"/>
          </p:cNvSpPr>
          <p:nvPr>
            <p:ph type="pic" sz="quarter" idx="12"/>
          </p:nvPr>
        </p:nvSpPr>
        <p:spPr>
          <a:xfrm>
            <a:off x="1" y="1"/>
            <a:ext cx="6073140"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9" name="Text Placeholder 33"/>
          <p:cNvSpPr>
            <a:spLocks noGrp="1"/>
          </p:cNvSpPr>
          <p:nvPr>
            <p:ph type="body" sz="quarter" idx="18" hasCustomPrompt="1"/>
          </p:nvPr>
        </p:nvSpPr>
        <p:spPr>
          <a:xfrm>
            <a:off x="-9548"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387496"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498774" y="5015592"/>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73141" y="0"/>
            <a:ext cx="45719" cy="6858000"/>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242323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Content &amp; Image">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a:xfrm>
            <a:off x="4610587" y="1220583"/>
            <a:ext cx="7150883" cy="4956048"/>
          </a:xfrm>
        </p:spPr>
        <p:txBody>
          <a:bodyPr anchor="ctr"/>
          <a:lstStyle>
            <a:lvl1pPr marL="0" indent="0" algn="ctr">
              <a:buNone/>
              <a:defRPr>
                <a:solidFill>
                  <a:schemeClr val="tx1"/>
                </a:solidFill>
                <a:latin typeface="+mn-lt"/>
              </a:defRPr>
            </a:lvl1pPr>
          </a:lstStyle>
          <a:p>
            <a:r>
              <a:rPr lang="en-US" dirty="0"/>
              <a:t>Click icon to add picture</a:t>
            </a:r>
          </a:p>
        </p:txBody>
      </p:sp>
      <p:sp>
        <p:nvSpPr>
          <p:cNvPr id="8" name="Content Placeholder 2"/>
          <p:cNvSpPr>
            <a:spLocks noGrp="1"/>
          </p:cNvSpPr>
          <p:nvPr>
            <p:ph idx="13" hasCustomPrompt="1"/>
          </p:nvPr>
        </p:nvSpPr>
        <p:spPr>
          <a:xfrm>
            <a:off x="431756" y="1220583"/>
            <a:ext cx="3866395" cy="4956048"/>
          </a:xfrm>
        </p:spPr>
        <p:txBody>
          <a:bodyPr>
            <a:normAutofit/>
          </a:bodyPr>
          <a:lstStyle>
            <a:lvl1pPr>
              <a:defRPr sz="2200"/>
            </a:lvl1pPr>
            <a:lvl2pPr>
              <a:defRPr sz="2000"/>
            </a:lvl2pPr>
            <a:lvl3pPr>
              <a:defRPr sz="1800"/>
            </a:lvl3pPr>
            <a:lvl4pPr>
              <a:defRPr sz="1600"/>
            </a:lvl4pPr>
            <a:lvl5pPr>
              <a:defRPr sz="1400" baseline="0"/>
            </a:lvl5pPr>
            <a:lvl6pPr>
              <a:defRPr sz="2000"/>
            </a:lvl6pPr>
            <a:lvl7pPr>
              <a:defRPr sz="2000"/>
            </a:lvl7pPr>
            <a:lvl8pPr>
              <a:defRPr sz="2000"/>
            </a:lvl8pPr>
            <a:lvl9pPr>
              <a:defRPr sz="20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a:xfrm>
            <a:off x="411480" y="347471"/>
            <a:ext cx="9601200" cy="347472"/>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1342916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mp; 1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9101" y="1220583"/>
            <a:ext cx="11353800" cy="4979800"/>
          </a:xfrm>
        </p:spPr>
        <p:txBody>
          <a:bodyPr anchor="ctr"/>
          <a:lstStyle>
            <a:lvl1pPr marL="0" indent="0" algn="ctr">
              <a:buFontTx/>
              <a:buNone/>
              <a:defRPr baseline="0">
                <a:solidFill>
                  <a:schemeClr val="tx1"/>
                </a:solidFill>
                <a:latin typeface="+mn-lt"/>
              </a:defRPr>
            </a:lvl1pPr>
          </a:lstStyle>
          <a:p>
            <a:r>
              <a:rPr lang="en-US" dirty="0"/>
              <a:t>Click icon to add picture</a:t>
            </a:r>
          </a:p>
        </p:txBody>
      </p:sp>
      <p:sp>
        <p:nvSpPr>
          <p:cNvPr id="2" name="Title 1"/>
          <p:cNvSpPr>
            <a:spLocks noGrp="1"/>
          </p:cNvSpPr>
          <p:nvPr>
            <p:ph type="title" hasCustomPrompt="1"/>
          </p:nvPr>
        </p:nvSpPr>
        <p:spPr>
          <a:xfrm>
            <a:off x="411480" y="347472"/>
            <a:ext cx="9601200"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33029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amp; 2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32203" y="1024137"/>
            <a:ext cx="6059797" cy="5480643"/>
          </a:xfrm>
        </p:spPr>
        <p:txBody>
          <a:bodyPr anchor="ctr"/>
          <a:lstStyle>
            <a:lvl1pPr marL="0" indent="0" algn="ctr">
              <a:buNone/>
              <a:defRPr>
                <a:solidFill>
                  <a:schemeClr val="tx1"/>
                </a:solidFill>
                <a:latin typeface="+mn-lt"/>
              </a:defRPr>
            </a:lvl1pPr>
          </a:lstStyle>
          <a:p>
            <a:r>
              <a:rPr lang="en-US" dirty="0"/>
              <a:t>Click icon to add picture</a:t>
            </a:r>
          </a:p>
        </p:txBody>
      </p:sp>
      <p:sp>
        <p:nvSpPr>
          <p:cNvPr id="7" name="Picture Placeholder 3"/>
          <p:cNvSpPr>
            <a:spLocks noGrp="1"/>
          </p:cNvSpPr>
          <p:nvPr>
            <p:ph type="pic" sz="quarter" idx="12"/>
          </p:nvPr>
        </p:nvSpPr>
        <p:spPr>
          <a:xfrm>
            <a:off x="3047" y="1024137"/>
            <a:ext cx="6081233" cy="5480643"/>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2" name="Title 11"/>
          <p:cNvSpPr>
            <a:spLocks noGrp="1"/>
          </p:cNvSpPr>
          <p:nvPr>
            <p:ph type="title" hasCustomPrompt="1"/>
          </p:nvPr>
        </p:nvSpPr>
        <p:spPr>
          <a:xfrm>
            <a:off x="411480" y="347472"/>
            <a:ext cx="9601200"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9" name="Text Placeholder 33"/>
          <p:cNvSpPr>
            <a:spLocks noGrp="1"/>
          </p:cNvSpPr>
          <p:nvPr>
            <p:ph type="body" sz="quarter" idx="18" hasCustomPrompt="1"/>
          </p:nvPr>
        </p:nvSpPr>
        <p:spPr>
          <a:xfrm>
            <a:off x="-9548"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387496"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498774" y="5015592"/>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86203" y="1024137"/>
            <a:ext cx="45719" cy="5480643"/>
          </a:xfrm>
          <a:solidFill>
            <a:schemeClr val="tx2">
              <a:lumMod val="75000"/>
            </a:schemeClr>
          </a:solidFill>
        </p:spPr>
        <p:txBody>
          <a:bodyPr/>
          <a:lstStyle>
            <a:lvl1pPr marL="0" indent="0">
              <a:buNone/>
              <a:defRPr/>
            </a:lvl1pPr>
          </a:lstStyle>
          <a:p>
            <a:pPr lvl="0"/>
            <a:r>
              <a:rPr lang="en-US" dirty="0"/>
              <a:t> </a:t>
            </a:r>
          </a:p>
        </p:txBody>
      </p:sp>
      <p:sp>
        <p:nvSpPr>
          <p:cNvPr id="20" name="Text Placeholder 2"/>
          <p:cNvSpPr>
            <a:spLocks noGrp="1"/>
          </p:cNvSpPr>
          <p:nvPr>
            <p:ph type="body" sz="quarter" idx="21" hasCustomPrompt="1"/>
          </p:nvPr>
        </p:nvSpPr>
        <p:spPr>
          <a:xfrm rot="5400000">
            <a:off x="6074664" y="-5093199"/>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453775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1024128"/>
            <a:ext cx="4042250"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5" name="Picture Placeholder 25"/>
          <p:cNvSpPr>
            <a:spLocks noGrp="1"/>
          </p:cNvSpPr>
          <p:nvPr>
            <p:ph type="pic" sz="quarter" idx="14"/>
          </p:nvPr>
        </p:nvSpPr>
        <p:spPr>
          <a:xfrm>
            <a:off x="8159299" y="1024128"/>
            <a:ext cx="4032702"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6" name="Picture Placeholder 6"/>
          <p:cNvSpPr>
            <a:spLocks noGrp="1"/>
          </p:cNvSpPr>
          <p:nvPr>
            <p:ph type="pic" sz="quarter" idx="13"/>
          </p:nvPr>
        </p:nvSpPr>
        <p:spPr>
          <a:xfrm>
            <a:off x="4078854" y="1024128"/>
            <a:ext cx="4034293"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2" name="Title 11"/>
          <p:cNvSpPr>
            <a:spLocks noGrp="1"/>
          </p:cNvSpPr>
          <p:nvPr>
            <p:ph type="title" hasCustomPrompt="1"/>
          </p:nvPr>
        </p:nvSpPr>
        <p:spPr>
          <a:xfrm>
            <a:off x="411480" y="347472"/>
            <a:ext cx="9601200"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16" name="Text Placeholder 33"/>
          <p:cNvSpPr>
            <a:spLocks noGrp="1"/>
          </p:cNvSpPr>
          <p:nvPr>
            <p:ph type="body" sz="quarter" idx="18" hasCustomPrompt="1"/>
          </p:nvPr>
        </p:nvSpPr>
        <p:spPr>
          <a:xfrm>
            <a:off x="-9548"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4254709" y="5011670"/>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bwMode="gray">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1" y="1024128"/>
            <a:ext cx="45719" cy="5480652"/>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6" y="1024128"/>
            <a:ext cx="47866" cy="5480652"/>
          </a:xfrm>
          <a:solidFill>
            <a:schemeClr val="tx2">
              <a:lumMod val="75000"/>
            </a:schemeClr>
          </a:solidFill>
        </p:spPr>
        <p:txBody>
          <a:bodyPr/>
          <a:lstStyle>
            <a:lvl1pPr marL="0" indent="0">
              <a:buNone/>
              <a:defRPr baseline="0"/>
            </a:lvl1pPr>
          </a:lstStyle>
          <a:p>
            <a:pPr lvl="0"/>
            <a:r>
              <a:rPr lang="en-US" dirty="0"/>
              <a:t> </a:t>
            </a:r>
          </a:p>
        </p:txBody>
      </p:sp>
      <p:sp>
        <p:nvSpPr>
          <p:cNvPr id="20" name="Text Placeholder 2"/>
          <p:cNvSpPr>
            <a:spLocks noGrp="1"/>
          </p:cNvSpPr>
          <p:nvPr>
            <p:ph type="body" sz="quarter" idx="21" hasCustomPrompt="1"/>
          </p:nvPr>
        </p:nvSpPr>
        <p:spPr>
          <a:xfrm rot="5400000">
            <a:off x="6074664" y="-5093208"/>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10307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Full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9548" y="1"/>
            <a:ext cx="12201549" cy="6858000"/>
          </a:xfrm>
        </p:spPr>
        <p:txBody>
          <a:bodyPr anchor="ctr"/>
          <a:lstStyle>
            <a:lvl1pPr marL="0" indent="0" algn="ctr">
              <a:buFontTx/>
              <a:buNone/>
              <a:defRPr baseline="0">
                <a:solidFill>
                  <a:schemeClr val="tx1"/>
                </a:solidFill>
                <a:latin typeface="+mn-lt"/>
              </a:defRPr>
            </a:lvl1pPr>
          </a:lstStyle>
          <a:p>
            <a:r>
              <a:rPr lang="en-US" dirty="0"/>
              <a:t>Click icon to add picture</a:t>
            </a:r>
          </a:p>
        </p:txBody>
      </p:sp>
      <p:sp>
        <p:nvSpPr>
          <p:cNvPr id="5" name="Text Placeholder 33"/>
          <p:cNvSpPr>
            <a:spLocks noGrp="1"/>
          </p:cNvSpPr>
          <p:nvPr>
            <p:ph type="body" sz="quarter" idx="18" hasCustomPrompt="1"/>
          </p:nvPr>
        </p:nvSpPr>
        <p:spPr>
          <a:xfrm>
            <a:off x="-9548" y="5033360"/>
            <a:ext cx="12201549" cy="902866"/>
          </a:xfrm>
          <a:solidFill>
            <a:srgbClr val="000000">
              <a:alpha val="90000"/>
            </a:srgbClr>
          </a:solidFill>
        </p:spPr>
        <p:txBody>
          <a:bodyPr anchor="ctr"/>
          <a:lstStyle>
            <a:lvl1pPr marL="0" indent="0" algn="ctr">
              <a:buNone/>
              <a:defRPr/>
            </a:lvl1pPr>
          </a:lstStyle>
          <a:p>
            <a:pPr lvl="0"/>
            <a:r>
              <a:rPr lang="en-US" dirty="0"/>
              <a:t> </a:t>
            </a:r>
          </a:p>
        </p:txBody>
      </p:sp>
      <p:sp>
        <p:nvSpPr>
          <p:cNvPr id="6" name="Text Placeholder 29"/>
          <p:cNvSpPr>
            <a:spLocks noGrp="1"/>
          </p:cNvSpPr>
          <p:nvPr>
            <p:ph type="body" sz="quarter" idx="16" hasCustomPrompt="1"/>
          </p:nvPr>
        </p:nvSpPr>
        <p:spPr bwMode="gray">
          <a:xfrm>
            <a:off x="293192" y="5239526"/>
            <a:ext cx="11605619" cy="490537"/>
          </a:xfrm>
        </p:spPr>
        <p:txBody>
          <a:bodyPr anchor="ctr">
            <a:normAutofit/>
          </a:bodyPr>
          <a:lstStyle>
            <a:lvl1pPr marL="0" indent="0" algn="ctr">
              <a:lnSpc>
                <a:spcPct val="90000"/>
              </a:lnSpc>
              <a:buNone/>
              <a:defRPr sz="3200" baseline="0">
                <a:solidFill>
                  <a:schemeClr val="bg1"/>
                </a:solidFill>
                <a:latin typeface="+mn-lt"/>
              </a:defRPr>
            </a:lvl1pPr>
          </a:lstStyle>
          <a:p>
            <a:pPr lvl="0"/>
            <a:r>
              <a:rPr lang="en-US" dirty="0"/>
              <a:t>Click to add text</a:t>
            </a:r>
          </a:p>
        </p:txBody>
      </p:sp>
    </p:spTree>
    <p:extLst>
      <p:ext uri="{BB962C8B-B14F-4D97-AF65-F5344CB8AC3E}">
        <p14:creationId xmlns:p14="http://schemas.microsoft.com/office/powerpoint/2010/main" val="145364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wo Full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18859" y="0"/>
            <a:ext cx="6073141" cy="6857999"/>
          </a:xfrm>
        </p:spPr>
        <p:txBody>
          <a:bodyPr anchor="ctr"/>
          <a:lstStyle>
            <a:lvl1pPr marL="0" indent="0" algn="ctr">
              <a:buNone/>
              <a:defRPr>
                <a:solidFill>
                  <a:schemeClr val="tx1"/>
                </a:solidFill>
                <a:latin typeface="+mn-lt"/>
              </a:defRPr>
            </a:lvl1pPr>
          </a:lstStyle>
          <a:p>
            <a:r>
              <a:rPr lang="en-US" dirty="0"/>
              <a:t>Click icon to add picture</a:t>
            </a:r>
          </a:p>
        </p:txBody>
      </p:sp>
      <p:sp>
        <p:nvSpPr>
          <p:cNvPr id="7" name="Picture Placeholder 3"/>
          <p:cNvSpPr>
            <a:spLocks noGrp="1"/>
          </p:cNvSpPr>
          <p:nvPr>
            <p:ph type="pic" sz="quarter" idx="12"/>
          </p:nvPr>
        </p:nvSpPr>
        <p:spPr>
          <a:xfrm>
            <a:off x="0" y="1"/>
            <a:ext cx="6073141"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9" name="Text Placeholder 33"/>
          <p:cNvSpPr>
            <a:spLocks noGrp="1"/>
          </p:cNvSpPr>
          <p:nvPr>
            <p:ph type="body" sz="quarter" idx="18" hasCustomPrompt="1"/>
          </p:nvPr>
        </p:nvSpPr>
        <p:spPr>
          <a:xfrm>
            <a:off x="-9548"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387496"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498774" y="5015592"/>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73141" y="0"/>
            <a:ext cx="45719" cy="6858000"/>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987353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hree Full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0"/>
            <a:ext cx="4042250"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5" name="Picture Placeholder 25"/>
          <p:cNvSpPr>
            <a:spLocks noGrp="1"/>
          </p:cNvSpPr>
          <p:nvPr>
            <p:ph type="pic" sz="quarter" idx="14"/>
          </p:nvPr>
        </p:nvSpPr>
        <p:spPr>
          <a:xfrm>
            <a:off x="8159299" y="0"/>
            <a:ext cx="4032702"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6" name="Picture Placeholder 6"/>
          <p:cNvSpPr>
            <a:spLocks noGrp="1"/>
          </p:cNvSpPr>
          <p:nvPr>
            <p:ph type="pic" sz="quarter" idx="13"/>
          </p:nvPr>
        </p:nvSpPr>
        <p:spPr>
          <a:xfrm>
            <a:off x="4078854" y="0"/>
            <a:ext cx="4034293"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6" name="Text Placeholder 33"/>
          <p:cNvSpPr>
            <a:spLocks noGrp="1"/>
          </p:cNvSpPr>
          <p:nvPr>
            <p:ph type="body" sz="quarter" idx="18" hasCustomPrompt="1"/>
          </p:nvPr>
        </p:nvSpPr>
        <p:spPr>
          <a:xfrm>
            <a:off x="-9548"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4254709" y="5011670"/>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bwMode="gray">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0" y="0"/>
            <a:ext cx="45720" cy="6858000"/>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6" y="0"/>
            <a:ext cx="45720" cy="6858000"/>
          </a:xfrm>
          <a:solidFill>
            <a:schemeClr val="tx2">
              <a:lumMod val="75000"/>
            </a:schemeClr>
          </a:solidFill>
        </p:spPr>
        <p:txBody>
          <a:bodyPr/>
          <a:lstStyle>
            <a:lvl1pPr marL="0" indent="0">
              <a:buNone/>
              <a:defRPr baseline="0"/>
            </a:lvl1pPr>
          </a:lstStyle>
          <a:p>
            <a:pPr lvl="0"/>
            <a:r>
              <a:rPr lang="en-US" dirty="0"/>
              <a:t> </a:t>
            </a:r>
          </a:p>
        </p:txBody>
      </p:sp>
    </p:spTree>
    <p:extLst>
      <p:ext uri="{BB962C8B-B14F-4D97-AF65-F5344CB8AC3E}">
        <p14:creationId xmlns:p14="http://schemas.microsoft.com/office/powerpoint/2010/main" val="245906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Green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bg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4432" y="316082"/>
            <a:ext cx="1589273" cy="330860"/>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064318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Title Slide with Half Image">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r="50225"/>
          <a:stretch/>
        </p:blipFill>
        <p:spPr>
          <a:xfrm>
            <a:off x="2467" y="-1"/>
            <a:ext cx="6066101" cy="6858000"/>
          </a:xfrm>
          <a:prstGeom prst="rect">
            <a:avLst/>
          </a:prstGeom>
        </p:spPr>
      </p:pic>
      <p:sp>
        <p:nvSpPr>
          <p:cNvPr id="6" name="Picture Placeholder 5"/>
          <p:cNvSpPr>
            <a:spLocks noGrp="1"/>
          </p:cNvSpPr>
          <p:nvPr>
            <p:ph type="pic" sz="quarter" idx="13" hasCustomPrompt="1"/>
          </p:nvPr>
        </p:nvSpPr>
        <p:spPr>
          <a:xfrm>
            <a:off x="6123432" y="0"/>
            <a:ext cx="6068567" cy="6858000"/>
          </a:xfrm>
        </p:spPr>
        <p:txBody>
          <a:bodyPr anchor="ctr"/>
          <a:lstStyle>
            <a:lvl1pPr marL="0" indent="0" algn="ctr">
              <a:buNone/>
              <a:defRPr/>
            </a:lvl1pPr>
          </a:lstStyle>
          <a:p>
            <a:r>
              <a:rPr lang="en-US" dirty="0"/>
              <a:t>Insert Photo Here</a:t>
            </a:r>
          </a:p>
        </p:txBody>
      </p:sp>
      <p:sp>
        <p:nvSpPr>
          <p:cNvPr id="2" name="Title 1"/>
          <p:cNvSpPr>
            <a:spLocks noGrp="1"/>
          </p:cNvSpPr>
          <p:nvPr>
            <p:ph type="ctrTitle" hasCustomPrompt="1"/>
          </p:nvPr>
        </p:nvSpPr>
        <p:spPr bwMode="gray">
          <a:xfrm>
            <a:off x="427964" y="2738406"/>
            <a:ext cx="5417220" cy="1077218"/>
          </a:xfrm>
        </p:spPr>
        <p:txBody>
          <a:bodyPr wrap="square" tIns="91440" anchor="ctr" anchorCtr="0">
            <a:spAutoFit/>
          </a:bodyPr>
          <a:lstStyle>
            <a:lvl1pPr>
              <a:lnSpc>
                <a:spcPct val="80000"/>
              </a:lnSpc>
              <a:defRPr sz="4000" b="0" cap="all" baseline="0">
                <a:solidFill>
                  <a:schemeClr val="bg1"/>
                </a:solidFill>
                <a:effectLst/>
                <a:latin typeface="+mn-lt"/>
              </a:defRPr>
            </a:lvl1pPr>
          </a:lstStyle>
          <a:p>
            <a:r>
              <a:rPr lang="en-US" dirty="0"/>
              <a:t>Click to Add Presentation Title</a:t>
            </a:r>
          </a:p>
        </p:txBody>
      </p:sp>
      <p:sp>
        <p:nvSpPr>
          <p:cNvPr id="3" name="Subtitle 2"/>
          <p:cNvSpPr>
            <a:spLocks noGrp="1"/>
          </p:cNvSpPr>
          <p:nvPr>
            <p:ph type="subTitle" idx="1" hasCustomPrompt="1"/>
          </p:nvPr>
        </p:nvSpPr>
        <p:spPr bwMode="gray">
          <a:xfrm>
            <a:off x="427965" y="5450090"/>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965" y="5761656"/>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965" y="6249404"/>
            <a:ext cx="5424946" cy="193899"/>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2" name="Rectangle 11"/>
          <p:cNvSpPr/>
          <p:nvPr userDrawn="1"/>
        </p:nvSpPr>
        <p:spPr bwMode="gray">
          <a:xfrm>
            <a:off x="6068568" y="0"/>
            <a:ext cx="548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7964" y="422412"/>
            <a:ext cx="2814269" cy="585883"/>
          </a:xfrm>
          <a:prstGeom prst="rect">
            <a:avLst/>
          </a:prstGeom>
        </p:spPr>
      </p:pic>
    </p:spTree>
    <p:extLst>
      <p:ext uri="{BB962C8B-B14F-4D97-AF65-F5344CB8AC3E}">
        <p14:creationId xmlns:p14="http://schemas.microsoft.com/office/powerpoint/2010/main" val="531318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Title Slide with Full Imag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0" y="0"/>
            <a:ext cx="12192000" cy="6858000"/>
          </a:xfrm>
        </p:spPr>
        <p:txBody>
          <a:bodyPr anchor="ctr"/>
          <a:lstStyle>
            <a:lvl1pPr marL="0" indent="0" algn="ctr">
              <a:buNone/>
              <a:defRPr/>
            </a:lvl1pPr>
          </a:lstStyle>
          <a:p>
            <a:r>
              <a:rPr lang="en-US" dirty="0"/>
              <a:t>Click icon to add picture</a:t>
            </a:r>
          </a:p>
        </p:txBody>
      </p:sp>
      <p:sp>
        <p:nvSpPr>
          <p:cNvPr id="5" name="Text Placeholder 4"/>
          <p:cNvSpPr>
            <a:spLocks noGrp="1"/>
          </p:cNvSpPr>
          <p:nvPr>
            <p:ph type="body" sz="quarter" idx="17" hasCustomPrompt="1"/>
          </p:nvPr>
        </p:nvSpPr>
        <p:spPr>
          <a:xfrm>
            <a:off x="1" y="3474002"/>
            <a:ext cx="6105804" cy="2774398"/>
          </a:xfrm>
          <a:solidFill>
            <a:srgbClr val="000000">
              <a:alpha val="70000"/>
            </a:srgbClr>
          </a:solidFill>
        </p:spPr>
        <p:txBody>
          <a:bodyPr/>
          <a:lstStyle>
            <a:lvl1pPr marL="0" indent="0">
              <a:buNone/>
              <a:defRPr/>
            </a:lvl1pPr>
            <a:lvl2pPr marL="541501" indent="0">
              <a:buNone/>
              <a:defRPr/>
            </a:lvl2pPr>
            <a:lvl3pPr marL="1086776" indent="0">
              <a:buNone/>
              <a:defRPr/>
            </a:lvl3pPr>
            <a:lvl4pPr marL="1630163" indent="0">
              <a:buNone/>
              <a:defRPr/>
            </a:lvl4pPr>
            <a:lvl5pPr marL="2173551" indent="0">
              <a:buNone/>
              <a:defRPr/>
            </a:lvl5pPr>
          </a:lstStyle>
          <a:p>
            <a:pPr lvl="0"/>
            <a:r>
              <a:rPr lang="en-US" dirty="0"/>
              <a:t> </a:t>
            </a:r>
          </a:p>
        </p:txBody>
      </p:sp>
      <p:sp>
        <p:nvSpPr>
          <p:cNvPr id="2" name="Title 1"/>
          <p:cNvSpPr>
            <a:spLocks noGrp="1"/>
          </p:cNvSpPr>
          <p:nvPr>
            <p:ph type="ctrTitle" hasCustomPrompt="1"/>
          </p:nvPr>
        </p:nvSpPr>
        <p:spPr bwMode="gray">
          <a:xfrm>
            <a:off x="256906" y="3759912"/>
            <a:ext cx="5686317" cy="886397"/>
          </a:xfrm>
        </p:spPr>
        <p:txBody>
          <a:bodyPr wrap="square" anchor="ctr" anchorCtr="0">
            <a:spAutoFit/>
          </a:bodyPr>
          <a:lstStyle>
            <a:lvl1pPr algn="l">
              <a:lnSpc>
                <a:spcPct val="80000"/>
              </a:lnSpc>
              <a:defRPr sz="3600" b="0" i="0" cap="all" baseline="0">
                <a:solidFill>
                  <a:schemeClr val="bg1"/>
                </a:solidFill>
                <a:effectLst/>
                <a:latin typeface="+mj-lt"/>
                <a:ea typeface="DIN Pro Black" charset="0"/>
                <a:cs typeface="DIN Pro Black" charset="0"/>
              </a:defRPr>
            </a:lvl1pPr>
          </a:lstStyle>
          <a:p>
            <a:r>
              <a:rPr lang="en-US" dirty="0"/>
              <a:t>Click to Add Presentation Title</a:t>
            </a:r>
          </a:p>
        </p:txBody>
      </p:sp>
      <p:sp>
        <p:nvSpPr>
          <p:cNvPr id="3" name="Subtitle 2"/>
          <p:cNvSpPr>
            <a:spLocks noGrp="1"/>
          </p:cNvSpPr>
          <p:nvPr>
            <p:ph type="subTitle" idx="1" hasCustomPrompt="1"/>
          </p:nvPr>
        </p:nvSpPr>
        <p:spPr bwMode="gray">
          <a:xfrm>
            <a:off x="256906" y="5001756"/>
            <a:ext cx="5686317" cy="246221"/>
          </a:xfrm>
        </p:spPr>
        <p:txBody>
          <a:bodyPr wrap="square" anchor="b">
            <a:spAutoFit/>
          </a:bodyPr>
          <a:lstStyle>
            <a:lvl1pPr marL="0" indent="0" algn="l">
              <a:lnSpc>
                <a:spcPct val="80000"/>
              </a:lnSpc>
              <a:spcBef>
                <a:spcPts val="0"/>
              </a:spcBef>
              <a:spcAft>
                <a:spcPts val="800"/>
              </a:spcAft>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256906" y="5282543"/>
            <a:ext cx="5686317" cy="221599"/>
          </a:xfrm>
        </p:spPr>
        <p:txBody>
          <a:bodyPr wrap="square" anchor="t">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1" name="Text Placeholder 9"/>
          <p:cNvSpPr>
            <a:spLocks noGrp="1"/>
          </p:cNvSpPr>
          <p:nvPr>
            <p:ph type="body" sz="quarter" idx="13" hasCustomPrompt="1"/>
          </p:nvPr>
        </p:nvSpPr>
        <p:spPr bwMode="gray">
          <a:xfrm>
            <a:off x="256906" y="5793137"/>
            <a:ext cx="2242645" cy="193899"/>
          </a:xfrm>
        </p:spPr>
        <p:txBody>
          <a:bodyPr wrap="square">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2178516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ree Full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0"/>
            <a:ext cx="4042250"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5" name="Picture Placeholder 25"/>
          <p:cNvSpPr>
            <a:spLocks noGrp="1"/>
          </p:cNvSpPr>
          <p:nvPr>
            <p:ph type="pic" sz="quarter" idx="14"/>
          </p:nvPr>
        </p:nvSpPr>
        <p:spPr>
          <a:xfrm>
            <a:off x="8159299" y="0"/>
            <a:ext cx="4032702"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6" name="Picture Placeholder 6"/>
          <p:cNvSpPr>
            <a:spLocks noGrp="1"/>
          </p:cNvSpPr>
          <p:nvPr>
            <p:ph type="pic" sz="quarter" idx="13"/>
          </p:nvPr>
        </p:nvSpPr>
        <p:spPr>
          <a:xfrm>
            <a:off x="4078854" y="0"/>
            <a:ext cx="4034293"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6" name="Text Placeholder 33"/>
          <p:cNvSpPr>
            <a:spLocks noGrp="1"/>
          </p:cNvSpPr>
          <p:nvPr>
            <p:ph type="body" sz="quarter" idx="18" hasCustomPrompt="1"/>
          </p:nvPr>
        </p:nvSpPr>
        <p:spPr>
          <a:xfrm>
            <a:off x="-9548"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4254709" y="5011670"/>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bwMode="gray">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0" y="0"/>
            <a:ext cx="45720" cy="6858000"/>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6" y="0"/>
            <a:ext cx="45720" cy="6858000"/>
          </a:xfrm>
          <a:solidFill>
            <a:schemeClr val="tx2">
              <a:lumMod val="75000"/>
            </a:schemeClr>
          </a:solidFill>
        </p:spPr>
        <p:txBody>
          <a:bodyPr/>
          <a:lstStyle>
            <a:lvl1pPr marL="0" indent="0">
              <a:buNone/>
              <a:defRPr baseline="0"/>
            </a:lvl1pPr>
          </a:lstStyle>
          <a:p>
            <a:pPr lvl="0"/>
            <a:r>
              <a:rPr lang="en-US" dirty="0"/>
              <a:t> </a:t>
            </a:r>
          </a:p>
        </p:txBody>
      </p:sp>
    </p:spTree>
    <p:extLst>
      <p:ext uri="{BB962C8B-B14F-4D97-AF65-F5344CB8AC3E}">
        <p14:creationId xmlns:p14="http://schemas.microsoft.com/office/powerpoint/2010/main" val="277586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Closing Slide">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94547" y="2595965"/>
            <a:ext cx="8002906" cy="1666070"/>
          </a:xfrm>
          <a:prstGeom prst="rect">
            <a:avLst/>
          </a:prstGeom>
        </p:spPr>
      </p:pic>
    </p:spTree>
    <p:extLst>
      <p:ext uri="{BB962C8B-B14F-4D97-AF65-F5344CB8AC3E}">
        <p14:creationId xmlns:p14="http://schemas.microsoft.com/office/powerpoint/2010/main" val="3857845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Accent Color Slide Options">
    <p:bg>
      <p:bgPr>
        <a:solidFill>
          <a:srgbClr val="000000"/>
        </a:solidFill>
        <a:effectLst/>
      </p:bgPr>
    </p:bg>
    <p:spTree>
      <p:nvGrpSpPr>
        <p:cNvPr id="1" name=""/>
        <p:cNvGrpSpPr/>
        <p:nvPr/>
      </p:nvGrpSpPr>
      <p:grpSpPr>
        <a:xfrm>
          <a:off x="0" y="0"/>
          <a:ext cx="0" cy="0"/>
          <a:chOff x="0" y="0"/>
          <a:chExt cx="0" cy="0"/>
        </a:xfrm>
      </p:grpSpPr>
      <p:sp>
        <p:nvSpPr>
          <p:cNvPr id="2" name="TextBox 1"/>
          <p:cNvSpPr txBox="1"/>
          <p:nvPr/>
        </p:nvSpPr>
        <p:spPr>
          <a:xfrm>
            <a:off x="858994" y="1505405"/>
            <a:ext cx="10474021" cy="3847207"/>
          </a:xfrm>
          <a:prstGeom prst="rect">
            <a:avLst/>
          </a:prstGeom>
          <a:noFill/>
        </p:spPr>
        <p:txBody>
          <a:bodyPr wrap="none" lIns="0" tIns="0" rIns="0" bIns="0" rtlCol="0" anchor="ctr">
            <a:spAutoFit/>
          </a:bodyPr>
          <a:lstStyle/>
          <a:p>
            <a:pPr algn="ctr"/>
            <a:r>
              <a:rPr lang="en-US" sz="12500" dirty="0">
                <a:solidFill>
                  <a:schemeClr val="bg1"/>
                </a:solidFill>
              </a:rPr>
              <a:t>Accent Color</a:t>
            </a:r>
            <a:br>
              <a:rPr lang="en-US" sz="12500" dirty="0">
                <a:solidFill>
                  <a:schemeClr val="bg1"/>
                </a:solidFill>
              </a:rPr>
            </a:br>
            <a:r>
              <a:rPr lang="en-US" sz="12500" dirty="0">
                <a:solidFill>
                  <a:schemeClr val="bg1"/>
                </a:solidFill>
              </a:rPr>
              <a:t>Slide Options</a:t>
            </a:r>
          </a:p>
        </p:txBody>
      </p:sp>
    </p:spTree>
    <p:extLst>
      <p:ext uri="{BB962C8B-B14F-4D97-AF65-F5344CB8AC3E}">
        <p14:creationId xmlns:p14="http://schemas.microsoft.com/office/powerpoint/2010/main" val="246397589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Blue Block &amp;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7192" y="316082"/>
            <a:ext cx="1586386" cy="33025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720516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Blu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4432" y="316082"/>
            <a:ext cx="1589273" cy="330860"/>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160161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Blue Number Divider">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4432" y="316082"/>
            <a:ext cx="1589273" cy="330860"/>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9592718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Light Blue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7192" y="316082"/>
            <a:ext cx="1586386" cy="33025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1367156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Light Blu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a:noFill/>
        </p:spPr>
        <p:txBody>
          <a:bodyPr>
            <a:spAutoFit/>
          </a:bodyPr>
          <a:lstStyle>
            <a:lvl1pPr algn="l">
              <a:lnSpc>
                <a:spcPct val="80000"/>
              </a:lnSpc>
              <a:defRPr sz="480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4432" y="316082"/>
            <a:ext cx="1589273" cy="330860"/>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157953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Light Blu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4432" y="316082"/>
            <a:ext cx="1589273" cy="330860"/>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431583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Orange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7192" y="316082"/>
            <a:ext cx="1586386" cy="33025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30556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Orang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4432" y="316082"/>
            <a:ext cx="1589273" cy="330860"/>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05160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7579" y="1222375"/>
            <a:ext cx="11471932" cy="4956048"/>
          </a:xfrm>
        </p:spPr>
        <p:txBody>
          <a:bodyPr>
            <a:normAutofit/>
          </a:bodyPr>
          <a:lstStyle>
            <a:lvl1pPr marL="273582" indent="-273582">
              <a:lnSpc>
                <a:spcPct val="90000"/>
              </a:lnSpc>
              <a:spcBef>
                <a:spcPts val="2139"/>
              </a:spcBef>
              <a:buClr>
                <a:schemeClr val="tx1"/>
              </a:buClr>
              <a:defRPr sz="2200" b="0">
                <a:solidFill>
                  <a:schemeClr val="tx1"/>
                </a:solidFill>
                <a:latin typeface="+mn-lt"/>
              </a:defRPr>
            </a:lvl1pPr>
            <a:lvl2pPr marL="813195" indent="-271694">
              <a:lnSpc>
                <a:spcPct val="90000"/>
              </a:lnSpc>
              <a:spcBef>
                <a:spcPts val="0"/>
              </a:spcBef>
              <a:spcAft>
                <a:spcPts val="238"/>
              </a:spcAft>
              <a:defRPr sz="2000" b="0">
                <a:solidFill>
                  <a:schemeClr val="tx1"/>
                </a:solidFill>
                <a:latin typeface="+mn-lt"/>
              </a:defRPr>
            </a:lvl2pPr>
            <a:lvl3pPr marL="1358470" indent="-271694">
              <a:lnSpc>
                <a:spcPct val="90000"/>
              </a:lnSpc>
              <a:spcBef>
                <a:spcPts val="0"/>
              </a:spcBef>
              <a:spcAft>
                <a:spcPts val="238"/>
              </a:spcAft>
              <a:defRPr sz="1800" b="0">
                <a:solidFill>
                  <a:schemeClr val="tx1"/>
                </a:solidFill>
                <a:latin typeface="+mn-lt"/>
              </a:defRPr>
            </a:lvl3pPr>
            <a:lvl4pPr marL="1901952" indent="-271694">
              <a:lnSpc>
                <a:spcPct val="90000"/>
              </a:lnSpc>
              <a:defRPr sz="1600" b="0">
                <a:solidFill>
                  <a:schemeClr val="tx1"/>
                </a:solidFill>
                <a:latin typeface="+mn-lt"/>
              </a:defRPr>
            </a:lvl4pPr>
            <a:lvl5pPr marL="2441448" indent="-271694">
              <a:lnSpc>
                <a:spcPct val="90000"/>
              </a:lnSpc>
              <a:defRPr sz="1400" b="0" baseline="0">
                <a:solidFill>
                  <a:schemeClr val="tx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Green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bg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323881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Orang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4432" y="316082"/>
            <a:ext cx="1589273" cy="330860"/>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664315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Gold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7192" y="316082"/>
            <a:ext cx="1586386" cy="33025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356134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Gold Accent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4432" y="316082"/>
            <a:ext cx="1589273" cy="330860"/>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312469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Gold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314432" y="316082"/>
            <a:ext cx="1589273" cy="330860"/>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19444492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Black Background">
    <p:bg bwMode="black">
      <p:bgPr>
        <a:solidFill>
          <a:srgbClr val="000000"/>
        </a:solidFill>
        <a:effectLst/>
      </p:bgPr>
    </p:bg>
    <p:spTree>
      <p:nvGrpSpPr>
        <p:cNvPr id="1" name=""/>
        <p:cNvGrpSpPr/>
        <p:nvPr/>
      </p:nvGrpSpPr>
      <p:grpSpPr>
        <a:xfrm>
          <a:off x="0" y="0"/>
          <a:ext cx="0" cy="0"/>
          <a:chOff x="0" y="0"/>
          <a:chExt cx="0" cy="0"/>
        </a:xfrm>
      </p:grpSpPr>
      <p:sp>
        <p:nvSpPr>
          <p:cNvPr id="10"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314432" y="316082"/>
            <a:ext cx="1589273" cy="330860"/>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506100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Blank_DO NOT DELE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752407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Green Block &amp; Content">
    <p:spTree>
      <p:nvGrpSpPr>
        <p:cNvPr id="1" name=""/>
        <p:cNvGrpSpPr/>
        <p:nvPr/>
      </p:nvGrpSpPr>
      <p:grpSpPr>
        <a:xfrm>
          <a:off x="0" y="0"/>
          <a:ext cx="0" cy="0"/>
          <a:chOff x="0" y="0"/>
          <a:chExt cx="0" cy="0"/>
        </a:xfrm>
      </p:grpSpPr>
      <p:sp>
        <p:nvSpPr>
          <p:cNvPr id="10" name="Content Placeholder 3"/>
          <p:cNvSpPr>
            <a:spLocks noGrp="1"/>
          </p:cNvSpPr>
          <p:nvPr>
            <p:ph sz="half" idx="2"/>
          </p:nvPr>
        </p:nvSpPr>
        <p:spPr>
          <a:xfrm>
            <a:off x="4797387" y="758952"/>
            <a:ext cx="7082577" cy="5715000"/>
          </a:xfrm>
        </p:spPr>
        <p:txBody>
          <a:bodyPr anchor="ctr">
            <a:normAutofit/>
          </a:bodyPr>
          <a:lstStyle>
            <a:lvl1pPr>
              <a:buClr>
                <a:schemeClr val="accent2"/>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0"/>
            <a:ext cx="4262664" cy="685800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all" spc="0" normalizeH="0" baseline="0" noProof="0" dirty="0">
              <a:ln>
                <a:noFill/>
              </a:ln>
              <a:solidFill>
                <a:schemeClr val="accent5">
                  <a:lumMod val="75000"/>
                </a:schemeClr>
              </a:solidFill>
              <a:effectLst/>
              <a:uLnTx/>
              <a:uFillTx/>
              <a:latin typeface="+mn-lt"/>
              <a:ea typeface="+mn-ea"/>
              <a:cs typeface="+mn-cs"/>
            </a:endParaRPr>
          </a:p>
        </p:txBody>
      </p:sp>
      <p:sp>
        <p:nvSpPr>
          <p:cNvPr id="11" name="Title 7"/>
          <p:cNvSpPr>
            <a:spLocks noGrp="1"/>
          </p:cNvSpPr>
          <p:nvPr>
            <p:ph type="title" hasCustomPrompt="1"/>
          </p:nvPr>
        </p:nvSpPr>
        <p:spPr>
          <a:xfrm>
            <a:off x="290438" y="2616470"/>
            <a:ext cx="3590282" cy="1625060"/>
          </a:xfrm>
        </p:spPr>
        <p:txBody>
          <a:bodyPr>
            <a:normAutofit/>
          </a:bodyPr>
          <a:lstStyle>
            <a:lvl1pPr>
              <a:lnSpc>
                <a:spcPct val="80000"/>
              </a:lnSpc>
              <a:defRPr sz="4000" cap="all" baseline="0"/>
            </a:lvl1pPr>
          </a:lstStyle>
          <a:p>
            <a:r>
              <a:rPr lang="en-US" dirty="0"/>
              <a:t>Click to Edit Master Title Style</a:t>
            </a:r>
          </a:p>
        </p:txBody>
      </p:sp>
      <p:sp>
        <p:nvSpPr>
          <p:cNvPr id="7" name="Rectangle 6"/>
          <p:cNvSpPr txBox="1">
            <a:spLocks noChangeArrowheads="1"/>
          </p:cNvSpPr>
          <p:nvPr userDrawn="1"/>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32534" y="243620"/>
            <a:ext cx="1441921" cy="297181"/>
          </a:xfrm>
          <a:prstGeom prst="rect">
            <a:avLst/>
          </a:prstGeom>
        </p:spPr>
      </p:pic>
    </p:spTree>
    <p:extLst>
      <p:ext uri="{BB962C8B-B14F-4D97-AF65-F5344CB8AC3E}">
        <p14:creationId xmlns:p14="http://schemas.microsoft.com/office/powerpoint/2010/main" val="82294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92609" y="1380744"/>
            <a:ext cx="11599649" cy="5029200"/>
          </a:xfrm>
        </p:spPr>
        <p:txBody>
          <a:bodyPr>
            <a:noAutofit/>
          </a:bodyPr>
          <a:lstStyle>
            <a:lvl1pPr marL="230188" indent="-230188">
              <a:spcBef>
                <a:spcPts val="1800"/>
              </a:spcBef>
              <a:buClr>
                <a:schemeClr val="bg2"/>
              </a:buClr>
              <a:defRPr sz="2000">
                <a:solidFill>
                  <a:schemeClr val="bg2"/>
                </a:solidFill>
              </a:defRPr>
            </a:lvl1pPr>
            <a:lvl2pPr marL="684213" indent="-228600">
              <a:spcBef>
                <a:spcPts val="0"/>
              </a:spcBef>
              <a:spcAft>
                <a:spcPts val="200"/>
              </a:spcAft>
              <a:defRPr sz="1800">
                <a:solidFill>
                  <a:srgbClr val="4C4D4F"/>
                </a:solidFill>
                <a:latin typeface="Arial Narrow" pitchFamily="34" charset="0"/>
              </a:defRPr>
            </a:lvl2pPr>
            <a:lvl3pPr marL="1143000" indent="-228600">
              <a:spcBef>
                <a:spcPts val="0"/>
              </a:spcBef>
              <a:spcAft>
                <a:spcPts val="200"/>
              </a:spcAft>
              <a:defRPr sz="1600">
                <a:solidFill>
                  <a:srgbClr val="4C4D4F"/>
                </a:solidFill>
                <a:latin typeface="Arial Narrow" pitchFamily="34" charset="0"/>
              </a:defRPr>
            </a:lvl3pPr>
            <a:lvl4pPr marL="1428750" indent="-228600">
              <a:defRPr sz="1400">
                <a:solidFill>
                  <a:srgbClr val="4C4D4F"/>
                </a:solidFill>
              </a:defRPr>
            </a:lvl4pPr>
            <a:lvl5pPr marL="1827213" indent="-228600">
              <a:defRPr sz="1400">
                <a:solidFill>
                  <a:srgbClr val="4C4D4F"/>
                </a:solidFill>
              </a:defRPr>
            </a:lvl5pPr>
          </a:lstStyle>
          <a:p>
            <a:pPr lvl="0"/>
            <a:r>
              <a:rPr lang="en-US"/>
              <a:t>Click to edit Master text styles</a:t>
            </a:r>
          </a:p>
          <a:p>
            <a:pPr lvl="1"/>
            <a:r>
              <a:rPr lang="en-US"/>
              <a:t>Second level</a:t>
            </a:r>
          </a:p>
          <a:p>
            <a:pPr lvl="2"/>
            <a:r>
              <a:rPr lang="en-US"/>
              <a:t>Third level</a:t>
            </a:r>
          </a:p>
        </p:txBody>
      </p:sp>
      <p:sp>
        <p:nvSpPr>
          <p:cNvPr id="8" name="Title 7"/>
          <p:cNvSpPr>
            <a:spLocks noGrp="1"/>
          </p:cNvSpPr>
          <p:nvPr>
            <p:ph type="title"/>
          </p:nvPr>
        </p:nvSpPr>
        <p:spPr/>
        <p:txBody>
          <a:bodyPr/>
          <a:lstStyle/>
          <a:p>
            <a:r>
              <a:rPr lang="en-US"/>
              <a:t>Click to edit Master title style</a:t>
            </a:r>
            <a:endParaRPr lang="en-US" dirty="0"/>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dirty="0"/>
          </a:p>
        </p:txBody>
      </p:sp>
    </p:spTree>
    <p:extLst>
      <p:ext uri="{BB962C8B-B14F-4D97-AF65-F5344CB8AC3E}">
        <p14:creationId xmlns:p14="http://schemas.microsoft.com/office/powerpoint/2010/main" val="259305930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제목 및 내용">
    <p:spTree>
      <p:nvGrpSpPr>
        <p:cNvPr id="1" name=""/>
        <p:cNvGrpSpPr/>
        <p:nvPr/>
      </p:nvGrpSpPr>
      <p:grpSpPr>
        <a:xfrm>
          <a:off x="0" y="0"/>
          <a:ext cx="0" cy="0"/>
          <a:chOff x="0" y="0"/>
          <a:chExt cx="0" cy="0"/>
        </a:xfrm>
      </p:grpSpPr>
      <p:sp>
        <p:nvSpPr>
          <p:cNvPr id="3" name="Content Placeholder 2"/>
          <p:cNvSpPr>
            <a:spLocks noGrp="1"/>
          </p:cNvSpPr>
          <p:nvPr>
            <p:ph idx="1"/>
          </p:nvPr>
        </p:nvSpPr>
        <p:spPr>
          <a:xfrm>
            <a:off x="437579" y="1222375"/>
            <a:ext cx="11471932" cy="4956048"/>
          </a:xfrm>
        </p:spPr>
        <p:txBody>
          <a:bodyPr>
            <a:normAutofit/>
          </a:bodyPr>
          <a:lstStyle>
            <a:lvl1pPr marL="273582" indent="-273582">
              <a:lnSpc>
                <a:spcPct val="90000"/>
              </a:lnSpc>
              <a:spcBef>
                <a:spcPts val="2139"/>
              </a:spcBef>
              <a:buClr>
                <a:schemeClr val="tx1"/>
              </a:buClr>
              <a:defRPr sz="2200" b="0">
                <a:solidFill>
                  <a:schemeClr val="tx1"/>
                </a:solidFill>
                <a:latin typeface="+mn-lt"/>
              </a:defRPr>
            </a:lvl1pPr>
            <a:lvl2pPr marL="813195" indent="-271694">
              <a:lnSpc>
                <a:spcPct val="90000"/>
              </a:lnSpc>
              <a:spcBef>
                <a:spcPts val="0"/>
              </a:spcBef>
              <a:spcAft>
                <a:spcPts val="238"/>
              </a:spcAft>
              <a:defRPr sz="2000" b="0">
                <a:solidFill>
                  <a:schemeClr val="tx1"/>
                </a:solidFill>
                <a:latin typeface="+mn-lt"/>
              </a:defRPr>
            </a:lvl2pPr>
            <a:lvl3pPr marL="1358470" indent="-271694">
              <a:lnSpc>
                <a:spcPct val="90000"/>
              </a:lnSpc>
              <a:spcBef>
                <a:spcPts val="0"/>
              </a:spcBef>
              <a:spcAft>
                <a:spcPts val="238"/>
              </a:spcAft>
              <a:defRPr sz="1800" b="0">
                <a:solidFill>
                  <a:schemeClr val="tx1"/>
                </a:solidFill>
                <a:latin typeface="+mn-lt"/>
              </a:defRPr>
            </a:lvl3pPr>
            <a:lvl4pPr marL="1901952" indent="-271694">
              <a:lnSpc>
                <a:spcPct val="90000"/>
              </a:lnSpc>
              <a:defRPr sz="1600" b="0">
                <a:solidFill>
                  <a:schemeClr val="tx1"/>
                </a:solidFill>
                <a:latin typeface="+mn-lt"/>
              </a:defRPr>
            </a:lvl4pPr>
            <a:lvl5pPr marL="2441448" indent="-271694">
              <a:lnSpc>
                <a:spcPct val="90000"/>
              </a:lnSpc>
              <a:defRPr sz="1400" b="0" baseline="0">
                <a:solidFill>
                  <a:schemeClr val="tx1"/>
                </a:solidFill>
                <a:latin typeface="+mn-lt"/>
              </a:defRPr>
            </a:lvl5p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endParaRPr lang="en-US" dirty="0"/>
          </a:p>
        </p:txBody>
      </p:sp>
      <p:sp>
        <p:nvSpPr>
          <p:cNvPr id="8" name="Title 7"/>
          <p:cNvSpPr>
            <a:spLocks noGrp="1"/>
          </p:cNvSpPr>
          <p:nvPr>
            <p:ph type="title"/>
          </p:nvPr>
        </p:nvSpPr>
        <p:spPr>
          <a:xfrm>
            <a:off x="411480" y="347472"/>
            <a:ext cx="9601200" cy="344710"/>
          </a:xfrm>
        </p:spPr>
        <p:txBody>
          <a:bodyPr/>
          <a:lstStyle>
            <a:lvl1pPr>
              <a:defRPr lang="en-US" dirty="0"/>
            </a:lvl1pPr>
          </a:lstStyle>
          <a:p>
            <a:pPr lvl="0"/>
            <a:r>
              <a:rPr lang="ko-KR" altLang="en-US"/>
              <a:t>마스터 제목 스타일 편집</a:t>
            </a:r>
            <a:endParaRPr lang="en-US" dirty="0"/>
          </a:p>
        </p:txBody>
      </p:sp>
    </p:spTree>
    <p:extLst>
      <p:ext uri="{BB962C8B-B14F-4D97-AF65-F5344CB8AC3E}">
        <p14:creationId xmlns:p14="http://schemas.microsoft.com/office/powerpoint/2010/main" val="544970056"/>
      </p:ext>
    </p:extLst>
  </p:cSld>
  <p:clrMapOvr>
    <a:masterClrMapping/>
  </p:clrMapOvr>
  <p:transition spd="med">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userDrawn="1">
  <p:cSld name="Black_No P#">
    <p:bg bwMode="black">
      <p:bgPr>
        <a:solidFill>
          <a:srgbClr val="000000"/>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0090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with Half Image">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r="50225"/>
          <a:stretch/>
        </p:blipFill>
        <p:spPr>
          <a:xfrm>
            <a:off x="2467" y="-1"/>
            <a:ext cx="6066101" cy="6858000"/>
          </a:xfrm>
          <a:prstGeom prst="rect">
            <a:avLst/>
          </a:prstGeom>
        </p:spPr>
      </p:pic>
      <p:sp>
        <p:nvSpPr>
          <p:cNvPr id="6" name="Picture Placeholder 5"/>
          <p:cNvSpPr>
            <a:spLocks noGrp="1"/>
          </p:cNvSpPr>
          <p:nvPr>
            <p:ph type="pic" sz="quarter" idx="13" hasCustomPrompt="1"/>
          </p:nvPr>
        </p:nvSpPr>
        <p:spPr>
          <a:xfrm>
            <a:off x="6123432" y="0"/>
            <a:ext cx="6068567" cy="6858000"/>
          </a:xfrm>
        </p:spPr>
        <p:txBody>
          <a:bodyPr anchor="ctr"/>
          <a:lstStyle>
            <a:lvl1pPr marL="0" indent="0" algn="ctr">
              <a:buNone/>
              <a:defRPr/>
            </a:lvl1pPr>
          </a:lstStyle>
          <a:p>
            <a:r>
              <a:rPr lang="en-US" dirty="0"/>
              <a:t>Insert Photo Here</a:t>
            </a:r>
          </a:p>
        </p:txBody>
      </p:sp>
      <p:sp>
        <p:nvSpPr>
          <p:cNvPr id="2" name="Title 1"/>
          <p:cNvSpPr>
            <a:spLocks noGrp="1"/>
          </p:cNvSpPr>
          <p:nvPr>
            <p:ph type="ctrTitle" hasCustomPrompt="1"/>
          </p:nvPr>
        </p:nvSpPr>
        <p:spPr bwMode="gray">
          <a:xfrm>
            <a:off x="427964" y="2738406"/>
            <a:ext cx="5417220" cy="1077218"/>
          </a:xfrm>
        </p:spPr>
        <p:txBody>
          <a:bodyPr wrap="square" tIns="91440" anchor="ctr" anchorCtr="0">
            <a:spAutoFit/>
          </a:bodyPr>
          <a:lstStyle>
            <a:lvl1pPr>
              <a:lnSpc>
                <a:spcPct val="80000"/>
              </a:lnSpc>
              <a:defRPr sz="4000" b="0" cap="all" baseline="0">
                <a:solidFill>
                  <a:schemeClr val="bg1"/>
                </a:solidFill>
                <a:effectLst/>
                <a:latin typeface="+mn-lt"/>
              </a:defRPr>
            </a:lvl1pPr>
          </a:lstStyle>
          <a:p>
            <a:r>
              <a:rPr lang="en-US" dirty="0"/>
              <a:t>Click to Add Presentation Title</a:t>
            </a:r>
          </a:p>
        </p:txBody>
      </p:sp>
      <p:sp>
        <p:nvSpPr>
          <p:cNvPr id="3" name="Subtitle 2"/>
          <p:cNvSpPr>
            <a:spLocks noGrp="1"/>
          </p:cNvSpPr>
          <p:nvPr>
            <p:ph type="subTitle" idx="1" hasCustomPrompt="1"/>
          </p:nvPr>
        </p:nvSpPr>
        <p:spPr bwMode="gray">
          <a:xfrm>
            <a:off x="427965" y="5450090"/>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965" y="5761656"/>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965" y="6249404"/>
            <a:ext cx="5424946" cy="193899"/>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2" name="Rectangle 11"/>
          <p:cNvSpPr/>
          <p:nvPr userDrawn="1"/>
        </p:nvSpPr>
        <p:spPr bwMode="gray">
          <a:xfrm>
            <a:off x="6068568" y="0"/>
            <a:ext cx="548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7964" y="422412"/>
            <a:ext cx="1538859" cy="597682"/>
          </a:xfrm>
          <a:prstGeom prst="rect">
            <a:avLst/>
          </a:prstGeom>
        </p:spPr>
      </p:pic>
    </p:spTree>
    <p:extLst>
      <p:ext uri="{BB962C8B-B14F-4D97-AF65-F5344CB8AC3E}">
        <p14:creationId xmlns:p14="http://schemas.microsoft.com/office/powerpoint/2010/main" val="3609177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dirty="0"/>
          </a:p>
        </p:txBody>
      </p:sp>
    </p:spTree>
    <p:extLst>
      <p:ext uri="{BB962C8B-B14F-4D97-AF65-F5344CB8AC3E}">
        <p14:creationId xmlns:p14="http://schemas.microsoft.com/office/powerpoint/2010/main" val="232752936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914400"/>
            <a:endParaRPr lang="en-US" sz="1800" dirty="0">
              <a:solidFill>
                <a:prstClr val="black">
                  <a:tint val="75000"/>
                </a:prstClr>
              </a:solidFill>
            </a:endParaRPr>
          </a:p>
        </p:txBody>
      </p:sp>
    </p:spTree>
    <p:extLst>
      <p:ext uri="{BB962C8B-B14F-4D97-AF65-F5344CB8AC3E}">
        <p14:creationId xmlns:p14="http://schemas.microsoft.com/office/powerpoint/2010/main" val="241208959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r="49979"/>
          <a:stretch/>
        </p:blipFill>
        <p:spPr>
          <a:xfrm rot="10800000">
            <a:off x="-1" y="-857"/>
            <a:ext cx="6096000" cy="6858000"/>
          </a:xfrm>
          <a:prstGeom prst="rect">
            <a:avLst/>
          </a:prstGeom>
        </p:spPr>
      </p:pic>
      <p:sp>
        <p:nvSpPr>
          <p:cNvPr id="2" name="Title 1"/>
          <p:cNvSpPr>
            <a:spLocks noGrp="1"/>
          </p:cNvSpPr>
          <p:nvPr>
            <p:ph type="ctrTitle" hasCustomPrompt="1"/>
          </p:nvPr>
        </p:nvSpPr>
        <p:spPr bwMode="gray">
          <a:xfrm>
            <a:off x="427701" y="2889534"/>
            <a:ext cx="5417220" cy="1077218"/>
          </a:xfrm>
        </p:spPr>
        <p:txBody>
          <a:bodyPr wrap="square" tIns="91440" anchor="ctr" anchorCtr="0">
            <a:spAutoFit/>
          </a:bodyPr>
          <a:lstStyle>
            <a:lvl1pPr>
              <a:lnSpc>
                <a:spcPct val="80000"/>
              </a:lnSpc>
              <a:defRPr sz="4000" b="0" cap="all" baseline="0">
                <a:solidFill>
                  <a:schemeClr val="bg1"/>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bwMode="gray">
          <a:xfrm>
            <a:off x="427702" y="5448375"/>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702" y="5759941"/>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702" y="6247689"/>
            <a:ext cx="5424946" cy="193899"/>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3" name="Rectangle 12"/>
          <p:cNvSpPr/>
          <p:nvPr/>
        </p:nvSpPr>
        <p:spPr bwMode="gray">
          <a:xfrm>
            <a:off x="606856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53845" y="2733717"/>
            <a:ext cx="3580310" cy="1390566"/>
          </a:xfrm>
          <a:prstGeom prst="rect">
            <a:avLst/>
          </a:prstGeom>
        </p:spPr>
      </p:pic>
    </p:spTree>
    <p:extLst>
      <p:ext uri="{BB962C8B-B14F-4D97-AF65-F5344CB8AC3E}">
        <p14:creationId xmlns:p14="http://schemas.microsoft.com/office/powerpoint/2010/main" val="2176070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7579" y="1222375"/>
            <a:ext cx="11471932" cy="4956048"/>
          </a:xfrm>
        </p:spPr>
        <p:txBody>
          <a:bodyPr>
            <a:normAutofit/>
          </a:bodyPr>
          <a:lstStyle>
            <a:lvl1pPr marL="273582" indent="-273582">
              <a:lnSpc>
                <a:spcPct val="90000"/>
              </a:lnSpc>
              <a:spcBef>
                <a:spcPts val="2139"/>
              </a:spcBef>
              <a:buClr>
                <a:schemeClr val="tx1"/>
              </a:buClr>
              <a:defRPr sz="2200" b="0">
                <a:solidFill>
                  <a:schemeClr val="tx1"/>
                </a:solidFill>
                <a:latin typeface="+mn-lt"/>
              </a:defRPr>
            </a:lvl1pPr>
            <a:lvl2pPr marL="813195" indent="-271694">
              <a:lnSpc>
                <a:spcPct val="90000"/>
              </a:lnSpc>
              <a:spcBef>
                <a:spcPts val="0"/>
              </a:spcBef>
              <a:spcAft>
                <a:spcPts val="238"/>
              </a:spcAft>
              <a:defRPr sz="2000" b="0">
                <a:solidFill>
                  <a:schemeClr val="tx1"/>
                </a:solidFill>
                <a:latin typeface="+mn-lt"/>
              </a:defRPr>
            </a:lvl2pPr>
            <a:lvl3pPr marL="1358470" indent="-271694">
              <a:lnSpc>
                <a:spcPct val="90000"/>
              </a:lnSpc>
              <a:spcBef>
                <a:spcPts val="0"/>
              </a:spcBef>
              <a:spcAft>
                <a:spcPts val="238"/>
              </a:spcAft>
              <a:defRPr sz="1800" b="0">
                <a:solidFill>
                  <a:schemeClr val="tx1"/>
                </a:solidFill>
                <a:latin typeface="+mn-lt"/>
              </a:defRPr>
            </a:lvl3pPr>
            <a:lvl4pPr marL="1901952" indent="-271694">
              <a:lnSpc>
                <a:spcPct val="90000"/>
              </a:lnSpc>
              <a:defRPr sz="1600" b="0">
                <a:solidFill>
                  <a:schemeClr val="tx1"/>
                </a:solidFill>
                <a:latin typeface="+mn-lt"/>
              </a:defRPr>
            </a:lvl4pPr>
            <a:lvl5pPr marL="2441448" indent="-271694">
              <a:lnSpc>
                <a:spcPct val="90000"/>
              </a:lnSpc>
              <a:defRPr sz="1400" b="0" baseline="0">
                <a:solidFill>
                  <a:schemeClr val="tx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385083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print">
            <a:extLst>
              <a:ext uri="{28A0092B-C50C-407E-A947-70E740481C1C}">
                <a14:useLocalDpi xmlns:a14="http://schemas.microsoft.com/office/drawing/2010/main" val="0"/>
              </a:ext>
            </a:extLst>
          </a:blip>
          <a:srcRect l="650" t="650"/>
          <a:stretch/>
        </p:blipFill>
        <p:spPr>
          <a:xfrm rot="10800000">
            <a:off x="1" y="0"/>
            <a:ext cx="2586914" cy="6857999"/>
          </a:xfrm>
          <a:prstGeom prst="rect">
            <a:avLst/>
          </a:prstGeom>
        </p:spPr>
      </p:pic>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650" t="650"/>
          <a:stretch/>
        </p:blipFill>
        <p:spPr>
          <a:xfrm>
            <a:off x="9602618" y="0"/>
            <a:ext cx="2586914" cy="6857999"/>
          </a:xfrm>
          <a:prstGeom prst="rect">
            <a:avLst/>
          </a:prstGeom>
        </p:spPr>
      </p:pic>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2" name="Rectangle 1"/>
          <p:cNvSpPr/>
          <p:nvPr/>
        </p:nvSpPr>
        <p:spPr bwMode="gray">
          <a:xfrm>
            <a:off x="2585546" y="0"/>
            <a:ext cx="70209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itle 21"/>
          <p:cNvSpPr>
            <a:spLocks noGrp="1"/>
          </p:cNvSpPr>
          <p:nvPr>
            <p:ph type="title" hasCustomPrompt="1"/>
          </p:nvPr>
        </p:nvSpPr>
        <p:spPr>
          <a:xfrm>
            <a:off x="2984942" y="627503"/>
            <a:ext cx="6222120" cy="344710"/>
          </a:xfrm>
        </p:spPr>
        <p:txBody>
          <a:bodyPr wrap="square" anchor="ctr">
            <a:spAutoFit/>
          </a:bodyPr>
          <a:lstStyle>
            <a:lvl1pPr algn="l">
              <a:lnSpc>
                <a:spcPct val="80000"/>
              </a:lnSpc>
              <a:defRPr sz="2800">
                <a:solidFill>
                  <a:schemeClr val="bg2"/>
                </a:solidFill>
                <a:latin typeface="+mn-lt"/>
              </a:defRPr>
            </a:lvl1pPr>
          </a:lstStyle>
          <a:p>
            <a:r>
              <a:rPr lang="en-US" dirty="0"/>
              <a:t>Click to add agenda title</a:t>
            </a:r>
          </a:p>
        </p:txBody>
      </p:sp>
      <p:sp>
        <p:nvSpPr>
          <p:cNvPr id="20" name="Content Placeholder 3"/>
          <p:cNvSpPr>
            <a:spLocks noGrp="1"/>
          </p:cNvSpPr>
          <p:nvPr>
            <p:ph sz="half" idx="2" hasCustomPrompt="1"/>
          </p:nvPr>
        </p:nvSpPr>
        <p:spPr>
          <a:xfrm>
            <a:off x="2984942" y="1334813"/>
            <a:ext cx="6222120" cy="5145885"/>
          </a:xfrm>
        </p:spPr>
        <p:txBody>
          <a:bodyPr anchor="t">
            <a:normAutofit/>
          </a:bodyPr>
          <a:lstStyle>
            <a:lvl1pPr marL="457200" indent="-457200">
              <a:buClr>
                <a:schemeClr val="tx1"/>
              </a:buClr>
              <a:buFont typeface="+mj-lt"/>
              <a:buAutoNum type="arabicPeriod"/>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p:nvSpPr>
        <p:spPr>
          <a:xfrm>
            <a:off x="960261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Rectangle 12"/>
          <p:cNvSpPr/>
          <p:nvPr/>
        </p:nvSpPr>
        <p:spPr>
          <a:xfrm>
            <a:off x="2534520"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1805222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Green Divider">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6943" y="3133535"/>
            <a:ext cx="10186176" cy="590931"/>
          </a:xfrm>
        </p:spPr>
        <p:txBody>
          <a:bodyPr wrap="square" anchor="ct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31659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Green Color Block &amp; Content">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l="65236"/>
          <a:stretch/>
        </p:blipFill>
        <p:spPr>
          <a:xfrm>
            <a:off x="0" y="-1"/>
            <a:ext cx="4236684" cy="6858000"/>
          </a:xfrm>
          <a:prstGeom prst="rect">
            <a:avLst/>
          </a:prstGeom>
        </p:spPr>
      </p:pic>
      <p:sp>
        <p:nvSpPr>
          <p:cNvPr id="10" name="Content Placeholder 3"/>
          <p:cNvSpPr>
            <a:spLocks noGrp="1"/>
          </p:cNvSpPr>
          <p:nvPr>
            <p:ph sz="half" idx="2" hasCustomPrompt="1"/>
          </p:nvPr>
        </p:nvSpPr>
        <p:spPr>
          <a:xfrm>
            <a:off x="4694637" y="772358"/>
            <a:ext cx="7082577" cy="5477522"/>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30546" y="2984944"/>
            <a:ext cx="3271299" cy="886397"/>
          </a:xfrm>
        </p:spPr>
        <p:txBody>
          <a:bodyPr wrap="square"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3212732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44373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Only - No Footer">
    <p:spTree>
      <p:nvGrpSpPr>
        <p:cNvPr id="1" name=""/>
        <p:cNvGrpSpPr/>
        <p:nvPr/>
      </p:nvGrpSpPr>
      <p:grpSpPr>
        <a:xfrm>
          <a:off x="0" y="0"/>
          <a:ext cx="0" cy="0"/>
          <a:chOff x="0" y="0"/>
          <a:chExt cx="0" cy="0"/>
        </a:xfrm>
      </p:grpSpPr>
      <p:sp>
        <p:nvSpPr>
          <p:cNvPr id="2" name="Rectangle 1"/>
          <p:cNvSpPr/>
          <p:nvPr/>
        </p:nvSpPr>
        <p:spPr bwMode="gray">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schemeClr val="bg1"/>
              </a:solidFill>
            </a:endParaRPr>
          </a:p>
        </p:txBody>
      </p:sp>
      <p:sp>
        <p:nvSpPr>
          <p:cNvPr id="8" name="Title 7"/>
          <p:cNvSpPr>
            <a:spLocks noGrp="1"/>
          </p:cNvSpPr>
          <p:nvPr>
            <p:ph type="title" hasCustomPrompt="1"/>
          </p:nvPr>
        </p:nvSpPr>
        <p:spPr/>
        <p:txBody>
          <a:bodyPr/>
          <a:lstStyle>
            <a:lvl1pPr>
              <a:defRPr/>
            </a:lvl1pPr>
          </a:lstStyle>
          <a:p>
            <a:r>
              <a:rPr lang="en-US" dirty="0"/>
              <a:t>Click to add title</a:t>
            </a:r>
          </a:p>
        </p:txBody>
      </p:sp>
      <p:sp>
        <p:nvSpPr>
          <p:cNvPr id="5"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75176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33715" y="1222375"/>
            <a:ext cx="5430358" cy="4956048"/>
          </a:xfrm>
        </p:spPr>
        <p:txBody>
          <a:bodyPr/>
          <a:lstStyle>
            <a:lvl1pPr>
              <a:defRPr sz="2200"/>
            </a:lvl1pPr>
            <a:lvl2pPr>
              <a:defRPr sz="2000"/>
            </a:lvl2pPr>
            <a:lvl3pPr>
              <a:defRPr sz="1800"/>
            </a:lvl3pPr>
            <a:lvl4pPr>
              <a:defRPr sz="1600"/>
            </a:lvl4pPr>
            <a:lvl5pPr>
              <a:defRPr sz="1400" baseline="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21143" y="1222375"/>
            <a:ext cx="5431536" cy="4956048"/>
          </a:xfrm>
        </p:spPr>
        <p:txBody>
          <a:bodyPr/>
          <a:lstStyle>
            <a:lvl1pPr>
              <a:defRPr sz="2200"/>
            </a:lvl1pPr>
            <a:lvl2pPr>
              <a:defRPr sz="2000"/>
            </a:lvl2pPr>
            <a:lvl3pPr>
              <a:defRPr sz="1800"/>
            </a:lvl3pPr>
            <a:lvl4pPr>
              <a:defRPr sz="1600"/>
            </a:lvl4pPr>
            <a:lvl5pPr>
              <a:defRPr sz="140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p:cNvSpPr>
            <a:spLocks noGrp="1"/>
          </p:cNvSpPr>
          <p:nvPr>
            <p:ph type="title" hasCustomPrompt="1"/>
          </p:nvPr>
        </p:nvSpPr>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207877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with Full Imag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0" y="0"/>
            <a:ext cx="12192000" cy="6858000"/>
          </a:xfrm>
        </p:spPr>
        <p:txBody>
          <a:bodyPr anchor="ctr"/>
          <a:lstStyle>
            <a:lvl1pPr marL="0" indent="0" algn="ctr">
              <a:buNone/>
              <a:defRPr/>
            </a:lvl1pPr>
          </a:lstStyle>
          <a:p>
            <a:r>
              <a:rPr lang="en-US" dirty="0"/>
              <a:t>Click icon to add picture</a:t>
            </a:r>
          </a:p>
        </p:txBody>
      </p:sp>
      <p:sp>
        <p:nvSpPr>
          <p:cNvPr id="5" name="Text Placeholder 4"/>
          <p:cNvSpPr>
            <a:spLocks noGrp="1"/>
          </p:cNvSpPr>
          <p:nvPr>
            <p:ph type="body" sz="quarter" idx="17" hasCustomPrompt="1"/>
          </p:nvPr>
        </p:nvSpPr>
        <p:spPr>
          <a:xfrm>
            <a:off x="1" y="3474002"/>
            <a:ext cx="6105804" cy="2774398"/>
          </a:xfrm>
          <a:solidFill>
            <a:srgbClr val="000000">
              <a:alpha val="70000"/>
            </a:srgbClr>
          </a:solidFill>
        </p:spPr>
        <p:txBody>
          <a:bodyPr/>
          <a:lstStyle>
            <a:lvl1pPr marL="0" indent="0">
              <a:buNone/>
              <a:defRPr/>
            </a:lvl1pPr>
            <a:lvl2pPr marL="541501" indent="0">
              <a:buNone/>
              <a:defRPr/>
            </a:lvl2pPr>
            <a:lvl3pPr marL="1086776" indent="0">
              <a:buNone/>
              <a:defRPr/>
            </a:lvl3pPr>
            <a:lvl4pPr marL="1630163" indent="0">
              <a:buNone/>
              <a:defRPr/>
            </a:lvl4pPr>
            <a:lvl5pPr marL="2173551" indent="0">
              <a:buNone/>
              <a:defRPr/>
            </a:lvl5pPr>
          </a:lstStyle>
          <a:p>
            <a:pPr lvl="0"/>
            <a:r>
              <a:rPr lang="en-US" dirty="0"/>
              <a:t> </a:t>
            </a:r>
          </a:p>
        </p:txBody>
      </p:sp>
      <p:sp>
        <p:nvSpPr>
          <p:cNvPr id="2" name="Title 1"/>
          <p:cNvSpPr>
            <a:spLocks noGrp="1"/>
          </p:cNvSpPr>
          <p:nvPr>
            <p:ph type="ctrTitle" hasCustomPrompt="1"/>
          </p:nvPr>
        </p:nvSpPr>
        <p:spPr bwMode="gray">
          <a:xfrm>
            <a:off x="256906" y="3759912"/>
            <a:ext cx="5686317" cy="886397"/>
          </a:xfrm>
        </p:spPr>
        <p:txBody>
          <a:bodyPr wrap="square" anchor="ctr" anchorCtr="0">
            <a:spAutoFit/>
          </a:bodyPr>
          <a:lstStyle>
            <a:lvl1pPr algn="l">
              <a:lnSpc>
                <a:spcPct val="80000"/>
              </a:lnSpc>
              <a:defRPr sz="3600" b="0" i="0" cap="all" baseline="0">
                <a:solidFill>
                  <a:schemeClr val="bg1"/>
                </a:solidFill>
                <a:effectLst/>
                <a:latin typeface="+mj-lt"/>
                <a:ea typeface="DIN Pro Black" charset="0"/>
                <a:cs typeface="DIN Pro Black" charset="0"/>
              </a:defRPr>
            </a:lvl1pPr>
          </a:lstStyle>
          <a:p>
            <a:r>
              <a:rPr lang="en-US" dirty="0"/>
              <a:t>Click to Add Presentation Title</a:t>
            </a:r>
          </a:p>
        </p:txBody>
      </p:sp>
      <p:sp>
        <p:nvSpPr>
          <p:cNvPr id="3" name="Subtitle 2"/>
          <p:cNvSpPr>
            <a:spLocks noGrp="1"/>
          </p:cNvSpPr>
          <p:nvPr>
            <p:ph type="subTitle" idx="1" hasCustomPrompt="1"/>
          </p:nvPr>
        </p:nvSpPr>
        <p:spPr bwMode="gray">
          <a:xfrm>
            <a:off x="256906" y="5001756"/>
            <a:ext cx="5686317" cy="246221"/>
          </a:xfrm>
        </p:spPr>
        <p:txBody>
          <a:bodyPr wrap="square" anchor="b">
            <a:spAutoFit/>
          </a:bodyPr>
          <a:lstStyle>
            <a:lvl1pPr marL="0" indent="0" algn="l">
              <a:lnSpc>
                <a:spcPct val="80000"/>
              </a:lnSpc>
              <a:spcBef>
                <a:spcPts val="0"/>
              </a:spcBef>
              <a:spcAft>
                <a:spcPts val="800"/>
              </a:spcAft>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256906" y="5282543"/>
            <a:ext cx="5686317" cy="221599"/>
          </a:xfrm>
        </p:spPr>
        <p:txBody>
          <a:bodyPr wrap="square" anchor="t">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1" name="Text Placeholder 9"/>
          <p:cNvSpPr>
            <a:spLocks noGrp="1"/>
          </p:cNvSpPr>
          <p:nvPr>
            <p:ph type="body" sz="quarter" idx="13" hasCustomPrompt="1"/>
          </p:nvPr>
        </p:nvSpPr>
        <p:spPr bwMode="gray">
          <a:xfrm>
            <a:off x="256906" y="5793137"/>
            <a:ext cx="2242645" cy="193899"/>
          </a:xfrm>
        </p:spPr>
        <p:txBody>
          <a:bodyPr wrap="square">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2892843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33715" y="1222375"/>
            <a:ext cx="3526818" cy="4956048"/>
          </a:xfrm>
        </p:spPr>
        <p:txBody>
          <a:bodyPr/>
          <a:lstStyle>
            <a:lvl1pPr>
              <a:defRPr sz="2200"/>
            </a:lvl1pPr>
            <a:lvl2pPr>
              <a:defRPr sz="2000"/>
            </a:lvl2pPr>
            <a:lvl3pPr>
              <a:defRPr sz="1800"/>
            </a:lvl3pPr>
            <a:lvl4pPr>
              <a:defRPr sz="1600"/>
            </a:lvl4pPr>
            <a:lvl5pPr>
              <a:defRPr sz="1400" baseline="0"/>
            </a:lvl5pPr>
            <a:lvl6pPr>
              <a:defRPr sz="1900"/>
            </a:lvl6pPr>
            <a:lvl7pPr>
              <a:defRPr sz="1900"/>
            </a:lvl7pPr>
            <a:lvl8pPr>
              <a:defRPr sz="1900"/>
            </a:lvl8pPr>
            <a:lvl9pPr>
              <a:defRPr sz="19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4"/>
          <p:cNvSpPr>
            <a:spLocks noGrp="1"/>
          </p:cNvSpPr>
          <p:nvPr>
            <p:ph type="title" hasCustomPrompt="1"/>
          </p:nvPr>
        </p:nvSpPr>
        <p:spPr/>
        <p:txBody>
          <a:bodyPr/>
          <a:lstStyle>
            <a:lvl1pPr>
              <a:defRPr/>
            </a:lvl1pPr>
          </a:lstStyle>
          <a:p>
            <a:r>
              <a:rPr lang="en-US" dirty="0"/>
              <a:t>Click to add title</a:t>
            </a:r>
          </a:p>
        </p:txBody>
      </p:sp>
      <p:sp>
        <p:nvSpPr>
          <p:cNvPr id="20" name="Content Placeholder 19"/>
          <p:cNvSpPr>
            <a:spLocks noGrp="1"/>
          </p:cNvSpPr>
          <p:nvPr>
            <p:ph sz="quarter" idx="15" hasCustomPrompt="1"/>
          </p:nvPr>
        </p:nvSpPr>
        <p:spPr>
          <a:xfrm>
            <a:off x="4334936" y="1222375"/>
            <a:ext cx="3531780" cy="4956048"/>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241120" y="1222375"/>
            <a:ext cx="3531780" cy="4956048"/>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24129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0530" y="1222375"/>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1"/>
          <p:cNvSpPr>
            <a:spLocks noGrp="1"/>
          </p:cNvSpPr>
          <p:nvPr>
            <p:ph sz="quarter" idx="16" hasCustomPrompt="1"/>
          </p:nvPr>
        </p:nvSpPr>
        <p:spPr>
          <a:xfrm>
            <a:off x="6470140" y="1222375"/>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1"/>
          <p:cNvSpPr>
            <a:spLocks noGrp="1"/>
          </p:cNvSpPr>
          <p:nvPr>
            <p:ph sz="quarter" idx="20" hasCustomPrompt="1"/>
          </p:nvPr>
        </p:nvSpPr>
        <p:spPr>
          <a:xfrm>
            <a:off x="6470140" y="3808383"/>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11"/>
          <p:cNvSpPr>
            <a:spLocks noGrp="1"/>
          </p:cNvSpPr>
          <p:nvPr>
            <p:ph sz="quarter" idx="19" hasCustomPrompt="1"/>
          </p:nvPr>
        </p:nvSpPr>
        <p:spPr>
          <a:xfrm>
            <a:off x="430530" y="3808383"/>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462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One Over One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1757" y="1222375"/>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p:cNvSpPr>
            <a:spLocks noGrp="1"/>
          </p:cNvSpPr>
          <p:nvPr>
            <p:ph sz="quarter" idx="19" hasCustomPrompt="1"/>
          </p:nvPr>
        </p:nvSpPr>
        <p:spPr>
          <a:xfrm>
            <a:off x="431757" y="3808382"/>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773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650666" y="1222375"/>
            <a:ext cx="7122234" cy="4956048"/>
          </a:xfrm>
        </p:spPr>
        <p:txBody>
          <a:bodyPr/>
          <a:lstStyle>
            <a:lvl1pPr>
              <a:defRPr sz="2200"/>
            </a:lvl1pPr>
            <a:lvl2pPr>
              <a:defRPr sz="2000"/>
            </a:lvl2pPr>
            <a:lvl3pPr>
              <a:defRPr sz="1800"/>
            </a:lvl3pPr>
            <a:lvl4pPr>
              <a:defRPr sz="1600"/>
            </a:lvl4pPr>
            <a:lvl5pPr>
              <a:defRPr sz="1400" baseline="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hasCustomPrompt="1"/>
          </p:nvPr>
        </p:nvSpPr>
        <p:spPr>
          <a:xfrm>
            <a:off x="433715" y="1222375"/>
            <a:ext cx="3866348" cy="4956048"/>
          </a:xfrm>
        </p:spPr>
        <p:txBody>
          <a:bodyPr/>
          <a:lstStyle>
            <a:lvl1pPr>
              <a:defRPr sz="2200"/>
            </a:lvl1pPr>
            <a:lvl2pPr>
              <a:defRPr sz="2000"/>
            </a:lvl2pPr>
            <a:lvl3pPr>
              <a:defRPr sz="1800"/>
            </a:lvl3pPr>
            <a:lvl4pPr>
              <a:defRPr sz="1600"/>
            </a:lvl4pPr>
            <a:lvl5pPr>
              <a:defRPr sz="140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395469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Content &amp; Image">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a:xfrm>
            <a:off x="4610587" y="1220583"/>
            <a:ext cx="7150883" cy="4956048"/>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8" name="Content Placeholder 2"/>
          <p:cNvSpPr>
            <a:spLocks noGrp="1"/>
          </p:cNvSpPr>
          <p:nvPr>
            <p:ph idx="13" hasCustomPrompt="1"/>
          </p:nvPr>
        </p:nvSpPr>
        <p:spPr>
          <a:xfrm>
            <a:off x="431756" y="1220583"/>
            <a:ext cx="3866395" cy="4956048"/>
          </a:xfrm>
        </p:spPr>
        <p:txBody>
          <a:bodyPr>
            <a:normAutofit/>
          </a:bodyPr>
          <a:lstStyle>
            <a:lvl1pPr>
              <a:defRPr sz="2200"/>
            </a:lvl1pPr>
            <a:lvl2pPr>
              <a:defRPr sz="2000"/>
            </a:lvl2pPr>
            <a:lvl3pPr>
              <a:defRPr sz="1800"/>
            </a:lvl3pPr>
            <a:lvl4pPr>
              <a:defRPr sz="1600"/>
            </a:lvl4pPr>
            <a:lvl5pPr>
              <a:defRPr sz="1400" baseline="0"/>
            </a:lvl5pPr>
            <a:lvl6pPr>
              <a:defRPr sz="2000"/>
            </a:lvl6pPr>
            <a:lvl7pPr>
              <a:defRPr sz="2000"/>
            </a:lvl7pPr>
            <a:lvl8pPr>
              <a:defRPr sz="2000"/>
            </a:lvl8pPr>
            <a:lvl9pPr>
              <a:defRPr sz="20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a:xfrm>
            <a:off x="411480" y="347471"/>
            <a:ext cx="10259568" cy="347472"/>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319440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mp; 1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9101" y="1220583"/>
            <a:ext cx="11353800" cy="4979800"/>
          </a:xfrm>
        </p:spPr>
        <p:txBody>
          <a:bodyPr anchor="ctr"/>
          <a:lstStyle>
            <a:lvl1pPr marL="0" indent="0" algn="ctr">
              <a:buFontTx/>
              <a:buNone/>
              <a:defRPr baseline="0">
                <a:solidFill>
                  <a:schemeClr val="tx1"/>
                </a:solidFill>
                <a:latin typeface="+mn-lt"/>
              </a:defRPr>
            </a:lvl1pPr>
          </a:lstStyle>
          <a:p>
            <a:r>
              <a:rPr lang="en-US"/>
              <a:t>Click icon to add picture</a:t>
            </a:r>
            <a:endParaRPr lang="en-US" dirty="0"/>
          </a:p>
        </p:txBody>
      </p:sp>
      <p:sp>
        <p:nvSpPr>
          <p:cNvPr id="2" name="Title 1"/>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2962040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_Title &amp; 2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32203" y="1024137"/>
            <a:ext cx="6059797" cy="5480643"/>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7" name="Picture Placeholder 3"/>
          <p:cNvSpPr>
            <a:spLocks noGrp="1"/>
          </p:cNvSpPr>
          <p:nvPr>
            <p:ph type="pic" sz="quarter" idx="12"/>
          </p:nvPr>
        </p:nvSpPr>
        <p:spPr>
          <a:xfrm>
            <a:off x="3047" y="1024137"/>
            <a:ext cx="6081233" cy="5480643"/>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12" name="Title 11"/>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9" name="Text Placeholder 33"/>
          <p:cNvSpPr>
            <a:spLocks noGrp="1"/>
          </p:cNvSpPr>
          <p:nvPr>
            <p:ph type="body" sz="quarter" idx="18" hasCustomPrompt="1"/>
          </p:nvPr>
        </p:nvSpPr>
        <p:spPr>
          <a:xfrm>
            <a:off x="-9548"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387496"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498774" y="5015592"/>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86203" y="1024137"/>
            <a:ext cx="45719" cy="5480643"/>
          </a:xfrm>
          <a:solidFill>
            <a:schemeClr val="tx2">
              <a:lumMod val="75000"/>
            </a:schemeClr>
          </a:solidFill>
        </p:spPr>
        <p:txBody>
          <a:bodyPr/>
          <a:lstStyle>
            <a:lvl1pPr marL="0" indent="0">
              <a:buNone/>
              <a:defRPr/>
            </a:lvl1pPr>
          </a:lstStyle>
          <a:p>
            <a:pPr lvl="0"/>
            <a:r>
              <a:rPr lang="en-US" dirty="0"/>
              <a:t> </a:t>
            </a:r>
          </a:p>
        </p:txBody>
      </p:sp>
      <p:sp>
        <p:nvSpPr>
          <p:cNvPr id="20" name="Text Placeholder 2"/>
          <p:cNvSpPr>
            <a:spLocks noGrp="1"/>
          </p:cNvSpPr>
          <p:nvPr>
            <p:ph type="body" sz="quarter" idx="21" hasCustomPrompt="1"/>
          </p:nvPr>
        </p:nvSpPr>
        <p:spPr>
          <a:xfrm rot="5400000">
            <a:off x="6074664" y="-5093199"/>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95378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amp; 3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1024128"/>
            <a:ext cx="4042250" cy="548065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5" name="Picture Placeholder 25"/>
          <p:cNvSpPr>
            <a:spLocks noGrp="1"/>
          </p:cNvSpPr>
          <p:nvPr>
            <p:ph type="pic" sz="quarter" idx="14"/>
          </p:nvPr>
        </p:nvSpPr>
        <p:spPr>
          <a:xfrm>
            <a:off x="8159299" y="1024128"/>
            <a:ext cx="4032702" cy="548065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6" name="Picture Placeholder 6"/>
          <p:cNvSpPr>
            <a:spLocks noGrp="1"/>
          </p:cNvSpPr>
          <p:nvPr>
            <p:ph type="pic" sz="quarter" idx="13"/>
          </p:nvPr>
        </p:nvSpPr>
        <p:spPr>
          <a:xfrm>
            <a:off x="4078854" y="1024128"/>
            <a:ext cx="4034293" cy="548065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12" name="Title 11"/>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16" name="Text Placeholder 33"/>
          <p:cNvSpPr>
            <a:spLocks noGrp="1"/>
          </p:cNvSpPr>
          <p:nvPr>
            <p:ph type="body" sz="quarter" idx="18" hasCustomPrompt="1"/>
          </p:nvPr>
        </p:nvSpPr>
        <p:spPr>
          <a:xfrm>
            <a:off x="-9548"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4254709" y="5011670"/>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bwMode="gray">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1" y="1024128"/>
            <a:ext cx="45719" cy="5480652"/>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6" y="1024128"/>
            <a:ext cx="47866" cy="5480652"/>
          </a:xfrm>
          <a:solidFill>
            <a:schemeClr val="tx2">
              <a:lumMod val="75000"/>
            </a:schemeClr>
          </a:solidFill>
        </p:spPr>
        <p:txBody>
          <a:bodyPr/>
          <a:lstStyle>
            <a:lvl1pPr marL="0" indent="0">
              <a:buNone/>
              <a:defRPr baseline="0"/>
            </a:lvl1pPr>
          </a:lstStyle>
          <a:p>
            <a:pPr lvl="0"/>
            <a:r>
              <a:rPr lang="en-US" dirty="0"/>
              <a:t> </a:t>
            </a:r>
          </a:p>
        </p:txBody>
      </p:sp>
      <p:sp>
        <p:nvSpPr>
          <p:cNvPr id="20" name="Text Placeholder 2"/>
          <p:cNvSpPr>
            <a:spLocks noGrp="1"/>
          </p:cNvSpPr>
          <p:nvPr>
            <p:ph type="body" sz="quarter" idx="21" hasCustomPrompt="1"/>
          </p:nvPr>
        </p:nvSpPr>
        <p:spPr>
          <a:xfrm rot="5400000">
            <a:off x="6074664" y="-5093208"/>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9516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Full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9548" y="1"/>
            <a:ext cx="12201549" cy="6858000"/>
          </a:xfrm>
        </p:spPr>
        <p:txBody>
          <a:bodyPr anchor="ctr"/>
          <a:lstStyle>
            <a:lvl1pPr marL="0" indent="0" algn="ctr">
              <a:buFontTx/>
              <a:buNone/>
              <a:defRPr baseline="0">
                <a:solidFill>
                  <a:schemeClr val="tx1"/>
                </a:solidFill>
                <a:latin typeface="+mn-lt"/>
              </a:defRPr>
            </a:lvl1pPr>
          </a:lstStyle>
          <a:p>
            <a:r>
              <a:rPr lang="en-US"/>
              <a:t>Click icon to add picture</a:t>
            </a:r>
            <a:endParaRPr lang="en-US" dirty="0"/>
          </a:p>
        </p:txBody>
      </p:sp>
      <p:sp>
        <p:nvSpPr>
          <p:cNvPr id="5" name="Text Placeholder 33"/>
          <p:cNvSpPr>
            <a:spLocks noGrp="1"/>
          </p:cNvSpPr>
          <p:nvPr>
            <p:ph type="body" sz="quarter" idx="18" hasCustomPrompt="1"/>
          </p:nvPr>
        </p:nvSpPr>
        <p:spPr>
          <a:xfrm>
            <a:off x="-9548" y="5033360"/>
            <a:ext cx="12201549" cy="902866"/>
          </a:xfrm>
          <a:solidFill>
            <a:srgbClr val="000000">
              <a:alpha val="90000"/>
            </a:srgbClr>
          </a:solidFill>
        </p:spPr>
        <p:txBody>
          <a:bodyPr anchor="ctr"/>
          <a:lstStyle>
            <a:lvl1pPr marL="0" indent="0" algn="ctr">
              <a:buNone/>
              <a:defRPr/>
            </a:lvl1pPr>
          </a:lstStyle>
          <a:p>
            <a:pPr lvl="0"/>
            <a:r>
              <a:rPr lang="en-US" dirty="0"/>
              <a:t> </a:t>
            </a:r>
          </a:p>
        </p:txBody>
      </p:sp>
      <p:sp>
        <p:nvSpPr>
          <p:cNvPr id="6" name="Text Placeholder 29"/>
          <p:cNvSpPr>
            <a:spLocks noGrp="1"/>
          </p:cNvSpPr>
          <p:nvPr>
            <p:ph type="body" sz="quarter" idx="16" hasCustomPrompt="1"/>
          </p:nvPr>
        </p:nvSpPr>
        <p:spPr bwMode="gray">
          <a:xfrm>
            <a:off x="293192" y="5239526"/>
            <a:ext cx="11605619" cy="490537"/>
          </a:xfrm>
        </p:spPr>
        <p:txBody>
          <a:bodyPr anchor="ctr">
            <a:normAutofit/>
          </a:bodyPr>
          <a:lstStyle>
            <a:lvl1pPr marL="0" indent="0" algn="ctr">
              <a:lnSpc>
                <a:spcPct val="90000"/>
              </a:lnSpc>
              <a:buNone/>
              <a:defRPr sz="3200" baseline="0">
                <a:solidFill>
                  <a:schemeClr val="bg1"/>
                </a:solidFill>
                <a:latin typeface="+mn-lt"/>
              </a:defRPr>
            </a:lvl1pPr>
          </a:lstStyle>
          <a:p>
            <a:pPr lvl="0"/>
            <a:r>
              <a:rPr lang="en-US" dirty="0"/>
              <a:t>Click to add text</a:t>
            </a:r>
          </a:p>
        </p:txBody>
      </p:sp>
    </p:spTree>
    <p:extLst>
      <p:ext uri="{BB962C8B-B14F-4D97-AF65-F5344CB8AC3E}">
        <p14:creationId xmlns:p14="http://schemas.microsoft.com/office/powerpoint/2010/main" val="1511299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Two Full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18859" y="0"/>
            <a:ext cx="6073141" cy="6857999"/>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7" name="Picture Placeholder 3"/>
          <p:cNvSpPr>
            <a:spLocks noGrp="1"/>
          </p:cNvSpPr>
          <p:nvPr>
            <p:ph type="pic" sz="quarter" idx="12"/>
          </p:nvPr>
        </p:nvSpPr>
        <p:spPr>
          <a:xfrm>
            <a:off x="1" y="1"/>
            <a:ext cx="6073140" cy="6858000"/>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9" name="Text Placeholder 33"/>
          <p:cNvSpPr>
            <a:spLocks noGrp="1"/>
          </p:cNvSpPr>
          <p:nvPr>
            <p:ph type="body" sz="quarter" idx="18" hasCustomPrompt="1"/>
          </p:nvPr>
        </p:nvSpPr>
        <p:spPr>
          <a:xfrm>
            <a:off x="-9548"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387496"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498774" y="5015592"/>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73141" y="0"/>
            <a:ext cx="45719" cy="6858000"/>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556734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losing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86156" y="2493034"/>
            <a:ext cx="4819688" cy="1871932"/>
          </a:xfrm>
          <a:prstGeom prst="rect">
            <a:avLst/>
          </a:prstGeom>
        </p:spPr>
      </p:pic>
    </p:spTree>
    <p:extLst>
      <p:ext uri="{BB962C8B-B14F-4D97-AF65-F5344CB8AC3E}">
        <p14:creationId xmlns:p14="http://schemas.microsoft.com/office/powerpoint/2010/main" val="2347255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Three Full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0"/>
            <a:ext cx="4042250" cy="6858000"/>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5" name="Picture Placeholder 25"/>
          <p:cNvSpPr>
            <a:spLocks noGrp="1"/>
          </p:cNvSpPr>
          <p:nvPr>
            <p:ph type="pic" sz="quarter" idx="14"/>
          </p:nvPr>
        </p:nvSpPr>
        <p:spPr>
          <a:xfrm>
            <a:off x="8159299" y="0"/>
            <a:ext cx="4032702" cy="6858000"/>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6" name="Picture Placeholder 6"/>
          <p:cNvSpPr>
            <a:spLocks noGrp="1"/>
          </p:cNvSpPr>
          <p:nvPr>
            <p:ph type="pic" sz="quarter" idx="13"/>
          </p:nvPr>
        </p:nvSpPr>
        <p:spPr>
          <a:xfrm>
            <a:off x="4078854" y="0"/>
            <a:ext cx="4034293" cy="6858000"/>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16" name="Text Placeholder 33"/>
          <p:cNvSpPr>
            <a:spLocks noGrp="1"/>
          </p:cNvSpPr>
          <p:nvPr>
            <p:ph type="body" sz="quarter" idx="18" hasCustomPrompt="1"/>
          </p:nvPr>
        </p:nvSpPr>
        <p:spPr>
          <a:xfrm>
            <a:off x="-9548"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4254709" y="5011670"/>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bwMode="gray">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0" y="0"/>
            <a:ext cx="45720" cy="6858000"/>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6" y="0"/>
            <a:ext cx="45720" cy="6858000"/>
          </a:xfrm>
          <a:solidFill>
            <a:schemeClr val="tx2">
              <a:lumMod val="75000"/>
            </a:schemeClr>
          </a:solidFill>
        </p:spPr>
        <p:txBody>
          <a:bodyPr/>
          <a:lstStyle>
            <a:lvl1pPr marL="0" indent="0">
              <a:buNone/>
              <a:defRPr baseline="0"/>
            </a:lvl1pPr>
          </a:lstStyle>
          <a:p>
            <a:pPr lvl="0"/>
            <a:r>
              <a:rPr lang="en-US" dirty="0"/>
              <a:t> </a:t>
            </a:r>
          </a:p>
        </p:txBody>
      </p:sp>
    </p:spTree>
    <p:extLst>
      <p:ext uri="{BB962C8B-B14F-4D97-AF65-F5344CB8AC3E}">
        <p14:creationId xmlns:p14="http://schemas.microsoft.com/office/powerpoint/2010/main" val="3736019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Green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p:nvSpPr>
        <p:spPr bwMode="gray">
          <a:xfrm>
            <a:off x="437477" y="2590309"/>
            <a:ext cx="1691925" cy="1687739"/>
          </a:xfrm>
          <a:prstGeom prst="ellipse">
            <a:avLst/>
          </a:prstGeom>
          <a:solidFill>
            <a:schemeClr val="bg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2215430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Title Slide with Half Image">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r="50225"/>
          <a:stretch/>
        </p:blipFill>
        <p:spPr>
          <a:xfrm>
            <a:off x="2467" y="-1"/>
            <a:ext cx="6066101" cy="6858000"/>
          </a:xfrm>
          <a:prstGeom prst="rect">
            <a:avLst/>
          </a:prstGeom>
        </p:spPr>
      </p:pic>
      <p:sp>
        <p:nvSpPr>
          <p:cNvPr id="6" name="Picture Placeholder 5"/>
          <p:cNvSpPr>
            <a:spLocks noGrp="1"/>
          </p:cNvSpPr>
          <p:nvPr>
            <p:ph type="pic" sz="quarter" idx="13" hasCustomPrompt="1"/>
          </p:nvPr>
        </p:nvSpPr>
        <p:spPr>
          <a:xfrm>
            <a:off x="6123432" y="0"/>
            <a:ext cx="6068567" cy="6858000"/>
          </a:xfrm>
        </p:spPr>
        <p:txBody>
          <a:bodyPr anchor="ctr"/>
          <a:lstStyle>
            <a:lvl1pPr marL="0" indent="0" algn="ctr">
              <a:buNone/>
              <a:defRPr/>
            </a:lvl1pPr>
          </a:lstStyle>
          <a:p>
            <a:r>
              <a:rPr lang="en-US" dirty="0"/>
              <a:t>Insert Photo Here</a:t>
            </a:r>
          </a:p>
        </p:txBody>
      </p:sp>
      <p:sp>
        <p:nvSpPr>
          <p:cNvPr id="2" name="Title 1"/>
          <p:cNvSpPr>
            <a:spLocks noGrp="1"/>
          </p:cNvSpPr>
          <p:nvPr>
            <p:ph type="ctrTitle" hasCustomPrompt="1"/>
          </p:nvPr>
        </p:nvSpPr>
        <p:spPr bwMode="gray">
          <a:xfrm>
            <a:off x="427964" y="2738406"/>
            <a:ext cx="5417220" cy="1077218"/>
          </a:xfrm>
        </p:spPr>
        <p:txBody>
          <a:bodyPr wrap="square" tIns="91440" anchor="ctr" anchorCtr="0">
            <a:spAutoFit/>
          </a:bodyPr>
          <a:lstStyle>
            <a:lvl1pPr>
              <a:lnSpc>
                <a:spcPct val="80000"/>
              </a:lnSpc>
              <a:defRPr sz="4000" b="0" cap="all" baseline="0">
                <a:solidFill>
                  <a:schemeClr val="bg1"/>
                </a:solidFill>
                <a:effectLst/>
                <a:latin typeface="+mn-lt"/>
              </a:defRPr>
            </a:lvl1pPr>
          </a:lstStyle>
          <a:p>
            <a:r>
              <a:rPr lang="en-US" dirty="0"/>
              <a:t>Click to Add Presentation Title</a:t>
            </a:r>
          </a:p>
        </p:txBody>
      </p:sp>
      <p:sp>
        <p:nvSpPr>
          <p:cNvPr id="3" name="Subtitle 2"/>
          <p:cNvSpPr>
            <a:spLocks noGrp="1"/>
          </p:cNvSpPr>
          <p:nvPr>
            <p:ph type="subTitle" idx="1" hasCustomPrompt="1"/>
          </p:nvPr>
        </p:nvSpPr>
        <p:spPr bwMode="gray">
          <a:xfrm>
            <a:off x="427965" y="5450090"/>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965" y="5761656"/>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965" y="6249404"/>
            <a:ext cx="5424946" cy="193899"/>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2" name="Rectangle 11"/>
          <p:cNvSpPr/>
          <p:nvPr/>
        </p:nvSpPr>
        <p:spPr bwMode="gray">
          <a:xfrm>
            <a:off x="6068568" y="0"/>
            <a:ext cx="548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7964" y="422412"/>
            <a:ext cx="1538859" cy="597682"/>
          </a:xfrm>
          <a:prstGeom prst="rect">
            <a:avLst/>
          </a:prstGeom>
        </p:spPr>
      </p:pic>
    </p:spTree>
    <p:extLst>
      <p:ext uri="{BB962C8B-B14F-4D97-AF65-F5344CB8AC3E}">
        <p14:creationId xmlns:p14="http://schemas.microsoft.com/office/powerpoint/2010/main" val="528832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Title Slide with Full Imag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0" y="0"/>
            <a:ext cx="12192000" cy="6858000"/>
          </a:xfrm>
        </p:spPr>
        <p:txBody>
          <a:bodyPr anchor="ctr"/>
          <a:lstStyle>
            <a:lvl1pPr marL="0" indent="0" algn="ctr">
              <a:buNone/>
              <a:defRPr/>
            </a:lvl1pPr>
          </a:lstStyle>
          <a:p>
            <a:r>
              <a:rPr lang="en-US"/>
              <a:t>Click icon to add picture</a:t>
            </a:r>
            <a:endParaRPr lang="en-US" dirty="0"/>
          </a:p>
        </p:txBody>
      </p:sp>
      <p:sp>
        <p:nvSpPr>
          <p:cNvPr id="5" name="Text Placeholder 4"/>
          <p:cNvSpPr>
            <a:spLocks noGrp="1"/>
          </p:cNvSpPr>
          <p:nvPr>
            <p:ph type="body" sz="quarter" idx="17" hasCustomPrompt="1"/>
          </p:nvPr>
        </p:nvSpPr>
        <p:spPr>
          <a:xfrm>
            <a:off x="1" y="3474002"/>
            <a:ext cx="6105804" cy="2774398"/>
          </a:xfrm>
          <a:solidFill>
            <a:srgbClr val="000000">
              <a:alpha val="70000"/>
            </a:srgbClr>
          </a:solidFill>
        </p:spPr>
        <p:txBody>
          <a:bodyPr/>
          <a:lstStyle>
            <a:lvl1pPr marL="0" indent="0">
              <a:buNone/>
              <a:defRPr/>
            </a:lvl1pPr>
            <a:lvl2pPr marL="541501" indent="0">
              <a:buNone/>
              <a:defRPr/>
            </a:lvl2pPr>
            <a:lvl3pPr marL="1086776" indent="0">
              <a:buNone/>
              <a:defRPr/>
            </a:lvl3pPr>
            <a:lvl4pPr marL="1630163" indent="0">
              <a:buNone/>
              <a:defRPr/>
            </a:lvl4pPr>
            <a:lvl5pPr marL="2173551" indent="0">
              <a:buNone/>
              <a:defRPr/>
            </a:lvl5pPr>
          </a:lstStyle>
          <a:p>
            <a:pPr lvl="0"/>
            <a:r>
              <a:rPr lang="en-US" dirty="0"/>
              <a:t> </a:t>
            </a:r>
          </a:p>
        </p:txBody>
      </p:sp>
      <p:sp>
        <p:nvSpPr>
          <p:cNvPr id="2" name="Title 1"/>
          <p:cNvSpPr>
            <a:spLocks noGrp="1"/>
          </p:cNvSpPr>
          <p:nvPr>
            <p:ph type="ctrTitle" hasCustomPrompt="1"/>
          </p:nvPr>
        </p:nvSpPr>
        <p:spPr bwMode="gray">
          <a:xfrm>
            <a:off x="256906" y="3759912"/>
            <a:ext cx="5686317" cy="886397"/>
          </a:xfrm>
        </p:spPr>
        <p:txBody>
          <a:bodyPr wrap="square" anchor="ctr" anchorCtr="0">
            <a:spAutoFit/>
          </a:bodyPr>
          <a:lstStyle>
            <a:lvl1pPr algn="l">
              <a:lnSpc>
                <a:spcPct val="80000"/>
              </a:lnSpc>
              <a:defRPr sz="3600" b="0" i="0" cap="all" baseline="0">
                <a:solidFill>
                  <a:schemeClr val="bg1"/>
                </a:solidFill>
                <a:effectLst/>
                <a:latin typeface="+mj-lt"/>
                <a:ea typeface="DIN Pro Black" charset="0"/>
                <a:cs typeface="DIN Pro Black" charset="0"/>
              </a:defRPr>
            </a:lvl1pPr>
          </a:lstStyle>
          <a:p>
            <a:r>
              <a:rPr lang="en-US" dirty="0"/>
              <a:t>Click to Add Presentation Title</a:t>
            </a:r>
          </a:p>
        </p:txBody>
      </p:sp>
      <p:sp>
        <p:nvSpPr>
          <p:cNvPr id="3" name="Subtitle 2"/>
          <p:cNvSpPr>
            <a:spLocks noGrp="1"/>
          </p:cNvSpPr>
          <p:nvPr>
            <p:ph type="subTitle" idx="1" hasCustomPrompt="1"/>
          </p:nvPr>
        </p:nvSpPr>
        <p:spPr bwMode="gray">
          <a:xfrm>
            <a:off x="256906" y="5001756"/>
            <a:ext cx="5686317" cy="246221"/>
          </a:xfrm>
        </p:spPr>
        <p:txBody>
          <a:bodyPr wrap="square" anchor="b">
            <a:spAutoFit/>
          </a:bodyPr>
          <a:lstStyle>
            <a:lvl1pPr marL="0" indent="0" algn="l">
              <a:lnSpc>
                <a:spcPct val="80000"/>
              </a:lnSpc>
              <a:spcBef>
                <a:spcPts val="0"/>
              </a:spcBef>
              <a:spcAft>
                <a:spcPts val="800"/>
              </a:spcAft>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256906" y="5282543"/>
            <a:ext cx="5686317" cy="221599"/>
          </a:xfrm>
        </p:spPr>
        <p:txBody>
          <a:bodyPr wrap="square" anchor="t">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1" name="Text Placeholder 9"/>
          <p:cNvSpPr>
            <a:spLocks noGrp="1"/>
          </p:cNvSpPr>
          <p:nvPr>
            <p:ph type="body" sz="quarter" idx="13" hasCustomPrompt="1"/>
          </p:nvPr>
        </p:nvSpPr>
        <p:spPr bwMode="gray">
          <a:xfrm>
            <a:off x="256906" y="5793137"/>
            <a:ext cx="2242645" cy="193899"/>
          </a:xfrm>
        </p:spPr>
        <p:txBody>
          <a:bodyPr wrap="square">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716560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Closing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6156" y="2493034"/>
            <a:ext cx="4819688" cy="1871932"/>
          </a:xfrm>
          <a:prstGeom prst="rect">
            <a:avLst/>
          </a:prstGeom>
        </p:spPr>
      </p:pic>
    </p:spTree>
    <p:extLst>
      <p:ext uri="{BB962C8B-B14F-4D97-AF65-F5344CB8AC3E}">
        <p14:creationId xmlns:p14="http://schemas.microsoft.com/office/powerpoint/2010/main" val="89981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Accent Color Slide Options">
    <p:bg>
      <p:bgPr>
        <a:solidFill>
          <a:srgbClr val="000000"/>
        </a:solidFill>
        <a:effectLst/>
      </p:bgPr>
    </p:bg>
    <p:spTree>
      <p:nvGrpSpPr>
        <p:cNvPr id="1" name=""/>
        <p:cNvGrpSpPr/>
        <p:nvPr/>
      </p:nvGrpSpPr>
      <p:grpSpPr>
        <a:xfrm>
          <a:off x="0" y="0"/>
          <a:ext cx="0" cy="0"/>
          <a:chOff x="0" y="0"/>
          <a:chExt cx="0" cy="0"/>
        </a:xfrm>
      </p:grpSpPr>
      <p:sp>
        <p:nvSpPr>
          <p:cNvPr id="2" name="TextBox 1"/>
          <p:cNvSpPr txBox="1"/>
          <p:nvPr/>
        </p:nvSpPr>
        <p:spPr>
          <a:xfrm>
            <a:off x="858994" y="1505405"/>
            <a:ext cx="10474021" cy="3847207"/>
          </a:xfrm>
          <a:prstGeom prst="rect">
            <a:avLst/>
          </a:prstGeom>
          <a:noFill/>
        </p:spPr>
        <p:txBody>
          <a:bodyPr wrap="none" lIns="0" tIns="0" rIns="0" bIns="0" rtlCol="0" anchor="ctr">
            <a:spAutoFit/>
          </a:bodyPr>
          <a:lstStyle/>
          <a:p>
            <a:pPr algn="ctr"/>
            <a:r>
              <a:rPr lang="en-US" sz="12500" dirty="0">
                <a:solidFill>
                  <a:schemeClr val="bg1"/>
                </a:solidFill>
              </a:rPr>
              <a:t>Accent Color</a:t>
            </a:r>
            <a:br>
              <a:rPr lang="en-US" sz="12500" dirty="0">
                <a:solidFill>
                  <a:schemeClr val="bg1"/>
                </a:solidFill>
              </a:rPr>
            </a:br>
            <a:r>
              <a:rPr lang="en-US" sz="12500" dirty="0">
                <a:solidFill>
                  <a:schemeClr val="bg1"/>
                </a:solidFill>
              </a:rPr>
              <a:t>Slide Options</a:t>
            </a:r>
          </a:p>
        </p:txBody>
      </p:sp>
    </p:spTree>
    <p:extLst>
      <p:ext uri="{BB962C8B-B14F-4D97-AF65-F5344CB8AC3E}">
        <p14:creationId xmlns:p14="http://schemas.microsoft.com/office/powerpoint/2010/main" val="151132293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Blue Block &amp; Content">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367125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Blue Divider">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3022609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Blue Number Divider">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p:nvSpPr>
        <p:spPr bwMode="gray">
          <a:xfrm>
            <a:off x="437477" y="2590309"/>
            <a:ext cx="1691925" cy="1687739"/>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34625161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Light Blue Block &amp; Conten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1690532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Accent Color Slide Options">
    <p:bg>
      <p:bgPr>
        <a:solidFill>
          <a:srgbClr val="000000"/>
        </a:solidFill>
        <a:effectLst/>
      </p:bgPr>
    </p:bg>
    <p:spTree>
      <p:nvGrpSpPr>
        <p:cNvPr id="1" name=""/>
        <p:cNvGrpSpPr/>
        <p:nvPr/>
      </p:nvGrpSpPr>
      <p:grpSpPr>
        <a:xfrm>
          <a:off x="0" y="0"/>
          <a:ext cx="0" cy="0"/>
          <a:chOff x="0" y="0"/>
          <a:chExt cx="0" cy="0"/>
        </a:xfrm>
      </p:grpSpPr>
      <p:sp>
        <p:nvSpPr>
          <p:cNvPr id="2" name="TextBox 1"/>
          <p:cNvSpPr txBox="1"/>
          <p:nvPr/>
        </p:nvSpPr>
        <p:spPr>
          <a:xfrm>
            <a:off x="858994" y="1505405"/>
            <a:ext cx="10474021" cy="3847207"/>
          </a:xfrm>
          <a:prstGeom prst="rect">
            <a:avLst/>
          </a:prstGeom>
          <a:noFill/>
        </p:spPr>
        <p:txBody>
          <a:bodyPr wrap="none" lIns="0" tIns="0" rIns="0" bIns="0" rtlCol="0" anchor="ctr">
            <a:spAutoFit/>
          </a:bodyPr>
          <a:lstStyle/>
          <a:p>
            <a:pPr algn="ctr"/>
            <a:r>
              <a:rPr lang="en-US" sz="12500" dirty="0">
                <a:solidFill>
                  <a:schemeClr val="bg1"/>
                </a:solidFill>
              </a:rPr>
              <a:t>Accent Color</a:t>
            </a:r>
            <a:br>
              <a:rPr lang="en-US" sz="12500" dirty="0">
                <a:solidFill>
                  <a:schemeClr val="bg1"/>
                </a:solidFill>
              </a:rPr>
            </a:br>
            <a:r>
              <a:rPr lang="en-US" sz="12500" dirty="0">
                <a:solidFill>
                  <a:schemeClr val="bg1"/>
                </a:solidFill>
              </a:rPr>
              <a:t>Slide Options</a:t>
            </a:r>
          </a:p>
        </p:txBody>
      </p:sp>
    </p:spTree>
    <p:extLst>
      <p:ext uri="{BB962C8B-B14F-4D97-AF65-F5344CB8AC3E}">
        <p14:creationId xmlns:p14="http://schemas.microsoft.com/office/powerpoint/2010/main" val="340328548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Light Blue Divider">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a:noFill/>
        </p:spPr>
        <p:txBody>
          <a:bodyPr>
            <a:spAutoFit/>
          </a:bodyPr>
          <a:lstStyle>
            <a:lvl1pPr algn="l">
              <a:lnSpc>
                <a:spcPct val="80000"/>
              </a:lnSpc>
              <a:defRPr sz="480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3184225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Light Blu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p:nvSpPr>
        <p:spPr bwMode="gray">
          <a:xfrm>
            <a:off x="437477" y="2590309"/>
            <a:ext cx="1691925" cy="1687739"/>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14127547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Orange Block &amp; Conten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852485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Orange Divider">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354724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Orang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p:nvSpPr>
        <p:spPr bwMode="gray">
          <a:xfrm>
            <a:off x="437477" y="2590309"/>
            <a:ext cx="1691925" cy="1687739"/>
          </a:xfrm>
          <a:prstGeom prst="ellipse">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1438457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Gold Block &amp; Conten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406053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Gold Accent Divider">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3967189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Gold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p:nvSpPr>
        <p:spPr bwMode="gray">
          <a:xfrm>
            <a:off x="437477" y="2590309"/>
            <a:ext cx="1691925" cy="1687739"/>
          </a:xfrm>
          <a:prstGeom prst="ellipse">
            <a:avLst/>
          </a:prstGeom>
          <a:solidFill>
            <a:schemeClr val="accent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338224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Black Background">
    <p:bg bwMode="black">
      <p:bgPr>
        <a:solidFill>
          <a:srgbClr val="000000"/>
        </a:solidFill>
        <a:effectLst/>
      </p:bgPr>
    </p:bg>
    <p:spTree>
      <p:nvGrpSpPr>
        <p:cNvPr id="1" name=""/>
        <p:cNvGrpSpPr/>
        <p:nvPr/>
      </p:nvGrpSpPr>
      <p:grpSpPr>
        <a:xfrm>
          <a:off x="0" y="0"/>
          <a:ext cx="0" cy="0"/>
          <a:chOff x="0" y="0"/>
          <a:chExt cx="0" cy="0"/>
        </a:xfrm>
      </p:grpSpPr>
      <p:sp>
        <p:nvSpPr>
          <p:cNvPr id="10"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1698966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Blank_DO NOT DELE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2937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lue Block &amp;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196231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userDrawn="1">
  <p:cSld name="FOOTER">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schemeClr val="bg1"/>
              </a:solidFill>
            </a:endParaRPr>
          </a:p>
        </p:txBody>
      </p:sp>
      <p:pic>
        <p:nvPicPr>
          <p:cNvPr id="6" name="Picture 2" descr="Y:\_2015 Projects\PowerPoint\3_Resource Materials_Doug\PTC Logos\ThingWorx_RGB_SpecialGre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4881" y="6493712"/>
            <a:ext cx="1440888" cy="297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322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5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95900" y="1380744"/>
            <a:ext cx="5568176" cy="5029200"/>
          </a:xfrm>
        </p:spPr>
        <p:txBody>
          <a:bodyPr/>
          <a:lstStyle>
            <a:lvl1pPr>
              <a:defRPr sz="2700"/>
            </a:lvl1pPr>
            <a:lvl2pPr>
              <a:defRPr sz="2400"/>
            </a:lvl2pPr>
            <a:lvl3pPr>
              <a:defRPr sz="2100"/>
            </a:lvl3pPr>
            <a:lvl4pPr>
              <a:defRPr sz="1900"/>
            </a:lvl4pPr>
            <a:lvl5pPr>
              <a:defRPr sz="19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21145" y="1380744"/>
            <a:ext cx="5568176" cy="5029200"/>
          </a:xfrm>
        </p:spPr>
        <p:txBody>
          <a:bodyPr/>
          <a:lstStyle>
            <a:lvl1pPr>
              <a:defRPr sz="2700"/>
            </a:lvl1pPr>
            <a:lvl2pPr>
              <a:defRPr sz="2400"/>
            </a:lvl2pPr>
            <a:lvl3pPr>
              <a:defRPr sz="2100"/>
            </a:lvl3pPr>
            <a:lvl4pPr>
              <a:defRPr sz="1900"/>
            </a:lvl4pPr>
            <a:lvl5pPr>
              <a:defRPr sz="19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400">
                <a:solidFill>
                  <a:schemeClr val="tx1"/>
                </a:solidFill>
                <a:latin typeface="Arial Narrow" pitchFamily="34" charset="0"/>
              </a:defRPr>
            </a:lvl1pPr>
            <a:lvl2pPr marL="608595" indent="0" algn="ctr">
              <a:buNone/>
              <a:defRPr>
                <a:solidFill>
                  <a:schemeClr val="tx1">
                    <a:tint val="75000"/>
                  </a:schemeClr>
                </a:solidFill>
              </a:defRPr>
            </a:lvl2pPr>
            <a:lvl3pPr marL="1217189" indent="0" algn="ctr">
              <a:buNone/>
              <a:defRPr>
                <a:solidFill>
                  <a:schemeClr val="tx1">
                    <a:tint val="75000"/>
                  </a:schemeClr>
                </a:solidFill>
              </a:defRPr>
            </a:lvl3pPr>
            <a:lvl4pPr marL="1825783" indent="0" algn="ctr">
              <a:buNone/>
              <a:defRPr>
                <a:solidFill>
                  <a:schemeClr val="tx1">
                    <a:tint val="75000"/>
                  </a:schemeClr>
                </a:solidFill>
              </a:defRPr>
            </a:lvl4pPr>
            <a:lvl5pPr marL="2434377" indent="0" algn="ctr">
              <a:buNone/>
              <a:defRPr>
                <a:solidFill>
                  <a:schemeClr val="tx1">
                    <a:tint val="75000"/>
                  </a:schemeClr>
                </a:solidFill>
              </a:defRPr>
            </a:lvl5pPr>
            <a:lvl6pPr marL="3042971" indent="0" algn="ctr">
              <a:buNone/>
              <a:defRPr>
                <a:solidFill>
                  <a:schemeClr val="tx1">
                    <a:tint val="75000"/>
                  </a:schemeClr>
                </a:solidFill>
              </a:defRPr>
            </a:lvl6pPr>
            <a:lvl7pPr marL="3651567" indent="0" algn="ctr">
              <a:buNone/>
              <a:defRPr>
                <a:solidFill>
                  <a:schemeClr val="tx1">
                    <a:tint val="75000"/>
                  </a:schemeClr>
                </a:solidFill>
              </a:defRPr>
            </a:lvl7pPr>
            <a:lvl8pPr marL="4260159" indent="0" algn="ctr">
              <a:buNone/>
              <a:defRPr>
                <a:solidFill>
                  <a:schemeClr val="tx1">
                    <a:tint val="75000"/>
                  </a:schemeClr>
                </a:solidFill>
              </a:defRPr>
            </a:lvl8pPr>
            <a:lvl9pPr marL="4868755" indent="0" algn="ctr">
              <a:buNone/>
              <a:defRPr>
                <a:solidFill>
                  <a:schemeClr val="tx1">
                    <a:tint val="75000"/>
                  </a:schemeClr>
                </a:solidFill>
              </a:defRPr>
            </a:lvl9pPr>
          </a:lstStyle>
          <a:p>
            <a:r>
              <a:rPr lang="en-US"/>
              <a:t>Click to edit Master subtitle style</a:t>
            </a:r>
          </a:p>
        </p:txBody>
      </p:sp>
      <p:sp>
        <p:nvSpPr>
          <p:cNvPr id="6"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900" b="1"/>
            </a:lvl1pPr>
          </a:lstStyle>
          <a:p>
            <a:endParaRPr lang="en-US" dirty="0">
              <a:solidFill>
                <a:srgbClr val="53565A"/>
              </a:solidFill>
            </a:endParaRPr>
          </a:p>
        </p:txBody>
      </p:sp>
    </p:spTree>
    <p:extLst>
      <p:ext uri="{BB962C8B-B14F-4D97-AF65-F5344CB8AC3E}">
        <p14:creationId xmlns:p14="http://schemas.microsoft.com/office/powerpoint/2010/main" val="21096456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92609" y="1380744"/>
            <a:ext cx="11599650" cy="5029200"/>
          </a:xfrm>
        </p:spPr>
        <p:txBody>
          <a:bodyPr>
            <a:noAutofit/>
          </a:bodyPr>
          <a:lstStyle>
            <a:lvl1pPr marL="229613" indent="-229613">
              <a:spcBef>
                <a:spcPts val="1795"/>
              </a:spcBef>
              <a:buClr>
                <a:schemeClr val="bg2"/>
              </a:buClr>
              <a:defRPr sz="1995">
                <a:solidFill>
                  <a:schemeClr val="bg2"/>
                </a:solidFill>
              </a:defRPr>
            </a:lvl1pPr>
            <a:lvl2pPr marL="682502" indent="-228029">
              <a:spcBef>
                <a:spcPts val="0"/>
              </a:spcBef>
              <a:spcAft>
                <a:spcPts val="200"/>
              </a:spcAft>
              <a:defRPr sz="1795">
                <a:solidFill>
                  <a:srgbClr val="4C4D4F"/>
                </a:solidFill>
                <a:latin typeface="Arial Narrow" pitchFamily="34" charset="0"/>
              </a:defRPr>
            </a:lvl2pPr>
            <a:lvl3pPr marL="1140143" indent="-228029">
              <a:spcBef>
                <a:spcPts val="0"/>
              </a:spcBef>
              <a:spcAft>
                <a:spcPts val="200"/>
              </a:spcAft>
              <a:defRPr sz="1596">
                <a:solidFill>
                  <a:srgbClr val="4C4D4F"/>
                </a:solidFill>
                <a:latin typeface="Arial Narrow" pitchFamily="34" charset="0"/>
              </a:defRPr>
            </a:lvl3pPr>
            <a:lvl4pPr marL="1425178" indent="-228029">
              <a:defRPr sz="1397">
                <a:solidFill>
                  <a:srgbClr val="4C4D4F"/>
                </a:solidFill>
              </a:defRPr>
            </a:lvl4pPr>
            <a:lvl5pPr marL="1822645" indent="-228029">
              <a:defRPr sz="1397">
                <a:solidFill>
                  <a:srgbClr val="4C4D4F"/>
                </a:solidFill>
              </a:defRPr>
            </a:lvl5pPr>
          </a:lstStyle>
          <a:p>
            <a:pPr lvl="0"/>
            <a:r>
              <a:rPr lang="en-US"/>
              <a:t>Click to edit Master text styles</a:t>
            </a:r>
          </a:p>
          <a:p>
            <a:pPr lvl="1"/>
            <a:r>
              <a:rPr lang="en-US"/>
              <a:t>Second level</a:t>
            </a:r>
          </a:p>
          <a:p>
            <a:pPr lvl="2"/>
            <a:r>
              <a:rPr lang="en-US"/>
              <a:t>Third level</a:t>
            </a:r>
          </a:p>
        </p:txBody>
      </p:sp>
      <p:sp>
        <p:nvSpPr>
          <p:cNvPr id="8" name="Title 7"/>
          <p:cNvSpPr>
            <a:spLocks noGrp="1"/>
          </p:cNvSpPr>
          <p:nvPr>
            <p:ph type="title"/>
          </p:nvPr>
        </p:nvSpPr>
        <p:spPr/>
        <p:txBody>
          <a:bodyPr/>
          <a:lstStyle/>
          <a:p>
            <a:r>
              <a:rPr lang="en-US"/>
              <a:t>Click to edit Master title style</a:t>
            </a:r>
            <a:endParaRPr lang="en-US" dirty="0"/>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195">
                <a:solidFill>
                  <a:schemeClr val="tx1"/>
                </a:solidFill>
                <a:latin typeface="Arial Narrow" pitchFamily="34" charset="0"/>
              </a:defRPr>
            </a:lvl1pPr>
            <a:lvl2pPr marL="456057" indent="0" algn="ctr">
              <a:buNone/>
              <a:defRPr>
                <a:solidFill>
                  <a:schemeClr val="tx1">
                    <a:tint val="75000"/>
                  </a:schemeClr>
                </a:solidFill>
              </a:defRPr>
            </a:lvl2pPr>
            <a:lvl3pPr marL="912114" indent="0" algn="ctr">
              <a:buNone/>
              <a:defRPr>
                <a:solidFill>
                  <a:schemeClr val="tx1">
                    <a:tint val="75000"/>
                  </a:schemeClr>
                </a:solidFill>
              </a:defRPr>
            </a:lvl3pPr>
            <a:lvl4pPr marL="1368171" indent="0" algn="ctr">
              <a:buNone/>
              <a:defRPr>
                <a:solidFill>
                  <a:schemeClr val="tx1">
                    <a:tint val="75000"/>
                  </a:schemeClr>
                </a:solidFill>
              </a:defRPr>
            </a:lvl4pPr>
            <a:lvl5pPr marL="1824228" indent="0" algn="ctr">
              <a:buNone/>
              <a:defRPr>
                <a:solidFill>
                  <a:schemeClr val="tx1">
                    <a:tint val="75000"/>
                  </a:schemeClr>
                </a:solidFill>
              </a:defRPr>
            </a:lvl5pPr>
            <a:lvl6pPr marL="2280285" indent="0" algn="ctr">
              <a:buNone/>
              <a:defRPr>
                <a:solidFill>
                  <a:schemeClr val="tx1">
                    <a:tint val="75000"/>
                  </a:schemeClr>
                </a:solidFill>
              </a:defRPr>
            </a:lvl6pPr>
            <a:lvl7pPr marL="2736342" indent="0" algn="ctr">
              <a:buNone/>
              <a:defRPr>
                <a:solidFill>
                  <a:schemeClr val="tx1">
                    <a:tint val="75000"/>
                  </a:schemeClr>
                </a:solidFill>
              </a:defRPr>
            </a:lvl7pPr>
            <a:lvl8pPr marL="3192399" indent="0" algn="ctr">
              <a:buNone/>
              <a:defRPr>
                <a:solidFill>
                  <a:schemeClr val="tx1">
                    <a:tint val="75000"/>
                  </a:schemeClr>
                </a:solidFill>
              </a:defRPr>
            </a:lvl8pPr>
            <a:lvl9pPr marL="3648456"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698" b="1"/>
            </a:lvl1pPr>
          </a:lstStyle>
          <a:p>
            <a:endParaRPr lang="en-US" dirty="0"/>
          </a:p>
        </p:txBody>
      </p:sp>
    </p:spTree>
    <p:extLst>
      <p:ext uri="{BB962C8B-B14F-4D97-AF65-F5344CB8AC3E}">
        <p14:creationId xmlns:p14="http://schemas.microsoft.com/office/powerpoint/2010/main" val="226317633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cSld name="Blank_Image_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40696059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cSld name="Blank_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98656336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B7DCEC-F3DB-44D5-AF50-7F0026FE46C2}"/>
              </a:ext>
            </a:extLst>
          </p:cNvPr>
          <p:cNvSpPr/>
          <p:nvPr/>
        </p:nvSpPr>
        <p:spPr>
          <a:xfrm>
            <a:off x="0" y="0"/>
            <a:ext cx="8385464" cy="6867144"/>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2245"/>
              <a:gd name="connsiteX1" fmla="*/ 8385464 w 8385464"/>
              <a:gd name="connsiteY1" fmla="*/ 0 h 6882245"/>
              <a:gd name="connsiteX2" fmla="*/ 6255328 w 8385464"/>
              <a:gd name="connsiteY2" fmla="*/ 5029200 h 6882245"/>
              <a:gd name="connsiteX3" fmla="*/ 6871856 w 8385464"/>
              <a:gd name="connsiteY3" fmla="*/ 6882245 h 6882245"/>
              <a:gd name="connsiteX4" fmla="*/ 0 w 8385464"/>
              <a:gd name="connsiteY4" fmla="*/ 6858000 h 6882245"/>
              <a:gd name="connsiteX5" fmla="*/ 0 w 8385464"/>
              <a:gd name="connsiteY5" fmla="*/ 0 h 6882245"/>
              <a:gd name="connsiteX0" fmla="*/ 0 w 8385464"/>
              <a:gd name="connsiteY0" fmla="*/ 0 h 6882245"/>
              <a:gd name="connsiteX1" fmla="*/ 8385464 w 8385464"/>
              <a:gd name="connsiteY1" fmla="*/ 0 h 6882245"/>
              <a:gd name="connsiteX2" fmla="*/ 6255328 w 8385464"/>
              <a:gd name="connsiteY2" fmla="*/ 5029200 h 6882245"/>
              <a:gd name="connsiteX3" fmla="*/ 6843503 w 8385464"/>
              <a:gd name="connsiteY3" fmla="*/ 6882245 h 6882245"/>
              <a:gd name="connsiteX4" fmla="*/ 0 w 8385464"/>
              <a:gd name="connsiteY4" fmla="*/ 6858000 h 6882245"/>
              <a:gd name="connsiteX5" fmla="*/ 0 w 8385464"/>
              <a:gd name="connsiteY5" fmla="*/ 0 h 6882245"/>
              <a:gd name="connsiteX0" fmla="*/ 0 w 8385464"/>
              <a:gd name="connsiteY0" fmla="*/ 0 h 6858000"/>
              <a:gd name="connsiteX1" fmla="*/ 8385464 w 8385464"/>
              <a:gd name="connsiteY1" fmla="*/ 0 h 6858000"/>
              <a:gd name="connsiteX2" fmla="*/ 6255328 w 8385464"/>
              <a:gd name="connsiteY2" fmla="*/ 5029200 h 6858000"/>
              <a:gd name="connsiteX3" fmla="*/ 6843503 w 8385464"/>
              <a:gd name="connsiteY3" fmla="*/ 6853891 h 6858000"/>
              <a:gd name="connsiteX4" fmla="*/ 0 w 8385464"/>
              <a:gd name="connsiteY4" fmla="*/ 6858000 h 6858000"/>
              <a:gd name="connsiteX5" fmla="*/ 0 w 838546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5464" h="6858000">
                <a:moveTo>
                  <a:pt x="0" y="0"/>
                </a:moveTo>
                <a:lnTo>
                  <a:pt x="8385464" y="0"/>
                </a:lnTo>
                <a:cubicBezTo>
                  <a:pt x="7879774" y="1572491"/>
                  <a:pt x="6951518" y="3158836"/>
                  <a:pt x="6255328" y="5029200"/>
                </a:cubicBezTo>
                <a:cubicBezTo>
                  <a:pt x="6698673" y="6345381"/>
                  <a:pt x="6317032" y="5402628"/>
                  <a:pt x="6843503" y="6853891"/>
                </a:cubicBezTo>
                <a:lnTo>
                  <a:pt x="0" y="6858000"/>
                </a:lnTo>
                <a:lnTo>
                  <a:pt x="0" y="0"/>
                </a:lnTo>
                <a:close/>
              </a:path>
            </a:pathLst>
          </a:custGeom>
          <a:solidFill>
            <a:srgbClr val="2E35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6" name="Picture 15">
            <a:extLst>
              <a:ext uri="{FF2B5EF4-FFF2-40B4-BE49-F238E27FC236}">
                <a16:creationId xmlns:a16="http://schemas.microsoft.com/office/drawing/2014/main" id="{13EB79B0-1C65-4824-AE7E-4624F1BE363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39046" y="4210541"/>
            <a:ext cx="3252063" cy="1265243"/>
          </a:xfrm>
          <a:prstGeom prst="rect">
            <a:avLst/>
          </a:prstGeom>
        </p:spPr>
      </p:pic>
      <p:grpSp>
        <p:nvGrpSpPr>
          <p:cNvPr id="17" name="Group 16">
            <a:extLst>
              <a:ext uri="{FF2B5EF4-FFF2-40B4-BE49-F238E27FC236}">
                <a16:creationId xmlns:a16="http://schemas.microsoft.com/office/drawing/2014/main" id="{2D99F2D6-A8E8-48C8-81DC-1B16354D0A70}"/>
              </a:ext>
            </a:extLst>
          </p:cNvPr>
          <p:cNvGrpSpPr/>
          <p:nvPr/>
        </p:nvGrpSpPr>
        <p:grpSpPr>
          <a:xfrm>
            <a:off x="4532198" y="-1714644"/>
            <a:ext cx="3827714" cy="9445752"/>
            <a:chOff x="4094048" y="-1695594"/>
            <a:chExt cx="3827714" cy="9445752"/>
          </a:xfrm>
        </p:grpSpPr>
        <p:sp>
          <p:nvSpPr>
            <p:cNvPr id="18" name="Freeform 4">
              <a:extLst>
                <a:ext uri="{FF2B5EF4-FFF2-40B4-BE49-F238E27FC236}">
                  <a16:creationId xmlns:a16="http://schemas.microsoft.com/office/drawing/2014/main" id="{EB2C8933-4D77-4DE0-A477-987E6E83C6AF}"/>
                </a:ext>
              </a:extLst>
            </p:cNvPr>
            <p:cNvSpPr/>
            <p:nvPr/>
          </p:nvSpPr>
          <p:spPr>
            <a:xfrm>
              <a:off x="4094048" y="4104058"/>
              <a:ext cx="2681459" cy="2788159"/>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Lst>
              <a:ahLst/>
              <a:cxnLst>
                <a:cxn ang="0">
                  <a:pos x="connsiteX0" y="connsiteY0"/>
                </a:cxn>
                <a:cxn ang="0">
                  <a:pos x="connsiteX1" y="connsiteY1"/>
                </a:cxn>
                <a:cxn ang="0">
                  <a:pos x="connsiteX2" y="connsiteY2"/>
                </a:cxn>
              </a:cxnLst>
              <a:rect l="l" t="t" r="r" b="b"/>
              <a:pathLst>
                <a:path w="1166989" h="1213426">
                  <a:moveTo>
                    <a:pt x="857693" y="0"/>
                  </a:moveTo>
                  <a:lnTo>
                    <a:pt x="1166989" y="1211531"/>
                  </a:lnTo>
                  <a:lnTo>
                    <a:pt x="0" y="1213426"/>
                  </a:lnTo>
                </a:path>
              </a:pathLst>
            </a:custGeom>
            <a:gradFill>
              <a:gsLst>
                <a:gs pos="2000">
                  <a:schemeClr val="bg2">
                    <a:lumMod val="50000"/>
                  </a:schemeClr>
                </a:gs>
                <a:gs pos="100000">
                  <a:schemeClr val="bg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Isosceles Triangle 3">
              <a:extLst>
                <a:ext uri="{FF2B5EF4-FFF2-40B4-BE49-F238E27FC236}">
                  <a16:creationId xmlns:a16="http://schemas.microsoft.com/office/drawing/2014/main" id="{4F4EF7A4-035D-4172-AF61-5D3483B2916C}"/>
                </a:ext>
              </a:extLst>
            </p:cNvPr>
            <p:cNvSpPr/>
            <p:nvPr/>
          </p:nvSpPr>
          <p:spPr>
            <a:xfrm rot="13120470">
              <a:off x="5797893" y="-1695594"/>
              <a:ext cx="2123869" cy="9445752"/>
            </a:xfrm>
            <a:custGeom>
              <a:avLst/>
              <a:gdLst>
                <a:gd name="connsiteX0" fmla="*/ 0 w 1349298"/>
                <a:gd name="connsiteY0" fmla="*/ 5885253 h 5885253"/>
                <a:gd name="connsiteX1" fmla="*/ 674649 w 1349298"/>
                <a:gd name="connsiteY1" fmla="*/ 0 h 5885253"/>
                <a:gd name="connsiteX2" fmla="*/ 1349298 w 1349298"/>
                <a:gd name="connsiteY2" fmla="*/ 5885253 h 5885253"/>
                <a:gd name="connsiteX3" fmla="*/ 0 w 1349298"/>
                <a:gd name="connsiteY3" fmla="*/ 5885253 h 5885253"/>
                <a:gd name="connsiteX0" fmla="*/ 0 w 1304760"/>
                <a:gd name="connsiteY0" fmla="*/ 5885253 h 5885253"/>
                <a:gd name="connsiteX1" fmla="*/ 674649 w 1304760"/>
                <a:gd name="connsiteY1" fmla="*/ 0 h 5885253"/>
                <a:gd name="connsiteX2" fmla="*/ 1304760 w 1304760"/>
                <a:gd name="connsiteY2" fmla="*/ 5698299 h 5885253"/>
                <a:gd name="connsiteX3" fmla="*/ 0 w 1304760"/>
                <a:gd name="connsiteY3" fmla="*/ 5885253 h 5885253"/>
                <a:gd name="connsiteX0" fmla="*/ 0 w 1386992"/>
                <a:gd name="connsiteY0" fmla="*/ 5829786 h 5829786"/>
                <a:gd name="connsiteX1" fmla="*/ 756881 w 1386992"/>
                <a:gd name="connsiteY1" fmla="*/ 0 h 5829786"/>
                <a:gd name="connsiteX2" fmla="*/ 1386992 w 1386992"/>
                <a:gd name="connsiteY2" fmla="*/ 5698299 h 5829786"/>
                <a:gd name="connsiteX3" fmla="*/ 0 w 1386992"/>
                <a:gd name="connsiteY3" fmla="*/ 5829786 h 5829786"/>
                <a:gd name="connsiteX0" fmla="*/ 0 w 1613616"/>
                <a:gd name="connsiteY0" fmla="*/ 5273942 h 5698299"/>
                <a:gd name="connsiteX1" fmla="*/ 983505 w 1613616"/>
                <a:gd name="connsiteY1" fmla="*/ 0 h 5698299"/>
                <a:gd name="connsiteX2" fmla="*/ 1613616 w 1613616"/>
                <a:gd name="connsiteY2" fmla="*/ 5698299 h 5698299"/>
                <a:gd name="connsiteX3" fmla="*/ 0 w 1613616"/>
                <a:gd name="connsiteY3" fmla="*/ 5273942 h 5698299"/>
                <a:gd name="connsiteX0" fmla="*/ 0 w 2111499"/>
                <a:gd name="connsiteY0" fmla="*/ 5273942 h 5273942"/>
                <a:gd name="connsiteX1" fmla="*/ 983505 w 2111499"/>
                <a:gd name="connsiteY1" fmla="*/ 0 h 5273942"/>
                <a:gd name="connsiteX2" fmla="*/ 2111499 w 2111499"/>
                <a:gd name="connsiteY2" fmla="*/ 4721711 h 5273942"/>
                <a:gd name="connsiteX3" fmla="*/ 0 w 2111499"/>
                <a:gd name="connsiteY3" fmla="*/ 5273942 h 5273942"/>
                <a:gd name="connsiteX0" fmla="*/ 0 w 2111499"/>
                <a:gd name="connsiteY0" fmla="*/ 4717306 h 4717306"/>
                <a:gd name="connsiteX1" fmla="*/ 932758 w 2111499"/>
                <a:gd name="connsiteY1" fmla="*/ 0 h 4717306"/>
                <a:gd name="connsiteX2" fmla="*/ 2111499 w 2111499"/>
                <a:gd name="connsiteY2" fmla="*/ 4165075 h 4717306"/>
                <a:gd name="connsiteX3" fmla="*/ 0 w 2111499"/>
                <a:gd name="connsiteY3" fmla="*/ 4717306 h 4717306"/>
                <a:gd name="connsiteX0" fmla="*/ 0 w 3931298"/>
                <a:gd name="connsiteY0" fmla="*/ 4717306 h 4717306"/>
                <a:gd name="connsiteX1" fmla="*/ 932758 w 3931298"/>
                <a:gd name="connsiteY1" fmla="*/ 0 h 4717306"/>
                <a:gd name="connsiteX2" fmla="*/ 3931298 w 3931298"/>
                <a:gd name="connsiteY2" fmla="*/ 4480286 h 4717306"/>
                <a:gd name="connsiteX3" fmla="*/ 0 w 3931298"/>
                <a:gd name="connsiteY3" fmla="*/ 4717306 h 4717306"/>
                <a:gd name="connsiteX0" fmla="*/ 35679 w 2998540"/>
                <a:gd name="connsiteY0" fmla="*/ 5024381 h 5024381"/>
                <a:gd name="connsiteX1" fmla="*/ 0 w 2998540"/>
                <a:gd name="connsiteY1" fmla="*/ 0 h 5024381"/>
                <a:gd name="connsiteX2" fmla="*/ 2998540 w 2998540"/>
                <a:gd name="connsiteY2" fmla="*/ 4480286 h 5024381"/>
                <a:gd name="connsiteX3" fmla="*/ 35679 w 2998540"/>
                <a:gd name="connsiteY3" fmla="*/ 5024381 h 5024381"/>
                <a:gd name="connsiteX0" fmla="*/ 0 w 3359513"/>
                <a:gd name="connsiteY0" fmla="*/ 4923649 h 4923649"/>
                <a:gd name="connsiteX1" fmla="*/ 360973 w 3359513"/>
                <a:gd name="connsiteY1" fmla="*/ 0 h 4923649"/>
                <a:gd name="connsiteX2" fmla="*/ 3359513 w 3359513"/>
                <a:gd name="connsiteY2" fmla="*/ 4480286 h 4923649"/>
                <a:gd name="connsiteX3" fmla="*/ 0 w 3359513"/>
                <a:gd name="connsiteY3" fmla="*/ 4923649 h 4923649"/>
                <a:gd name="connsiteX0" fmla="*/ 0 w 3359513"/>
                <a:gd name="connsiteY0" fmla="*/ 4137435 h 4137435"/>
                <a:gd name="connsiteX1" fmla="*/ 1823306 w 3359513"/>
                <a:gd name="connsiteY1" fmla="*/ 0 h 4137435"/>
                <a:gd name="connsiteX2" fmla="*/ 3359513 w 3359513"/>
                <a:gd name="connsiteY2" fmla="*/ 3694072 h 4137435"/>
                <a:gd name="connsiteX3" fmla="*/ 0 w 3359513"/>
                <a:gd name="connsiteY3" fmla="*/ 4137435 h 4137435"/>
                <a:gd name="connsiteX0" fmla="*/ 0 w 3163954"/>
                <a:gd name="connsiteY0" fmla="*/ 4137435 h 4137435"/>
                <a:gd name="connsiteX1" fmla="*/ 1823306 w 3163954"/>
                <a:gd name="connsiteY1" fmla="*/ 0 h 4137435"/>
                <a:gd name="connsiteX2" fmla="*/ 3163954 w 3163954"/>
                <a:gd name="connsiteY2" fmla="*/ 3451242 h 4137435"/>
                <a:gd name="connsiteX3" fmla="*/ 0 w 3163954"/>
                <a:gd name="connsiteY3" fmla="*/ 4137435 h 4137435"/>
                <a:gd name="connsiteX0" fmla="*/ 0 w 2066613"/>
                <a:gd name="connsiteY0" fmla="*/ 4130703 h 4130703"/>
                <a:gd name="connsiteX1" fmla="*/ 725965 w 2066613"/>
                <a:gd name="connsiteY1" fmla="*/ 0 h 4130703"/>
                <a:gd name="connsiteX2" fmla="*/ 2066613 w 2066613"/>
                <a:gd name="connsiteY2" fmla="*/ 3451242 h 4130703"/>
                <a:gd name="connsiteX3" fmla="*/ 0 w 2066613"/>
                <a:gd name="connsiteY3" fmla="*/ 4130703 h 4130703"/>
                <a:gd name="connsiteX0" fmla="*/ 0 w 2119185"/>
                <a:gd name="connsiteY0" fmla="*/ 4203399 h 4203399"/>
                <a:gd name="connsiteX1" fmla="*/ 778537 w 2119185"/>
                <a:gd name="connsiteY1" fmla="*/ 0 h 4203399"/>
                <a:gd name="connsiteX2" fmla="*/ 2119185 w 2119185"/>
                <a:gd name="connsiteY2" fmla="*/ 3451242 h 4203399"/>
                <a:gd name="connsiteX3" fmla="*/ 0 w 2119185"/>
                <a:gd name="connsiteY3" fmla="*/ 4203399 h 4203399"/>
                <a:gd name="connsiteX0" fmla="*/ 0 w 2119185"/>
                <a:gd name="connsiteY0" fmla="*/ 4216619 h 4216619"/>
                <a:gd name="connsiteX1" fmla="*/ 816110 w 2119185"/>
                <a:gd name="connsiteY1" fmla="*/ 0 h 4216619"/>
                <a:gd name="connsiteX2" fmla="*/ 2119185 w 2119185"/>
                <a:gd name="connsiteY2" fmla="*/ 3464462 h 4216619"/>
                <a:gd name="connsiteX3" fmla="*/ 0 w 2119185"/>
                <a:gd name="connsiteY3" fmla="*/ 4216619 h 4216619"/>
                <a:gd name="connsiteX0" fmla="*/ 0 w 2119185"/>
                <a:gd name="connsiteY0" fmla="*/ 4184713 h 4184713"/>
                <a:gd name="connsiteX1" fmla="*/ 797400 w 2119185"/>
                <a:gd name="connsiteY1" fmla="*/ 0 h 4184713"/>
                <a:gd name="connsiteX2" fmla="*/ 2119185 w 2119185"/>
                <a:gd name="connsiteY2" fmla="*/ 3432556 h 4184713"/>
                <a:gd name="connsiteX3" fmla="*/ 0 w 2119185"/>
                <a:gd name="connsiteY3" fmla="*/ 4184713 h 4184713"/>
                <a:gd name="connsiteX0" fmla="*/ 0 w 2119185"/>
                <a:gd name="connsiteY0" fmla="*/ 4163102 h 4163102"/>
                <a:gd name="connsiteX1" fmla="*/ 807948 w 2119185"/>
                <a:gd name="connsiteY1" fmla="*/ 0 h 4163102"/>
                <a:gd name="connsiteX2" fmla="*/ 2119185 w 2119185"/>
                <a:gd name="connsiteY2" fmla="*/ 3410945 h 4163102"/>
                <a:gd name="connsiteX3" fmla="*/ 0 w 2119185"/>
                <a:gd name="connsiteY3" fmla="*/ 4163102 h 4163102"/>
                <a:gd name="connsiteX0" fmla="*/ 0 w 2123869"/>
                <a:gd name="connsiteY0" fmla="*/ 4163102 h 4163102"/>
                <a:gd name="connsiteX1" fmla="*/ 807948 w 2123869"/>
                <a:gd name="connsiteY1" fmla="*/ 0 h 4163102"/>
                <a:gd name="connsiteX2" fmla="*/ 2123869 w 2123869"/>
                <a:gd name="connsiteY2" fmla="*/ 3413517 h 4163102"/>
                <a:gd name="connsiteX3" fmla="*/ 0 w 2123869"/>
                <a:gd name="connsiteY3" fmla="*/ 4163102 h 4163102"/>
              </a:gdLst>
              <a:ahLst/>
              <a:cxnLst>
                <a:cxn ang="0">
                  <a:pos x="connsiteX0" y="connsiteY0"/>
                </a:cxn>
                <a:cxn ang="0">
                  <a:pos x="connsiteX1" y="connsiteY1"/>
                </a:cxn>
                <a:cxn ang="0">
                  <a:pos x="connsiteX2" y="connsiteY2"/>
                </a:cxn>
                <a:cxn ang="0">
                  <a:pos x="connsiteX3" y="connsiteY3"/>
                </a:cxn>
              </a:cxnLst>
              <a:rect l="l" t="t" r="r" b="b"/>
              <a:pathLst>
                <a:path w="2123869" h="4163102">
                  <a:moveTo>
                    <a:pt x="0" y="4163102"/>
                  </a:moveTo>
                  <a:lnTo>
                    <a:pt x="807948" y="0"/>
                  </a:lnTo>
                  <a:lnTo>
                    <a:pt x="2123869" y="3413517"/>
                  </a:lnTo>
                  <a:lnTo>
                    <a:pt x="0" y="4163102"/>
                  </a:lnTo>
                  <a:close/>
                </a:path>
              </a:pathLst>
            </a:custGeom>
            <a:gradFill>
              <a:gsLst>
                <a:gs pos="2000">
                  <a:schemeClr val="bg2">
                    <a:lumMod val="75000"/>
                  </a:schemeClr>
                </a:gs>
                <a:gs pos="100000">
                  <a:schemeClr val="bg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2" name="Title 1"/>
          <p:cNvSpPr>
            <a:spLocks noGrp="1"/>
          </p:cNvSpPr>
          <p:nvPr>
            <p:ph type="ctrTitle" hasCustomPrompt="1"/>
          </p:nvPr>
        </p:nvSpPr>
        <p:spPr bwMode="ltGray">
          <a:xfrm>
            <a:off x="427701" y="1463040"/>
            <a:ext cx="5669280" cy="1935933"/>
          </a:xfrm>
        </p:spPr>
        <p:txBody>
          <a:bodyPr wrap="square" tIns="91440" anchor="ctr" anchorCtr="0">
            <a:noAutofit/>
          </a:bodyPr>
          <a:lstStyle>
            <a:lvl1pPr>
              <a:lnSpc>
                <a:spcPct val="80000"/>
              </a:lnSpc>
              <a:defRPr sz="5400" b="0" cap="all" baseline="0">
                <a:solidFill>
                  <a:schemeClr val="bg2"/>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bwMode="gray">
          <a:xfrm>
            <a:off x="427702" y="4962602"/>
            <a:ext cx="4754880" cy="276999"/>
          </a:xfrm>
        </p:spPr>
        <p:txBody>
          <a:bodyPr wrap="square" anchor="b">
            <a:no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702" y="5274168"/>
            <a:ext cx="4572000" cy="221599"/>
          </a:xfrm>
        </p:spPr>
        <p:txBody>
          <a:bodyPr>
            <a:noAutofit/>
          </a:bodyPr>
          <a:lstStyle>
            <a:lvl1pPr marL="0" indent="0" algn="l">
              <a:spcBef>
                <a:spcPts val="0"/>
              </a:spcBef>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702" y="6268953"/>
            <a:ext cx="3749040" cy="193899"/>
          </a:xfrm>
        </p:spPr>
        <p:txBody>
          <a:bodyPr anchor="b" anchorCtr="0">
            <a:noAutofit/>
          </a:bodyPr>
          <a:lstStyle>
            <a:lvl1pPr marL="0" indent="0" algn="l">
              <a:spcBef>
                <a:spcPts val="0"/>
              </a:spcBef>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1726327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7579" y="1222375"/>
            <a:ext cx="10881360" cy="4956048"/>
          </a:xfrm>
        </p:spPr>
        <p:txBody>
          <a:bodyPr>
            <a:noAutofit/>
          </a:bodyPr>
          <a:lstStyle>
            <a:lvl1pPr marL="273582" indent="-273582">
              <a:lnSpc>
                <a:spcPct val="90000"/>
              </a:lnSpc>
              <a:spcBef>
                <a:spcPts val="1800"/>
              </a:spcBef>
              <a:buClr>
                <a:schemeClr val="tx1"/>
              </a:buClr>
              <a:defRPr sz="2400" b="0">
                <a:solidFill>
                  <a:schemeClr val="tx1"/>
                </a:solidFill>
                <a:latin typeface="+mn-lt"/>
              </a:defRPr>
            </a:lvl1pPr>
            <a:lvl2pPr marL="658368" indent="-271694">
              <a:lnSpc>
                <a:spcPct val="90000"/>
              </a:lnSpc>
              <a:spcBef>
                <a:spcPts val="400"/>
              </a:spcBef>
              <a:spcAft>
                <a:spcPts val="0"/>
              </a:spcAft>
              <a:defRPr sz="2000" b="0">
                <a:solidFill>
                  <a:schemeClr val="tx1"/>
                </a:solidFill>
                <a:latin typeface="+mn-lt"/>
              </a:defRPr>
            </a:lvl2pPr>
            <a:lvl3pPr marL="914400" indent="-210312">
              <a:lnSpc>
                <a:spcPct val="90000"/>
              </a:lnSpc>
              <a:spcBef>
                <a:spcPts val="200"/>
              </a:spcBef>
              <a:spcAft>
                <a:spcPts val="0"/>
              </a:spcAft>
              <a:defRPr sz="1800" b="0">
                <a:solidFill>
                  <a:schemeClr val="tx1"/>
                </a:solidFill>
                <a:latin typeface="+mn-lt"/>
              </a:defRPr>
            </a:lvl3pPr>
            <a:lvl4pPr marL="1197864" indent="-210312">
              <a:lnSpc>
                <a:spcPct val="90000"/>
              </a:lnSpc>
              <a:defRPr sz="1600" b="0">
                <a:solidFill>
                  <a:schemeClr val="tx1"/>
                </a:solidFill>
                <a:latin typeface="+mn-lt"/>
              </a:defRPr>
            </a:lvl4pPr>
            <a:lvl5pPr marL="1444752" indent="-182880">
              <a:lnSpc>
                <a:spcPct val="90000"/>
              </a:lnSpc>
              <a:defRPr sz="1400" b="0" baseline="0">
                <a:solidFill>
                  <a:schemeClr val="tx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a:xfrm>
            <a:off x="411480" y="348860"/>
            <a:ext cx="10259568" cy="344710"/>
          </a:xfrm>
        </p:spPr>
        <p:txBody>
          <a:bodyPr vert="horz" lIns="0" tIns="0" rIns="0" bIns="0" rtlCol="0" anchor="ctr" anchorCtr="0">
            <a:noAutofit/>
          </a:bodyPr>
          <a:lstStyle>
            <a:lvl1pPr>
              <a:defRPr lang="en-US" sz="3200" dirty="0"/>
            </a:lvl1pPr>
          </a:lstStyle>
          <a:p>
            <a:pPr lvl="0"/>
            <a:r>
              <a:rPr lang="en-US" dirty="0"/>
              <a:t>Click to add title</a:t>
            </a:r>
          </a:p>
        </p:txBody>
      </p:sp>
    </p:spTree>
    <p:extLst>
      <p:ext uri="{BB962C8B-B14F-4D97-AF65-F5344CB8AC3E}">
        <p14:creationId xmlns:p14="http://schemas.microsoft.com/office/powerpoint/2010/main" val="1450422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p:cSld name="Title Slide w Client Logo">
    <p:bg>
      <p:bgRef idx="1001">
        <a:schemeClr val="bg1"/>
      </p:bgRef>
    </p:bg>
    <p:spTree>
      <p:nvGrpSpPr>
        <p:cNvPr id="1" name=""/>
        <p:cNvGrpSpPr/>
        <p:nvPr/>
      </p:nvGrpSpPr>
      <p:grpSpPr>
        <a:xfrm>
          <a:off x="0" y="0"/>
          <a:ext cx="0" cy="0"/>
          <a:chOff x="0" y="0"/>
          <a:chExt cx="0" cy="0"/>
        </a:xfrm>
      </p:grpSpPr>
      <p:sp>
        <p:nvSpPr>
          <p:cNvPr id="13" name="Rectangle 4">
            <a:extLst>
              <a:ext uri="{FF2B5EF4-FFF2-40B4-BE49-F238E27FC236}">
                <a16:creationId xmlns:a16="http://schemas.microsoft.com/office/drawing/2014/main" id="{CAE554B7-E337-4E78-B477-48942E8B731A}"/>
              </a:ext>
            </a:extLst>
          </p:cNvPr>
          <p:cNvSpPr/>
          <p:nvPr/>
        </p:nvSpPr>
        <p:spPr>
          <a:xfrm>
            <a:off x="0" y="0"/>
            <a:ext cx="8385464" cy="6867144"/>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73933"/>
              <a:gd name="connsiteX1" fmla="*/ 8385464 w 8385464"/>
              <a:gd name="connsiteY1" fmla="*/ 0 h 6873933"/>
              <a:gd name="connsiteX2" fmla="*/ 6255328 w 8385464"/>
              <a:gd name="connsiteY2" fmla="*/ 5029200 h 6873933"/>
              <a:gd name="connsiteX3" fmla="*/ 6878783 w 8385464"/>
              <a:gd name="connsiteY3" fmla="*/ 6873933 h 6873933"/>
              <a:gd name="connsiteX4" fmla="*/ 0 w 8385464"/>
              <a:gd name="connsiteY4" fmla="*/ 6858000 h 6873933"/>
              <a:gd name="connsiteX5" fmla="*/ 0 w 8385464"/>
              <a:gd name="connsiteY5" fmla="*/ 0 h 6873933"/>
              <a:gd name="connsiteX0" fmla="*/ 0 w 8385464"/>
              <a:gd name="connsiteY0" fmla="*/ 0 h 6859756"/>
              <a:gd name="connsiteX1" fmla="*/ 8385464 w 8385464"/>
              <a:gd name="connsiteY1" fmla="*/ 0 h 6859756"/>
              <a:gd name="connsiteX2" fmla="*/ 6255328 w 8385464"/>
              <a:gd name="connsiteY2" fmla="*/ 5029200 h 6859756"/>
              <a:gd name="connsiteX3" fmla="*/ 6850430 w 8385464"/>
              <a:gd name="connsiteY3" fmla="*/ 6859756 h 6859756"/>
              <a:gd name="connsiteX4" fmla="*/ 0 w 8385464"/>
              <a:gd name="connsiteY4" fmla="*/ 6858000 h 6859756"/>
              <a:gd name="connsiteX5" fmla="*/ 0 w 8385464"/>
              <a:gd name="connsiteY5" fmla="*/ 0 h 685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5464" h="6859756">
                <a:moveTo>
                  <a:pt x="0" y="0"/>
                </a:moveTo>
                <a:lnTo>
                  <a:pt x="8385464" y="0"/>
                </a:lnTo>
                <a:cubicBezTo>
                  <a:pt x="7879774" y="1572491"/>
                  <a:pt x="6951518" y="3158836"/>
                  <a:pt x="6255328" y="5029200"/>
                </a:cubicBezTo>
                <a:cubicBezTo>
                  <a:pt x="6698673" y="6345381"/>
                  <a:pt x="6323959" y="5408493"/>
                  <a:pt x="6850430" y="6859756"/>
                </a:cubicBezTo>
                <a:lnTo>
                  <a:pt x="0" y="6858000"/>
                </a:lnTo>
                <a:lnTo>
                  <a:pt x="0" y="0"/>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ight Triangle 3">
            <a:extLst>
              <a:ext uri="{FF2B5EF4-FFF2-40B4-BE49-F238E27FC236}">
                <a16:creationId xmlns:a16="http://schemas.microsoft.com/office/drawing/2014/main" id="{D048BFA1-9840-47F2-88B0-9356A47BA57D}"/>
              </a:ext>
            </a:extLst>
          </p:cNvPr>
          <p:cNvSpPr/>
          <p:nvPr/>
        </p:nvSpPr>
        <p:spPr>
          <a:xfrm flipH="1">
            <a:off x="5182058" y="4244657"/>
            <a:ext cx="1505899" cy="2626242"/>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Lst>
            <a:ahLst/>
            <a:cxnLst>
              <a:cxn ang="0">
                <a:pos x="connsiteX0" y="connsiteY0"/>
              </a:cxn>
              <a:cxn ang="0">
                <a:pos x="connsiteX1" y="connsiteY1"/>
              </a:cxn>
              <a:cxn ang="0">
                <a:pos x="connsiteX2" y="connsiteY2"/>
              </a:cxn>
              <a:cxn ang="0">
                <a:pos x="connsiteX3" y="connsiteY3"/>
              </a:cxn>
            </a:cxnLst>
            <a:rect l="l" t="t" r="r" b="b"/>
            <a:pathLst>
              <a:path w="1505899" h="2626242">
                <a:moveTo>
                  <a:pt x="350874" y="2626242"/>
                </a:moveTo>
                <a:lnTo>
                  <a:pt x="0" y="0"/>
                </a:lnTo>
                <a:lnTo>
                  <a:pt x="1505899" y="2626242"/>
                </a:lnTo>
                <a:lnTo>
                  <a:pt x="350874" y="2626242"/>
                </a:lnTo>
                <a:close/>
              </a:path>
            </a:pathLst>
          </a:custGeom>
          <a:gradFill>
            <a:gsLst>
              <a:gs pos="2000">
                <a:srgbClr val="62B53F"/>
              </a:gs>
              <a:gs pos="52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Right Triangle 3">
            <a:extLst>
              <a:ext uri="{FF2B5EF4-FFF2-40B4-BE49-F238E27FC236}">
                <a16:creationId xmlns:a16="http://schemas.microsoft.com/office/drawing/2014/main" id="{05EA0488-6DF6-4EA9-B352-83FC6A3A09EC}"/>
              </a:ext>
            </a:extLst>
          </p:cNvPr>
          <p:cNvSpPr/>
          <p:nvPr/>
        </p:nvSpPr>
        <p:spPr>
          <a:xfrm>
            <a:off x="6009662" y="3819354"/>
            <a:ext cx="963639" cy="305154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Lst>
            <a:ahLst/>
            <a:cxnLst>
              <a:cxn ang="0">
                <a:pos x="connsiteX0" y="connsiteY0"/>
              </a:cxn>
              <a:cxn ang="0">
                <a:pos x="connsiteX1" y="connsiteY1"/>
              </a:cxn>
              <a:cxn ang="0">
                <a:pos x="connsiteX2" y="connsiteY2"/>
              </a:cxn>
              <a:cxn ang="0">
                <a:pos x="connsiteX3" y="connsiteY3"/>
              </a:cxn>
            </a:cxnLst>
            <a:rect l="l" t="t" r="r" b="b"/>
            <a:pathLst>
              <a:path w="963639" h="3051545">
                <a:moveTo>
                  <a:pt x="0" y="3051545"/>
                </a:moveTo>
                <a:lnTo>
                  <a:pt x="754912" y="0"/>
                </a:lnTo>
                <a:lnTo>
                  <a:pt x="963639" y="3051545"/>
                </a:lnTo>
                <a:lnTo>
                  <a:pt x="0" y="3051545"/>
                </a:lnTo>
                <a:close/>
              </a:path>
            </a:pathLst>
          </a:custGeom>
          <a:gradFill>
            <a:gsLst>
              <a:gs pos="27000">
                <a:srgbClr val="5EAC3E"/>
              </a:gs>
              <a:gs pos="64000">
                <a:srgbClr val="67BD4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Right Triangle 3">
            <a:extLst>
              <a:ext uri="{FF2B5EF4-FFF2-40B4-BE49-F238E27FC236}">
                <a16:creationId xmlns:a16="http://schemas.microsoft.com/office/drawing/2014/main" id="{3F7BA2F8-1EC4-4C88-BB12-9EB40316DCA2}"/>
              </a:ext>
            </a:extLst>
          </p:cNvPr>
          <p:cNvSpPr/>
          <p:nvPr/>
        </p:nvSpPr>
        <p:spPr>
          <a:xfrm rot="12173926">
            <a:off x="7077301" y="-433026"/>
            <a:ext cx="1014731" cy="5982297"/>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 name="connsiteX0" fmla="*/ 0 w 1014731"/>
              <a:gd name="connsiteY0" fmla="*/ 3477101 h 3477101"/>
              <a:gd name="connsiteX1" fmla="*/ 806004 w 1014731"/>
              <a:gd name="connsiteY1" fmla="*/ 0 h 3477101"/>
              <a:gd name="connsiteX2" fmla="*/ 1014731 w 1014731"/>
              <a:gd name="connsiteY2" fmla="*/ 3051545 h 3477101"/>
              <a:gd name="connsiteX3" fmla="*/ 0 w 1014731"/>
              <a:gd name="connsiteY3" fmla="*/ 3477101 h 3477101"/>
              <a:gd name="connsiteX0" fmla="*/ 0 w 1014731"/>
              <a:gd name="connsiteY0" fmla="*/ 5974885 h 5974885"/>
              <a:gd name="connsiteX1" fmla="*/ 789755 w 1014731"/>
              <a:gd name="connsiteY1" fmla="*/ 0 h 5974885"/>
              <a:gd name="connsiteX2" fmla="*/ 1014731 w 1014731"/>
              <a:gd name="connsiteY2" fmla="*/ 5549329 h 5974885"/>
              <a:gd name="connsiteX3" fmla="*/ 0 w 1014731"/>
              <a:gd name="connsiteY3" fmla="*/ 5974885 h 5974885"/>
              <a:gd name="connsiteX0" fmla="*/ 0 w 1014731"/>
              <a:gd name="connsiteY0" fmla="*/ 5982297 h 5982297"/>
              <a:gd name="connsiteX1" fmla="*/ 807304 w 1014731"/>
              <a:gd name="connsiteY1" fmla="*/ 0 h 5982297"/>
              <a:gd name="connsiteX2" fmla="*/ 1014731 w 1014731"/>
              <a:gd name="connsiteY2" fmla="*/ 5556741 h 5982297"/>
              <a:gd name="connsiteX3" fmla="*/ 0 w 1014731"/>
              <a:gd name="connsiteY3" fmla="*/ 5982297 h 5982297"/>
            </a:gdLst>
            <a:ahLst/>
            <a:cxnLst>
              <a:cxn ang="0">
                <a:pos x="connsiteX0" y="connsiteY0"/>
              </a:cxn>
              <a:cxn ang="0">
                <a:pos x="connsiteX1" y="connsiteY1"/>
              </a:cxn>
              <a:cxn ang="0">
                <a:pos x="connsiteX2" y="connsiteY2"/>
              </a:cxn>
              <a:cxn ang="0">
                <a:pos x="connsiteX3" y="connsiteY3"/>
              </a:cxn>
            </a:cxnLst>
            <a:rect l="l" t="t" r="r" b="b"/>
            <a:pathLst>
              <a:path w="1014731" h="5982297">
                <a:moveTo>
                  <a:pt x="0" y="5982297"/>
                </a:moveTo>
                <a:lnTo>
                  <a:pt x="807304" y="0"/>
                </a:lnTo>
                <a:lnTo>
                  <a:pt x="1014731" y="5556741"/>
                </a:lnTo>
                <a:lnTo>
                  <a:pt x="0" y="5982297"/>
                </a:lnTo>
                <a:close/>
              </a:path>
            </a:pathLst>
          </a:custGeom>
          <a:gradFill>
            <a:gsLst>
              <a:gs pos="34000">
                <a:schemeClr val="bg2"/>
              </a:gs>
              <a:gs pos="100000">
                <a:srgbClr val="5BA23C"/>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p:cNvSpPr>
            <a:spLocks noGrp="1"/>
          </p:cNvSpPr>
          <p:nvPr>
            <p:ph type="ctrTitle" hasCustomPrompt="1"/>
          </p:nvPr>
        </p:nvSpPr>
        <p:spPr bwMode="ltGray">
          <a:xfrm>
            <a:off x="427964" y="2128789"/>
            <a:ext cx="5760720" cy="2086725"/>
          </a:xfrm>
        </p:spPr>
        <p:txBody>
          <a:bodyPr wrap="square" tIns="91440" anchor="ctr" anchorCtr="0">
            <a:noAutofit/>
          </a:bodyPr>
          <a:lstStyle>
            <a:lvl1pPr>
              <a:lnSpc>
                <a:spcPct val="80000"/>
              </a:lnSpc>
              <a:defRPr sz="5400" b="0" cap="all" baseline="0">
                <a:solidFill>
                  <a:schemeClr val="bg2"/>
                </a:solidFill>
                <a:effectLst/>
                <a:latin typeface="+mn-lt"/>
              </a:defRPr>
            </a:lvl1pPr>
          </a:lstStyle>
          <a:p>
            <a:r>
              <a:rPr lang="en-US" dirty="0"/>
              <a:t>Click to Add Presentation Title</a:t>
            </a:r>
          </a:p>
        </p:txBody>
      </p:sp>
      <p:sp>
        <p:nvSpPr>
          <p:cNvPr id="3" name="Subtitle 2"/>
          <p:cNvSpPr>
            <a:spLocks noGrp="1"/>
          </p:cNvSpPr>
          <p:nvPr>
            <p:ph type="subTitle" idx="1" hasCustomPrompt="1"/>
          </p:nvPr>
        </p:nvSpPr>
        <p:spPr bwMode="gray">
          <a:xfrm>
            <a:off x="427965" y="4961946"/>
            <a:ext cx="4937760" cy="276999"/>
          </a:xfrm>
        </p:spPr>
        <p:txBody>
          <a:bodyPr wrap="square" anchor="b">
            <a:no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965" y="5275940"/>
            <a:ext cx="4937760" cy="221599"/>
          </a:xfrm>
        </p:spPr>
        <p:txBody>
          <a:bodyPr>
            <a:noAutofit/>
          </a:bodyPr>
          <a:lstStyle>
            <a:lvl1pPr marL="0" indent="0" algn="l">
              <a:spcBef>
                <a:spcPts val="0"/>
              </a:spcBef>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965" y="6263052"/>
            <a:ext cx="4572000" cy="193899"/>
          </a:xfrm>
        </p:spPr>
        <p:txBody>
          <a:bodyPr anchor="b" anchorCtr="0">
            <a:noAutofit/>
          </a:bodyPr>
          <a:lstStyle>
            <a:lvl1pPr marL="0" indent="0" algn="l">
              <a:spcBef>
                <a:spcPts val="0"/>
              </a:spcBef>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6" name="Content Placeholder 5">
            <a:extLst>
              <a:ext uri="{FF2B5EF4-FFF2-40B4-BE49-F238E27FC236}">
                <a16:creationId xmlns:a16="http://schemas.microsoft.com/office/drawing/2014/main" id="{18B4A39F-25EE-4457-8E27-D06C5F09B708}"/>
              </a:ext>
            </a:extLst>
          </p:cNvPr>
          <p:cNvSpPr>
            <a:spLocks noGrp="1"/>
          </p:cNvSpPr>
          <p:nvPr>
            <p:ph sz="quarter" idx="13" hasCustomPrompt="1"/>
          </p:nvPr>
        </p:nvSpPr>
        <p:spPr>
          <a:xfrm>
            <a:off x="7430114" y="3256546"/>
            <a:ext cx="4310701" cy="1882441"/>
          </a:xfrm>
        </p:spPr>
        <p:txBody>
          <a:bodyPr anchor="b" anchorCtr="0"/>
          <a:lstStyle>
            <a:lvl1pPr marL="0" indent="0" algn="ctr">
              <a:buNone/>
              <a:defRPr sz="1600"/>
            </a:lvl1pPr>
          </a:lstStyle>
          <a:p>
            <a:pPr lvl="0"/>
            <a:r>
              <a:rPr lang="en-US"/>
              <a:t>Click on insert picture icon to insert logo</a:t>
            </a:r>
          </a:p>
        </p:txBody>
      </p:sp>
      <p:pic>
        <p:nvPicPr>
          <p:cNvPr id="12" name="Picture 11">
            <a:extLst>
              <a:ext uri="{FF2B5EF4-FFF2-40B4-BE49-F238E27FC236}">
                <a16:creationId xmlns:a16="http://schemas.microsoft.com/office/drawing/2014/main" id="{C0EAA543-3DF8-4DD0-BCAA-E95DA54D93E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0941" y="538947"/>
            <a:ext cx="2111973" cy="820275"/>
          </a:xfrm>
          <a:prstGeom prst="rect">
            <a:avLst/>
          </a:prstGeom>
        </p:spPr>
      </p:pic>
    </p:spTree>
    <p:extLst>
      <p:ext uri="{BB962C8B-B14F-4D97-AF65-F5344CB8AC3E}">
        <p14:creationId xmlns:p14="http://schemas.microsoft.com/office/powerpoint/2010/main" val="2350490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Title Slide w Imag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2406316" y="0"/>
            <a:ext cx="9803732" cy="6865374"/>
          </a:xfrm>
          <a:custGeom>
            <a:avLst/>
            <a:gdLst>
              <a:gd name="connsiteX0" fmla="*/ 0 w 12192000"/>
              <a:gd name="connsiteY0" fmla="*/ 6858000 h 6858000"/>
              <a:gd name="connsiteX1" fmla="*/ 1714500 w 12192000"/>
              <a:gd name="connsiteY1" fmla="*/ 0 h 6858000"/>
              <a:gd name="connsiteX2" fmla="*/ 12192000 w 12192000"/>
              <a:gd name="connsiteY2" fmla="*/ 0 h 6858000"/>
              <a:gd name="connsiteX3" fmla="*/ 10477500 w 12192000"/>
              <a:gd name="connsiteY3" fmla="*/ 6858000 h 6858000"/>
              <a:gd name="connsiteX4" fmla="*/ 0 w 12192000"/>
              <a:gd name="connsiteY4" fmla="*/ 6858000 h 6858000"/>
              <a:gd name="connsiteX0" fmla="*/ 0 w 12192000"/>
              <a:gd name="connsiteY0" fmla="*/ 6874042 h 6874042"/>
              <a:gd name="connsiteX1" fmla="*/ 4184985 w 12192000"/>
              <a:gd name="connsiteY1" fmla="*/ 0 h 6874042"/>
              <a:gd name="connsiteX2" fmla="*/ 12192000 w 12192000"/>
              <a:gd name="connsiteY2" fmla="*/ 16042 h 6874042"/>
              <a:gd name="connsiteX3" fmla="*/ 10477500 w 12192000"/>
              <a:gd name="connsiteY3" fmla="*/ 6874042 h 6874042"/>
              <a:gd name="connsiteX4" fmla="*/ 0 w 12192000"/>
              <a:gd name="connsiteY4" fmla="*/ 6874042 h 6874042"/>
              <a:gd name="connsiteX0" fmla="*/ 0 w 12192000"/>
              <a:gd name="connsiteY0" fmla="*/ 6874042 h 6874042"/>
              <a:gd name="connsiteX1" fmla="*/ 3705726 w 12192000"/>
              <a:gd name="connsiteY1" fmla="*/ 818147 h 6874042"/>
              <a:gd name="connsiteX2" fmla="*/ 4184985 w 12192000"/>
              <a:gd name="connsiteY2" fmla="*/ 0 h 6874042"/>
              <a:gd name="connsiteX3" fmla="*/ 12192000 w 12192000"/>
              <a:gd name="connsiteY3" fmla="*/ 16042 h 6874042"/>
              <a:gd name="connsiteX4" fmla="*/ 10477500 w 12192000"/>
              <a:gd name="connsiteY4" fmla="*/ 6874042 h 6874042"/>
              <a:gd name="connsiteX5" fmla="*/ 0 w 12192000"/>
              <a:gd name="connsiteY5" fmla="*/ 6874042 h 6874042"/>
              <a:gd name="connsiteX0" fmla="*/ 0 w 12192000"/>
              <a:gd name="connsiteY0" fmla="*/ 6874042 h 6874042"/>
              <a:gd name="connsiteX1" fmla="*/ 2422358 w 12192000"/>
              <a:gd name="connsiteY1" fmla="*/ 4251158 h 6874042"/>
              <a:gd name="connsiteX2" fmla="*/ 4184985 w 12192000"/>
              <a:gd name="connsiteY2" fmla="*/ 0 h 6874042"/>
              <a:gd name="connsiteX3" fmla="*/ 12192000 w 12192000"/>
              <a:gd name="connsiteY3" fmla="*/ 16042 h 6874042"/>
              <a:gd name="connsiteX4" fmla="*/ 10477500 w 12192000"/>
              <a:gd name="connsiteY4" fmla="*/ 6874042 h 6874042"/>
              <a:gd name="connsiteX5" fmla="*/ 0 w 12192000"/>
              <a:gd name="connsiteY5" fmla="*/ 6874042 h 6874042"/>
              <a:gd name="connsiteX0" fmla="*/ 0 w 12192000"/>
              <a:gd name="connsiteY0" fmla="*/ 6858000 h 6858000"/>
              <a:gd name="connsiteX1" fmla="*/ 2422358 w 12192000"/>
              <a:gd name="connsiteY1" fmla="*/ 4235116 h 6858000"/>
              <a:gd name="connsiteX2" fmla="*/ 4810627 w 12192000"/>
              <a:gd name="connsiteY2" fmla="*/ 0 h 6858000"/>
              <a:gd name="connsiteX3" fmla="*/ 12192000 w 12192000"/>
              <a:gd name="connsiteY3" fmla="*/ 0 h 6858000"/>
              <a:gd name="connsiteX4" fmla="*/ 10477500 w 12192000"/>
              <a:gd name="connsiteY4" fmla="*/ 6858000 h 6858000"/>
              <a:gd name="connsiteX5" fmla="*/ 0 w 12192000"/>
              <a:gd name="connsiteY5" fmla="*/ 6858000 h 6858000"/>
              <a:gd name="connsiteX0" fmla="*/ 0 w 12192000"/>
              <a:gd name="connsiteY0" fmla="*/ 6858000 h 6858000"/>
              <a:gd name="connsiteX1" fmla="*/ 2406315 w 12192000"/>
              <a:gd name="connsiteY1" fmla="*/ 4106779 h 6858000"/>
              <a:gd name="connsiteX2" fmla="*/ 4810627 w 12192000"/>
              <a:gd name="connsiteY2" fmla="*/ 0 h 6858000"/>
              <a:gd name="connsiteX3" fmla="*/ 12192000 w 12192000"/>
              <a:gd name="connsiteY3" fmla="*/ 0 h 6858000"/>
              <a:gd name="connsiteX4" fmla="*/ 10477500 w 12192000"/>
              <a:gd name="connsiteY4" fmla="*/ 6858000 h 6858000"/>
              <a:gd name="connsiteX5" fmla="*/ 0 w 12192000"/>
              <a:gd name="connsiteY5" fmla="*/ 6858000 h 6858000"/>
              <a:gd name="connsiteX0" fmla="*/ 224590 w 9785685"/>
              <a:gd name="connsiteY0" fmla="*/ 6858000 h 6858000"/>
              <a:gd name="connsiteX1" fmla="*/ 0 w 9785685"/>
              <a:gd name="connsiteY1" fmla="*/ 4106779 h 6858000"/>
              <a:gd name="connsiteX2" fmla="*/ 2404312 w 9785685"/>
              <a:gd name="connsiteY2" fmla="*/ 0 h 6858000"/>
              <a:gd name="connsiteX3" fmla="*/ 9785685 w 9785685"/>
              <a:gd name="connsiteY3" fmla="*/ 0 h 6858000"/>
              <a:gd name="connsiteX4" fmla="*/ 8071185 w 9785685"/>
              <a:gd name="connsiteY4" fmla="*/ 6858000 h 6858000"/>
              <a:gd name="connsiteX5" fmla="*/ 224590 w 9785685"/>
              <a:gd name="connsiteY5" fmla="*/ 6858000 h 6858000"/>
              <a:gd name="connsiteX0" fmla="*/ 224590 w 9803732"/>
              <a:gd name="connsiteY0" fmla="*/ 6858000 h 6858000"/>
              <a:gd name="connsiteX1" fmla="*/ 0 w 9803732"/>
              <a:gd name="connsiteY1" fmla="*/ 4106779 h 6858000"/>
              <a:gd name="connsiteX2" fmla="*/ 2404312 w 9803732"/>
              <a:gd name="connsiteY2" fmla="*/ 0 h 6858000"/>
              <a:gd name="connsiteX3" fmla="*/ 9785685 w 9803732"/>
              <a:gd name="connsiteY3" fmla="*/ 0 h 6858000"/>
              <a:gd name="connsiteX4" fmla="*/ 9803732 w 9803732"/>
              <a:gd name="connsiteY4" fmla="*/ 6858000 h 6858000"/>
              <a:gd name="connsiteX5" fmla="*/ 224590 w 9803732"/>
              <a:gd name="connsiteY5" fmla="*/ 6858000 h 6858000"/>
              <a:gd name="connsiteX0" fmla="*/ 197295 w 9803732"/>
              <a:gd name="connsiteY0" fmla="*/ 6858000 h 6858000"/>
              <a:gd name="connsiteX1" fmla="*/ 0 w 9803732"/>
              <a:gd name="connsiteY1" fmla="*/ 4106779 h 6858000"/>
              <a:gd name="connsiteX2" fmla="*/ 2404312 w 9803732"/>
              <a:gd name="connsiteY2" fmla="*/ 0 h 6858000"/>
              <a:gd name="connsiteX3" fmla="*/ 9785685 w 9803732"/>
              <a:gd name="connsiteY3" fmla="*/ 0 h 6858000"/>
              <a:gd name="connsiteX4" fmla="*/ 9803732 w 9803732"/>
              <a:gd name="connsiteY4" fmla="*/ 6858000 h 6858000"/>
              <a:gd name="connsiteX5" fmla="*/ 197295 w 9803732"/>
              <a:gd name="connsiteY5" fmla="*/ 6858000 h 6858000"/>
              <a:gd name="connsiteX0" fmla="*/ 197295 w 9803732"/>
              <a:gd name="connsiteY0" fmla="*/ 6865374 h 6865374"/>
              <a:gd name="connsiteX1" fmla="*/ 0 w 9803732"/>
              <a:gd name="connsiteY1" fmla="*/ 4106779 h 6865374"/>
              <a:gd name="connsiteX2" fmla="*/ 2404312 w 9803732"/>
              <a:gd name="connsiteY2" fmla="*/ 0 h 6865374"/>
              <a:gd name="connsiteX3" fmla="*/ 9785685 w 9803732"/>
              <a:gd name="connsiteY3" fmla="*/ 0 h 6865374"/>
              <a:gd name="connsiteX4" fmla="*/ 9803732 w 9803732"/>
              <a:gd name="connsiteY4" fmla="*/ 6858000 h 6865374"/>
              <a:gd name="connsiteX5" fmla="*/ 197295 w 9803732"/>
              <a:gd name="connsiteY5" fmla="*/ 6865374 h 686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03732" h="6865374">
                <a:moveTo>
                  <a:pt x="197295" y="6865374"/>
                </a:moveTo>
                <a:lnTo>
                  <a:pt x="0" y="4106779"/>
                </a:lnTo>
                <a:lnTo>
                  <a:pt x="2404312" y="0"/>
                </a:lnTo>
                <a:lnTo>
                  <a:pt x="9785685" y="0"/>
                </a:lnTo>
                <a:cubicBezTo>
                  <a:pt x="9791701" y="2286000"/>
                  <a:pt x="9797716" y="4572000"/>
                  <a:pt x="9803732" y="6858000"/>
                </a:cubicBezTo>
                <a:lnTo>
                  <a:pt x="197295" y="6865374"/>
                </a:lnTo>
                <a:close/>
              </a:path>
            </a:pathLst>
          </a:custGeom>
          <a:noFill/>
        </p:spPr>
        <p:txBody>
          <a:bodyPr anchor="ctr"/>
          <a:lstStyle>
            <a:lvl1pPr marL="0" indent="0" algn="ctr">
              <a:buNone/>
              <a:defRPr/>
            </a:lvl1pPr>
          </a:lstStyle>
          <a:p>
            <a:r>
              <a:rPr lang="en-US"/>
              <a:t>Click icon to add picture</a:t>
            </a:r>
            <a:endParaRPr lang="en-US" dirty="0"/>
          </a:p>
        </p:txBody>
      </p:sp>
      <p:grpSp>
        <p:nvGrpSpPr>
          <p:cNvPr id="5" name="Group 4">
            <a:extLst>
              <a:ext uri="{FF2B5EF4-FFF2-40B4-BE49-F238E27FC236}">
                <a16:creationId xmlns:a16="http://schemas.microsoft.com/office/drawing/2014/main" id="{BFD6E0B0-89DB-42DE-9D50-C072DC4DCA4F}"/>
              </a:ext>
            </a:extLst>
          </p:cNvPr>
          <p:cNvGrpSpPr/>
          <p:nvPr/>
        </p:nvGrpSpPr>
        <p:grpSpPr>
          <a:xfrm>
            <a:off x="1" y="-442088"/>
            <a:ext cx="3898232" cy="7312120"/>
            <a:chOff x="1" y="-442088"/>
            <a:chExt cx="3898232" cy="7312120"/>
          </a:xfrm>
        </p:grpSpPr>
        <p:grpSp>
          <p:nvGrpSpPr>
            <p:cNvPr id="4" name="Group 3">
              <a:extLst>
                <a:ext uri="{FF2B5EF4-FFF2-40B4-BE49-F238E27FC236}">
                  <a16:creationId xmlns:a16="http://schemas.microsoft.com/office/drawing/2014/main" id="{B8DAD46A-C267-4F1E-9B70-7548D58BC129}"/>
                </a:ext>
              </a:extLst>
            </p:cNvPr>
            <p:cNvGrpSpPr/>
            <p:nvPr/>
          </p:nvGrpSpPr>
          <p:grpSpPr>
            <a:xfrm>
              <a:off x="1" y="-12032"/>
              <a:ext cx="3898232" cy="6882064"/>
              <a:chOff x="1" y="-12032"/>
              <a:chExt cx="3898232" cy="6882064"/>
            </a:xfrm>
          </p:grpSpPr>
          <p:sp>
            <p:nvSpPr>
              <p:cNvPr id="10" name="Rectangle 4">
                <a:extLst>
                  <a:ext uri="{FF2B5EF4-FFF2-40B4-BE49-F238E27FC236}">
                    <a16:creationId xmlns:a16="http://schemas.microsoft.com/office/drawing/2014/main" id="{0A292985-5E5C-4C2B-95EA-E7AFEDDBDBAF}"/>
                  </a:ext>
                </a:extLst>
              </p:cNvPr>
              <p:cNvSpPr/>
              <p:nvPr/>
            </p:nvSpPr>
            <p:spPr>
              <a:xfrm>
                <a:off x="1" y="-12032"/>
                <a:ext cx="3898232" cy="6877142"/>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43698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877142"/>
                  <a:gd name="connsiteX1" fmla="*/ 11367745 w 11367745"/>
                  <a:gd name="connsiteY1" fmla="*/ 0 h 6877142"/>
                  <a:gd name="connsiteX2" fmla="*/ 6255328 w 11367745"/>
                  <a:gd name="connsiteY2" fmla="*/ 5041232 h 6877142"/>
                  <a:gd name="connsiteX3" fmla="*/ 6808614 w 11367745"/>
                  <a:gd name="connsiteY3" fmla="*/ 6877142 h 6877142"/>
                  <a:gd name="connsiteX4" fmla="*/ 0 w 11367745"/>
                  <a:gd name="connsiteY4" fmla="*/ 6870032 h 6877142"/>
                  <a:gd name="connsiteX5" fmla="*/ 0 w 11367745"/>
                  <a:gd name="connsiteY5" fmla="*/ 12032 h 6877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67745" h="6877142">
                    <a:moveTo>
                      <a:pt x="0" y="12032"/>
                    </a:moveTo>
                    <a:lnTo>
                      <a:pt x="11367745" y="0"/>
                    </a:lnTo>
                    <a:cubicBezTo>
                      <a:pt x="9493718" y="1572491"/>
                      <a:pt x="6951519" y="3543847"/>
                      <a:pt x="6255328" y="5041232"/>
                    </a:cubicBezTo>
                    <a:cubicBezTo>
                      <a:pt x="6698673" y="6357413"/>
                      <a:pt x="6282143" y="5425879"/>
                      <a:pt x="6808614" y="6877142"/>
                    </a:cubicBezTo>
                    <a:lnTo>
                      <a:pt x="0" y="6870032"/>
                    </a:lnTo>
                    <a:lnTo>
                      <a:pt x="0" y="12032"/>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Right Triangle 3">
                <a:extLst>
                  <a:ext uri="{FF2B5EF4-FFF2-40B4-BE49-F238E27FC236}">
                    <a16:creationId xmlns:a16="http://schemas.microsoft.com/office/drawing/2014/main" id="{2DB7A5CE-51EF-49C1-B94D-157D5342D4EF}"/>
                  </a:ext>
                </a:extLst>
              </p:cNvPr>
              <p:cNvSpPr/>
              <p:nvPr/>
            </p:nvSpPr>
            <p:spPr>
              <a:xfrm flipH="1">
                <a:off x="819916" y="4242391"/>
                <a:ext cx="1505899" cy="2626242"/>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Lst>
                <a:ahLst/>
                <a:cxnLst>
                  <a:cxn ang="0">
                    <a:pos x="connsiteX0" y="connsiteY0"/>
                  </a:cxn>
                  <a:cxn ang="0">
                    <a:pos x="connsiteX1" y="connsiteY1"/>
                  </a:cxn>
                  <a:cxn ang="0">
                    <a:pos x="connsiteX2" y="connsiteY2"/>
                  </a:cxn>
                  <a:cxn ang="0">
                    <a:pos x="connsiteX3" y="connsiteY3"/>
                  </a:cxn>
                </a:cxnLst>
                <a:rect l="l" t="t" r="r" b="b"/>
                <a:pathLst>
                  <a:path w="1505899" h="2626242">
                    <a:moveTo>
                      <a:pt x="350874" y="2626242"/>
                    </a:moveTo>
                    <a:lnTo>
                      <a:pt x="0" y="0"/>
                    </a:lnTo>
                    <a:lnTo>
                      <a:pt x="1505899" y="2626242"/>
                    </a:lnTo>
                    <a:lnTo>
                      <a:pt x="350874" y="2626242"/>
                    </a:lnTo>
                    <a:close/>
                  </a:path>
                </a:pathLst>
              </a:custGeom>
              <a:gradFill>
                <a:gsLst>
                  <a:gs pos="2000">
                    <a:srgbClr val="62B53F"/>
                  </a:gs>
                  <a:gs pos="52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Right Triangle 3">
                <a:extLst>
                  <a:ext uri="{FF2B5EF4-FFF2-40B4-BE49-F238E27FC236}">
                    <a16:creationId xmlns:a16="http://schemas.microsoft.com/office/drawing/2014/main" id="{BA4F80DB-7291-4740-A430-98D3FB012211}"/>
                  </a:ext>
                </a:extLst>
              </p:cNvPr>
              <p:cNvSpPr/>
              <p:nvPr/>
            </p:nvSpPr>
            <p:spPr>
              <a:xfrm>
                <a:off x="1636887" y="3818487"/>
                <a:ext cx="963639" cy="305154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Lst>
                <a:ahLst/>
                <a:cxnLst>
                  <a:cxn ang="0">
                    <a:pos x="connsiteX0" y="connsiteY0"/>
                  </a:cxn>
                  <a:cxn ang="0">
                    <a:pos x="connsiteX1" y="connsiteY1"/>
                  </a:cxn>
                  <a:cxn ang="0">
                    <a:pos x="connsiteX2" y="connsiteY2"/>
                  </a:cxn>
                  <a:cxn ang="0">
                    <a:pos x="connsiteX3" y="connsiteY3"/>
                  </a:cxn>
                </a:cxnLst>
                <a:rect l="l" t="t" r="r" b="b"/>
                <a:pathLst>
                  <a:path w="963639" h="3051545">
                    <a:moveTo>
                      <a:pt x="0" y="3051545"/>
                    </a:moveTo>
                    <a:lnTo>
                      <a:pt x="754912" y="0"/>
                    </a:lnTo>
                    <a:lnTo>
                      <a:pt x="963639" y="3051545"/>
                    </a:lnTo>
                    <a:lnTo>
                      <a:pt x="0" y="3051545"/>
                    </a:lnTo>
                    <a:close/>
                  </a:path>
                </a:pathLst>
              </a:custGeom>
              <a:gradFill>
                <a:gsLst>
                  <a:gs pos="27000">
                    <a:srgbClr val="5EAC3E"/>
                  </a:gs>
                  <a:gs pos="64000">
                    <a:srgbClr val="67BD4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5" name="Picture 14">
                <a:extLst>
                  <a:ext uri="{FF2B5EF4-FFF2-40B4-BE49-F238E27FC236}">
                    <a16:creationId xmlns:a16="http://schemas.microsoft.com/office/drawing/2014/main" id="{7950B3B0-8A92-4C5E-B968-43BD35D2627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3133" y="946483"/>
                <a:ext cx="2111973" cy="820275"/>
              </a:xfrm>
              <a:prstGeom prst="rect">
                <a:avLst/>
              </a:prstGeom>
            </p:spPr>
          </p:pic>
        </p:grpSp>
        <p:sp>
          <p:nvSpPr>
            <p:cNvPr id="17" name="Right Triangle 3">
              <a:extLst>
                <a:ext uri="{FF2B5EF4-FFF2-40B4-BE49-F238E27FC236}">
                  <a16:creationId xmlns:a16="http://schemas.microsoft.com/office/drawing/2014/main" id="{E2F14F70-9C54-43E1-82EA-D6E12FE88A86}"/>
                </a:ext>
              </a:extLst>
            </p:cNvPr>
            <p:cNvSpPr/>
            <p:nvPr/>
          </p:nvSpPr>
          <p:spPr>
            <a:xfrm rot="12173926">
              <a:off x="2705968" y="-442088"/>
              <a:ext cx="1014731" cy="597488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 name="connsiteX0" fmla="*/ 0 w 1014731"/>
                <a:gd name="connsiteY0" fmla="*/ 3477101 h 3477101"/>
                <a:gd name="connsiteX1" fmla="*/ 806004 w 1014731"/>
                <a:gd name="connsiteY1" fmla="*/ 0 h 3477101"/>
                <a:gd name="connsiteX2" fmla="*/ 1014731 w 1014731"/>
                <a:gd name="connsiteY2" fmla="*/ 3051545 h 3477101"/>
                <a:gd name="connsiteX3" fmla="*/ 0 w 1014731"/>
                <a:gd name="connsiteY3" fmla="*/ 3477101 h 3477101"/>
                <a:gd name="connsiteX0" fmla="*/ 0 w 1014731"/>
                <a:gd name="connsiteY0" fmla="*/ 5974885 h 5974885"/>
                <a:gd name="connsiteX1" fmla="*/ 789755 w 1014731"/>
                <a:gd name="connsiteY1" fmla="*/ 0 h 5974885"/>
                <a:gd name="connsiteX2" fmla="*/ 1014731 w 1014731"/>
                <a:gd name="connsiteY2" fmla="*/ 5549329 h 5974885"/>
                <a:gd name="connsiteX3" fmla="*/ 0 w 1014731"/>
                <a:gd name="connsiteY3" fmla="*/ 5974885 h 5974885"/>
              </a:gdLst>
              <a:ahLst/>
              <a:cxnLst>
                <a:cxn ang="0">
                  <a:pos x="connsiteX0" y="connsiteY0"/>
                </a:cxn>
                <a:cxn ang="0">
                  <a:pos x="connsiteX1" y="connsiteY1"/>
                </a:cxn>
                <a:cxn ang="0">
                  <a:pos x="connsiteX2" y="connsiteY2"/>
                </a:cxn>
                <a:cxn ang="0">
                  <a:pos x="connsiteX3" y="connsiteY3"/>
                </a:cxn>
              </a:cxnLst>
              <a:rect l="l" t="t" r="r" b="b"/>
              <a:pathLst>
                <a:path w="1014731" h="5974885">
                  <a:moveTo>
                    <a:pt x="0" y="5974885"/>
                  </a:moveTo>
                  <a:lnTo>
                    <a:pt x="789755" y="0"/>
                  </a:lnTo>
                  <a:lnTo>
                    <a:pt x="1014731" y="5549329"/>
                  </a:lnTo>
                  <a:lnTo>
                    <a:pt x="0" y="5974885"/>
                  </a:lnTo>
                  <a:close/>
                </a:path>
              </a:pathLst>
            </a:custGeom>
            <a:gradFill>
              <a:gsLst>
                <a:gs pos="34000">
                  <a:schemeClr val="bg2"/>
                </a:gs>
                <a:gs pos="100000">
                  <a:srgbClr val="5BA23C"/>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9" name="Text Placeholder 4"/>
          <p:cNvSpPr>
            <a:spLocks noGrp="1"/>
          </p:cNvSpPr>
          <p:nvPr>
            <p:ph type="body" sz="quarter" idx="17" hasCustomPrompt="1"/>
          </p:nvPr>
        </p:nvSpPr>
        <p:spPr>
          <a:xfrm rot="16200000">
            <a:off x="5710902" y="360708"/>
            <a:ext cx="3197491" cy="9808237"/>
          </a:xfrm>
          <a:custGeom>
            <a:avLst/>
            <a:gdLst>
              <a:gd name="connsiteX0" fmla="*/ 0 w 3293259"/>
              <a:gd name="connsiteY0" fmla="*/ 12192000 h 12192000"/>
              <a:gd name="connsiteX1" fmla="*/ 823315 w 3293259"/>
              <a:gd name="connsiteY1" fmla="*/ 0 h 12192000"/>
              <a:gd name="connsiteX2" fmla="*/ 3293259 w 3293259"/>
              <a:gd name="connsiteY2" fmla="*/ 0 h 12192000"/>
              <a:gd name="connsiteX3" fmla="*/ 2469944 w 3293259"/>
              <a:gd name="connsiteY3" fmla="*/ 12192000 h 12192000"/>
              <a:gd name="connsiteX4" fmla="*/ 0 w 3293259"/>
              <a:gd name="connsiteY4" fmla="*/ 12192000 h 12192000"/>
              <a:gd name="connsiteX0" fmla="*/ 0 w 3180964"/>
              <a:gd name="connsiteY0" fmla="*/ 12192000 h 12192000"/>
              <a:gd name="connsiteX1" fmla="*/ 823315 w 3180964"/>
              <a:gd name="connsiteY1" fmla="*/ 0 h 12192000"/>
              <a:gd name="connsiteX2" fmla="*/ 3180964 w 3180964"/>
              <a:gd name="connsiteY2" fmla="*/ 2727158 h 12192000"/>
              <a:gd name="connsiteX3" fmla="*/ 2469944 w 3180964"/>
              <a:gd name="connsiteY3" fmla="*/ 12192000 h 12192000"/>
              <a:gd name="connsiteX4" fmla="*/ 0 w 3180964"/>
              <a:gd name="connsiteY4" fmla="*/ 12192000 h 12192000"/>
              <a:gd name="connsiteX0" fmla="*/ 0 w 3180964"/>
              <a:gd name="connsiteY0" fmla="*/ 12192000 h 12192000"/>
              <a:gd name="connsiteX1" fmla="*/ 823315 w 3180964"/>
              <a:gd name="connsiteY1" fmla="*/ 0 h 12192000"/>
              <a:gd name="connsiteX2" fmla="*/ 1845459 w 3180964"/>
              <a:gd name="connsiteY2" fmla="*/ 1155032 h 12192000"/>
              <a:gd name="connsiteX3" fmla="*/ 3180964 w 3180964"/>
              <a:gd name="connsiteY3" fmla="*/ 2727158 h 12192000"/>
              <a:gd name="connsiteX4" fmla="*/ 2469944 w 3180964"/>
              <a:gd name="connsiteY4" fmla="*/ 12192000 h 12192000"/>
              <a:gd name="connsiteX5" fmla="*/ 0 w 3180964"/>
              <a:gd name="connsiteY5" fmla="*/ 12192000 h 12192000"/>
              <a:gd name="connsiteX0" fmla="*/ 0 w 3180964"/>
              <a:gd name="connsiteY0" fmla="*/ 12192000 h 12192000"/>
              <a:gd name="connsiteX1" fmla="*/ 823315 w 3180964"/>
              <a:gd name="connsiteY1" fmla="*/ 0 h 12192000"/>
              <a:gd name="connsiteX2" fmla="*/ 2743817 w 3180964"/>
              <a:gd name="connsiteY2" fmla="*/ 2358190 h 12192000"/>
              <a:gd name="connsiteX3" fmla="*/ 3180964 w 3180964"/>
              <a:gd name="connsiteY3" fmla="*/ 2727158 h 12192000"/>
              <a:gd name="connsiteX4" fmla="*/ 2469944 w 3180964"/>
              <a:gd name="connsiteY4" fmla="*/ 12192000 h 12192000"/>
              <a:gd name="connsiteX5" fmla="*/ 0 w 3180964"/>
              <a:gd name="connsiteY5" fmla="*/ 12192000 h 12192000"/>
              <a:gd name="connsiteX0" fmla="*/ 26917 w 3207881"/>
              <a:gd name="connsiteY0" fmla="*/ 9833810 h 9833810"/>
              <a:gd name="connsiteX1" fmla="*/ 0 w 3207881"/>
              <a:gd name="connsiteY1" fmla="*/ 240631 h 9833810"/>
              <a:gd name="connsiteX2" fmla="*/ 2770734 w 3207881"/>
              <a:gd name="connsiteY2" fmla="*/ 0 h 9833810"/>
              <a:gd name="connsiteX3" fmla="*/ 3207881 w 3207881"/>
              <a:gd name="connsiteY3" fmla="*/ 368968 h 9833810"/>
              <a:gd name="connsiteX4" fmla="*/ 2496861 w 3207881"/>
              <a:gd name="connsiteY4" fmla="*/ 9833810 h 9833810"/>
              <a:gd name="connsiteX5" fmla="*/ 26917 w 3207881"/>
              <a:gd name="connsiteY5" fmla="*/ 9833810 h 9833810"/>
              <a:gd name="connsiteX0" fmla="*/ 26917 w 3218756"/>
              <a:gd name="connsiteY0" fmla="*/ 9833810 h 9833810"/>
              <a:gd name="connsiteX1" fmla="*/ 0 w 3218756"/>
              <a:gd name="connsiteY1" fmla="*/ 240631 h 9833810"/>
              <a:gd name="connsiteX2" fmla="*/ 2770734 w 3218756"/>
              <a:gd name="connsiteY2" fmla="*/ 0 h 9833810"/>
              <a:gd name="connsiteX3" fmla="*/ 3207881 w 3218756"/>
              <a:gd name="connsiteY3" fmla="*/ 368968 h 9833810"/>
              <a:gd name="connsiteX4" fmla="*/ 3218756 w 3218756"/>
              <a:gd name="connsiteY4" fmla="*/ 9801729 h 9833810"/>
              <a:gd name="connsiteX5" fmla="*/ 26917 w 3218756"/>
              <a:gd name="connsiteY5" fmla="*/ 9833810 h 9833810"/>
              <a:gd name="connsiteX0" fmla="*/ 26917 w 3218756"/>
              <a:gd name="connsiteY0" fmla="*/ 9833810 h 9833810"/>
              <a:gd name="connsiteX1" fmla="*/ 0 w 3218756"/>
              <a:gd name="connsiteY1" fmla="*/ 240631 h 9833810"/>
              <a:gd name="connsiteX2" fmla="*/ 2770734 w 3218756"/>
              <a:gd name="connsiteY2" fmla="*/ 0 h 9833810"/>
              <a:gd name="connsiteX3" fmla="*/ 3207881 w 3218756"/>
              <a:gd name="connsiteY3" fmla="*/ 304800 h 9833810"/>
              <a:gd name="connsiteX4" fmla="*/ 3218756 w 3218756"/>
              <a:gd name="connsiteY4" fmla="*/ 9801729 h 9833810"/>
              <a:gd name="connsiteX5" fmla="*/ 26917 w 3218756"/>
              <a:gd name="connsiteY5" fmla="*/ 9833810 h 9833810"/>
              <a:gd name="connsiteX0" fmla="*/ 26917 w 3218756"/>
              <a:gd name="connsiteY0" fmla="*/ 9769641 h 9769641"/>
              <a:gd name="connsiteX1" fmla="*/ 0 w 3218756"/>
              <a:gd name="connsiteY1" fmla="*/ 176462 h 9769641"/>
              <a:gd name="connsiteX2" fmla="*/ 2738650 w 3218756"/>
              <a:gd name="connsiteY2" fmla="*/ 0 h 9769641"/>
              <a:gd name="connsiteX3" fmla="*/ 3207881 w 3218756"/>
              <a:gd name="connsiteY3" fmla="*/ 240631 h 9769641"/>
              <a:gd name="connsiteX4" fmla="*/ 3218756 w 3218756"/>
              <a:gd name="connsiteY4" fmla="*/ 9737560 h 9769641"/>
              <a:gd name="connsiteX5" fmla="*/ 26917 w 3218756"/>
              <a:gd name="connsiteY5" fmla="*/ 9769641 h 9769641"/>
              <a:gd name="connsiteX0" fmla="*/ 26917 w 3218756"/>
              <a:gd name="connsiteY0" fmla="*/ 9780861 h 9780861"/>
              <a:gd name="connsiteX1" fmla="*/ 0 w 3218756"/>
              <a:gd name="connsiteY1" fmla="*/ 187682 h 9780861"/>
              <a:gd name="connsiteX2" fmla="*/ 2772309 w 3218756"/>
              <a:gd name="connsiteY2" fmla="*/ 0 h 9780861"/>
              <a:gd name="connsiteX3" fmla="*/ 3207881 w 3218756"/>
              <a:gd name="connsiteY3" fmla="*/ 251851 h 9780861"/>
              <a:gd name="connsiteX4" fmla="*/ 3218756 w 3218756"/>
              <a:gd name="connsiteY4" fmla="*/ 9748780 h 9780861"/>
              <a:gd name="connsiteX5" fmla="*/ 26917 w 3218756"/>
              <a:gd name="connsiteY5" fmla="*/ 9780861 h 9780861"/>
              <a:gd name="connsiteX0" fmla="*/ 5652 w 3197491"/>
              <a:gd name="connsiteY0" fmla="*/ 9780861 h 9780861"/>
              <a:gd name="connsiteX1" fmla="*/ 0 w 3197491"/>
              <a:gd name="connsiteY1" fmla="*/ 187685 h 9780861"/>
              <a:gd name="connsiteX2" fmla="*/ 2751044 w 3197491"/>
              <a:gd name="connsiteY2" fmla="*/ 0 h 9780861"/>
              <a:gd name="connsiteX3" fmla="*/ 3186616 w 3197491"/>
              <a:gd name="connsiteY3" fmla="*/ 251851 h 9780861"/>
              <a:gd name="connsiteX4" fmla="*/ 3197491 w 3197491"/>
              <a:gd name="connsiteY4" fmla="*/ 9748780 h 9780861"/>
              <a:gd name="connsiteX5" fmla="*/ 5652 w 3197491"/>
              <a:gd name="connsiteY5" fmla="*/ 9780861 h 9780861"/>
              <a:gd name="connsiteX0" fmla="*/ 11262 w 3203101"/>
              <a:gd name="connsiteY0" fmla="*/ 9780861 h 9780861"/>
              <a:gd name="connsiteX1" fmla="*/ 0 w 3203101"/>
              <a:gd name="connsiteY1" fmla="*/ 215734 h 9780861"/>
              <a:gd name="connsiteX2" fmla="*/ 2756654 w 3203101"/>
              <a:gd name="connsiteY2" fmla="*/ 0 h 9780861"/>
              <a:gd name="connsiteX3" fmla="*/ 3192226 w 3203101"/>
              <a:gd name="connsiteY3" fmla="*/ 251851 h 9780861"/>
              <a:gd name="connsiteX4" fmla="*/ 3203101 w 3203101"/>
              <a:gd name="connsiteY4" fmla="*/ 9748780 h 9780861"/>
              <a:gd name="connsiteX5" fmla="*/ 11262 w 3203101"/>
              <a:gd name="connsiteY5" fmla="*/ 9780861 h 9780861"/>
              <a:gd name="connsiteX0" fmla="*/ 11262 w 3203101"/>
              <a:gd name="connsiteY0" fmla="*/ 9780861 h 9780861"/>
              <a:gd name="connsiteX1" fmla="*/ 0 w 3203101"/>
              <a:gd name="connsiteY1" fmla="*/ 198905 h 9780861"/>
              <a:gd name="connsiteX2" fmla="*/ 2756654 w 3203101"/>
              <a:gd name="connsiteY2" fmla="*/ 0 h 9780861"/>
              <a:gd name="connsiteX3" fmla="*/ 3192226 w 3203101"/>
              <a:gd name="connsiteY3" fmla="*/ 251851 h 9780861"/>
              <a:gd name="connsiteX4" fmla="*/ 3203101 w 3203101"/>
              <a:gd name="connsiteY4" fmla="*/ 9748780 h 9780861"/>
              <a:gd name="connsiteX5" fmla="*/ 11262 w 3203101"/>
              <a:gd name="connsiteY5" fmla="*/ 9780861 h 9780861"/>
              <a:gd name="connsiteX0" fmla="*/ 11262 w 3203101"/>
              <a:gd name="connsiteY0" fmla="*/ 9780861 h 9780861"/>
              <a:gd name="connsiteX1" fmla="*/ 0 w 3203101"/>
              <a:gd name="connsiteY1" fmla="*/ 198905 h 9780861"/>
              <a:gd name="connsiteX2" fmla="*/ 2756654 w 3203101"/>
              <a:gd name="connsiteY2" fmla="*/ 0 h 9780861"/>
              <a:gd name="connsiteX3" fmla="*/ 3192226 w 3203101"/>
              <a:gd name="connsiteY3" fmla="*/ 251851 h 9780861"/>
              <a:gd name="connsiteX4" fmla="*/ 3203101 w 3203101"/>
              <a:gd name="connsiteY4" fmla="*/ 9748780 h 9780861"/>
              <a:gd name="connsiteX5" fmla="*/ 11262 w 3203101"/>
              <a:gd name="connsiteY5" fmla="*/ 9780861 h 9780861"/>
              <a:gd name="connsiteX0" fmla="*/ 5652 w 3197491"/>
              <a:gd name="connsiteY0" fmla="*/ 9780861 h 9780861"/>
              <a:gd name="connsiteX1" fmla="*/ 0 w 3197491"/>
              <a:gd name="connsiteY1" fmla="*/ 176466 h 9780861"/>
              <a:gd name="connsiteX2" fmla="*/ 2751044 w 3197491"/>
              <a:gd name="connsiteY2" fmla="*/ 0 h 9780861"/>
              <a:gd name="connsiteX3" fmla="*/ 3186616 w 3197491"/>
              <a:gd name="connsiteY3" fmla="*/ 251851 h 9780861"/>
              <a:gd name="connsiteX4" fmla="*/ 3197491 w 3197491"/>
              <a:gd name="connsiteY4" fmla="*/ 9748780 h 9780861"/>
              <a:gd name="connsiteX5" fmla="*/ 5652 w 3197491"/>
              <a:gd name="connsiteY5" fmla="*/ 9780861 h 9780861"/>
              <a:gd name="connsiteX0" fmla="*/ 5652 w 3197491"/>
              <a:gd name="connsiteY0" fmla="*/ 9786471 h 9786471"/>
              <a:gd name="connsiteX1" fmla="*/ 0 w 3197491"/>
              <a:gd name="connsiteY1" fmla="*/ 182076 h 9786471"/>
              <a:gd name="connsiteX2" fmla="*/ 2756654 w 3197491"/>
              <a:gd name="connsiteY2" fmla="*/ 0 h 9786471"/>
              <a:gd name="connsiteX3" fmla="*/ 3186616 w 3197491"/>
              <a:gd name="connsiteY3" fmla="*/ 257461 h 9786471"/>
              <a:gd name="connsiteX4" fmla="*/ 3197491 w 3197491"/>
              <a:gd name="connsiteY4" fmla="*/ 9754390 h 9786471"/>
              <a:gd name="connsiteX5" fmla="*/ 5652 w 3197491"/>
              <a:gd name="connsiteY5" fmla="*/ 9786471 h 9786471"/>
              <a:gd name="connsiteX0" fmla="*/ 5652 w 3197491"/>
              <a:gd name="connsiteY0" fmla="*/ 9786471 h 9786471"/>
              <a:gd name="connsiteX1" fmla="*/ 0 w 3197491"/>
              <a:gd name="connsiteY1" fmla="*/ 170044 h 9786471"/>
              <a:gd name="connsiteX2" fmla="*/ 2756654 w 3197491"/>
              <a:gd name="connsiteY2" fmla="*/ 0 h 9786471"/>
              <a:gd name="connsiteX3" fmla="*/ 3186616 w 3197491"/>
              <a:gd name="connsiteY3" fmla="*/ 257461 h 9786471"/>
              <a:gd name="connsiteX4" fmla="*/ 3197491 w 3197491"/>
              <a:gd name="connsiteY4" fmla="*/ 9754390 h 9786471"/>
              <a:gd name="connsiteX5" fmla="*/ 5652 w 3197491"/>
              <a:gd name="connsiteY5" fmla="*/ 9786471 h 9786471"/>
              <a:gd name="connsiteX0" fmla="*/ 5652 w 3197491"/>
              <a:gd name="connsiteY0" fmla="*/ 9786471 h 9786471"/>
              <a:gd name="connsiteX1" fmla="*/ 0 w 3197491"/>
              <a:gd name="connsiteY1" fmla="*/ 194107 h 9786471"/>
              <a:gd name="connsiteX2" fmla="*/ 2756654 w 3197491"/>
              <a:gd name="connsiteY2" fmla="*/ 0 h 9786471"/>
              <a:gd name="connsiteX3" fmla="*/ 3186616 w 3197491"/>
              <a:gd name="connsiteY3" fmla="*/ 257461 h 9786471"/>
              <a:gd name="connsiteX4" fmla="*/ 3197491 w 3197491"/>
              <a:gd name="connsiteY4" fmla="*/ 9754390 h 9786471"/>
              <a:gd name="connsiteX5" fmla="*/ 5652 w 3197491"/>
              <a:gd name="connsiteY5" fmla="*/ 9786471 h 9786471"/>
              <a:gd name="connsiteX0" fmla="*/ 5652 w 3197491"/>
              <a:gd name="connsiteY0" fmla="*/ 9786471 h 9790182"/>
              <a:gd name="connsiteX1" fmla="*/ 0 w 3197491"/>
              <a:gd name="connsiteY1" fmla="*/ 194107 h 9790182"/>
              <a:gd name="connsiteX2" fmla="*/ 2756654 w 3197491"/>
              <a:gd name="connsiteY2" fmla="*/ 0 h 9790182"/>
              <a:gd name="connsiteX3" fmla="*/ 3186616 w 3197491"/>
              <a:gd name="connsiteY3" fmla="*/ 257461 h 9790182"/>
              <a:gd name="connsiteX4" fmla="*/ 3197491 w 3197491"/>
              <a:gd name="connsiteY4" fmla="*/ 9790182 h 9790182"/>
              <a:gd name="connsiteX5" fmla="*/ 5652 w 3197491"/>
              <a:gd name="connsiteY5" fmla="*/ 9786471 h 979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97491" h="9790182">
                <a:moveTo>
                  <a:pt x="5652" y="9786471"/>
                </a:moveTo>
                <a:cubicBezTo>
                  <a:pt x="-3320" y="6588745"/>
                  <a:pt x="8972" y="3391833"/>
                  <a:pt x="0" y="194107"/>
                </a:cubicBezTo>
                <a:lnTo>
                  <a:pt x="2756654" y="0"/>
                </a:lnTo>
                <a:lnTo>
                  <a:pt x="3186616" y="257461"/>
                </a:lnTo>
                <a:lnTo>
                  <a:pt x="3197491" y="9790182"/>
                </a:lnTo>
                <a:lnTo>
                  <a:pt x="5652" y="9786471"/>
                </a:lnTo>
                <a:close/>
              </a:path>
            </a:pathLst>
          </a:custGeom>
          <a:gradFill flip="none" rotWithShape="1">
            <a:gsLst>
              <a:gs pos="98030">
                <a:schemeClr val="bg1">
                  <a:alpha val="0"/>
                </a:schemeClr>
              </a:gs>
              <a:gs pos="80000">
                <a:srgbClr val="FFFFFF">
                  <a:alpha val="47000"/>
                </a:srgbClr>
              </a:gs>
              <a:gs pos="45000">
                <a:schemeClr val="bg1"/>
              </a:gs>
            </a:gsLst>
            <a:lin ang="21594000" scaled="0"/>
            <a:tileRect/>
          </a:gradFill>
          <a:ln w="19050">
            <a:noFill/>
          </a:ln>
        </p:spPr>
        <p:txBody>
          <a:bodyPr rot="0" spcFirstLastPara="0" vertOverflow="overflow" horzOverflow="overflow" vert="horz" wrap="square" lIns="454941" tIns="37851" rIns="75702" bIns="72790" numCol="1" spcCol="0" rtlCol="0" fromWordArt="0" anchor="b" anchorCtr="0" forceAA="0" compatLnSpc="1">
            <a:prstTxWarp prst="textNoShape">
              <a:avLst/>
            </a:prstTxWarp>
            <a:noAutofit/>
          </a:bodyPr>
          <a:lstStyle>
            <a:lvl1pPr marL="0" indent="0">
              <a:buNone/>
              <a:defRPr lang="en-US" dirty="0"/>
            </a:lvl1pPr>
          </a:lstStyle>
          <a:p>
            <a:pPr lvl="0">
              <a:buClr>
                <a:schemeClr val="bg1"/>
              </a:buClr>
            </a:pPr>
            <a:r>
              <a:rPr lang="en-US"/>
              <a:t>  </a:t>
            </a:r>
            <a:endParaRPr lang="en-US" dirty="0"/>
          </a:p>
        </p:txBody>
      </p:sp>
      <p:sp>
        <p:nvSpPr>
          <p:cNvPr id="2" name="Title 1"/>
          <p:cNvSpPr>
            <a:spLocks noGrp="1"/>
          </p:cNvSpPr>
          <p:nvPr>
            <p:ph type="ctrTitle" hasCustomPrompt="1"/>
          </p:nvPr>
        </p:nvSpPr>
        <p:spPr bwMode="gray">
          <a:xfrm>
            <a:off x="2877338" y="4429621"/>
            <a:ext cx="5504500" cy="2262007"/>
          </a:xfrm>
        </p:spPr>
        <p:txBody>
          <a:bodyPr wrap="square" anchor="b" anchorCtr="0">
            <a:noAutofit/>
          </a:bodyPr>
          <a:lstStyle>
            <a:lvl1pPr algn="l">
              <a:lnSpc>
                <a:spcPct val="80000"/>
              </a:lnSpc>
              <a:defRPr sz="4800" b="0" i="0" cap="all" baseline="0">
                <a:solidFill>
                  <a:schemeClr val="tx1"/>
                </a:solidFill>
                <a:effectLst/>
                <a:latin typeface="+mj-lt"/>
                <a:ea typeface="DIN Pro Black" charset="0"/>
                <a:cs typeface="DIN Pro Black" charset="0"/>
              </a:defRPr>
            </a:lvl1pPr>
          </a:lstStyle>
          <a:p>
            <a:r>
              <a:rPr lang="en-US" dirty="0"/>
              <a:t>Click </a:t>
            </a:r>
            <a:r>
              <a:rPr lang="en-US"/>
              <a:t>to Add </a:t>
            </a:r>
            <a:r>
              <a:rPr lang="en-US" dirty="0"/>
              <a:t>Title</a:t>
            </a:r>
          </a:p>
        </p:txBody>
      </p:sp>
      <p:sp>
        <p:nvSpPr>
          <p:cNvPr id="3" name="Subtitle 2"/>
          <p:cNvSpPr>
            <a:spLocks noGrp="1"/>
          </p:cNvSpPr>
          <p:nvPr>
            <p:ph type="subTitle" idx="1" hasCustomPrompt="1"/>
          </p:nvPr>
        </p:nvSpPr>
        <p:spPr bwMode="gray">
          <a:xfrm>
            <a:off x="8964063" y="5611024"/>
            <a:ext cx="2926080" cy="246221"/>
          </a:xfrm>
        </p:spPr>
        <p:txBody>
          <a:bodyPr wrap="square" anchor="b">
            <a:noAutofit/>
          </a:bodyPr>
          <a:lstStyle>
            <a:lvl1pPr marL="0" indent="0" algn="ctr">
              <a:lnSpc>
                <a:spcPct val="80000"/>
              </a:lnSpc>
              <a:spcBef>
                <a:spcPts val="0"/>
              </a:spcBef>
              <a:spcAft>
                <a:spcPts val="0"/>
              </a:spcAft>
              <a:buNone/>
              <a:defRPr sz="1700" b="0">
                <a:solidFill>
                  <a:schemeClr val="tx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 Presenter’s Name</a:t>
            </a:r>
          </a:p>
        </p:txBody>
      </p:sp>
      <p:sp>
        <p:nvSpPr>
          <p:cNvPr id="8" name="Text Placeholder 7"/>
          <p:cNvSpPr>
            <a:spLocks noGrp="1"/>
          </p:cNvSpPr>
          <p:nvPr>
            <p:ph type="body" sz="quarter" idx="10" hasCustomPrompt="1"/>
          </p:nvPr>
        </p:nvSpPr>
        <p:spPr bwMode="gray">
          <a:xfrm>
            <a:off x="8964063" y="5891811"/>
            <a:ext cx="2926080" cy="221599"/>
          </a:xfrm>
        </p:spPr>
        <p:txBody>
          <a:bodyPr wrap="square" anchor="t">
            <a:noAutofit/>
          </a:bodyPr>
          <a:lstStyle>
            <a:lvl1pPr marL="0" indent="0" algn="ctr">
              <a:spcBef>
                <a:spcPts val="0"/>
              </a:spcBef>
              <a:buNone/>
              <a:defRPr sz="1500">
                <a:solidFill>
                  <a:schemeClr val="tx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Add Presenter’s Title</a:t>
            </a:r>
          </a:p>
        </p:txBody>
      </p:sp>
      <p:sp>
        <p:nvSpPr>
          <p:cNvPr id="11" name="Text Placeholder 9"/>
          <p:cNvSpPr>
            <a:spLocks noGrp="1"/>
          </p:cNvSpPr>
          <p:nvPr>
            <p:ph type="body" sz="quarter" idx="13" hasCustomPrompt="1"/>
          </p:nvPr>
        </p:nvSpPr>
        <p:spPr bwMode="gray">
          <a:xfrm>
            <a:off x="9192663" y="6271411"/>
            <a:ext cx="2468880" cy="193899"/>
          </a:xfrm>
        </p:spPr>
        <p:txBody>
          <a:bodyPr wrap="square" anchor="t" anchorCtr="0">
            <a:noAutofit/>
          </a:bodyPr>
          <a:lstStyle>
            <a:lvl1pPr marL="0" indent="0" algn="ctr">
              <a:spcBef>
                <a:spcPts val="0"/>
              </a:spcBef>
              <a:buFontTx/>
              <a:buNone/>
              <a:defRPr sz="1400">
                <a:solidFill>
                  <a:schemeClr val="tx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6" name="Text Placeholder 10">
            <a:extLst>
              <a:ext uri="{FF2B5EF4-FFF2-40B4-BE49-F238E27FC236}">
                <a16:creationId xmlns:a16="http://schemas.microsoft.com/office/drawing/2014/main" id="{CDD86703-6F1E-40F2-8E18-356D4E92C5B3}"/>
              </a:ext>
            </a:extLst>
          </p:cNvPr>
          <p:cNvSpPr>
            <a:spLocks noGrp="1"/>
          </p:cNvSpPr>
          <p:nvPr>
            <p:ph type="body" sz="quarter" idx="20" hasCustomPrompt="1"/>
          </p:nvPr>
        </p:nvSpPr>
        <p:spPr>
          <a:xfrm rot="5400000">
            <a:off x="10388268" y="4150992"/>
            <a:ext cx="18288" cy="2743200"/>
          </a:xfrm>
          <a:solidFill>
            <a:schemeClr val="bg2"/>
          </a:solidFill>
          <a:ln>
            <a:noFill/>
          </a:ln>
        </p:spPr>
        <p:txBody>
          <a:bodyPr/>
          <a:lstStyle>
            <a:lvl1pPr marL="0" indent="0">
              <a:buNone/>
              <a:defRPr baseline="0"/>
            </a:lvl1pPr>
          </a:lstStyle>
          <a:p>
            <a:pPr lvl="0"/>
            <a:r>
              <a:rPr lang="en-US" dirty="0"/>
              <a:t> </a:t>
            </a:r>
          </a:p>
        </p:txBody>
      </p:sp>
      <p:sp>
        <p:nvSpPr>
          <p:cNvPr id="30" name="Text Placeholder 29">
            <a:extLst>
              <a:ext uri="{FF2B5EF4-FFF2-40B4-BE49-F238E27FC236}">
                <a16:creationId xmlns:a16="http://schemas.microsoft.com/office/drawing/2014/main" id="{3A6755E2-68D0-4887-A72E-4FEB2FC898DC}"/>
              </a:ext>
            </a:extLst>
          </p:cNvPr>
          <p:cNvSpPr>
            <a:spLocks noGrp="1"/>
          </p:cNvSpPr>
          <p:nvPr>
            <p:ph type="body" sz="quarter" idx="21" hasCustomPrompt="1"/>
          </p:nvPr>
        </p:nvSpPr>
        <p:spPr>
          <a:xfrm>
            <a:off x="9026525" y="6557190"/>
            <a:ext cx="2743200" cy="18288"/>
          </a:xfrm>
          <a:solidFill>
            <a:schemeClr val="bg2"/>
          </a:solidFill>
        </p:spPr>
        <p:txBody>
          <a:bodyPr/>
          <a:lstStyle>
            <a:lvl1pPr marL="0" indent="0">
              <a:buFontTx/>
              <a:buNone/>
              <a:defRPr sz="500"/>
            </a:lvl1pPr>
          </a:lstStyle>
          <a:p>
            <a:pPr lvl="0"/>
            <a:r>
              <a:rPr lang="en-US" dirty="0"/>
              <a:t> </a:t>
            </a:r>
          </a:p>
        </p:txBody>
      </p:sp>
    </p:spTree>
    <p:extLst>
      <p:ext uri="{BB962C8B-B14F-4D97-AF65-F5344CB8AC3E}">
        <p14:creationId xmlns:p14="http://schemas.microsoft.com/office/powerpoint/2010/main" val="2136679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D274482-5A7A-42E8-A55B-2B79C89DF7CD}"/>
              </a:ext>
            </a:extLst>
          </p:cNvPr>
          <p:cNvGrpSpPr/>
          <p:nvPr/>
        </p:nvGrpSpPr>
        <p:grpSpPr>
          <a:xfrm>
            <a:off x="1" y="-442088"/>
            <a:ext cx="3898232" cy="7312120"/>
            <a:chOff x="1" y="-442088"/>
            <a:chExt cx="3898232" cy="7312120"/>
          </a:xfrm>
        </p:grpSpPr>
        <p:sp>
          <p:nvSpPr>
            <p:cNvPr id="26" name="Rectangle 4">
              <a:extLst>
                <a:ext uri="{FF2B5EF4-FFF2-40B4-BE49-F238E27FC236}">
                  <a16:creationId xmlns:a16="http://schemas.microsoft.com/office/drawing/2014/main" id="{C7FF789E-486F-4C2E-9D16-5E35C8FB8787}"/>
                </a:ext>
              </a:extLst>
            </p:cNvPr>
            <p:cNvSpPr/>
            <p:nvPr/>
          </p:nvSpPr>
          <p:spPr>
            <a:xfrm>
              <a:off x="1" y="-12032"/>
              <a:ext cx="3898232" cy="6877142"/>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43698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877142"/>
                <a:gd name="connsiteX1" fmla="*/ 11367745 w 11367745"/>
                <a:gd name="connsiteY1" fmla="*/ 0 h 6877142"/>
                <a:gd name="connsiteX2" fmla="*/ 6255328 w 11367745"/>
                <a:gd name="connsiteY2" fmla="*/ 5041232 h 6877142"/>
                <a:gd name="connsiteX3" fmla="*/ 6808614 w 11367745"/>
                <a:gd name="connsiteY3" fmla="*/ 6877142 h 6877142"/>
                <a:gd name="connsiteX4" fmla="*/ 0 w 11367745"/>
                <a:gd name="connsiteY4" fmla="*/ 6870032 h 6877142"/>
                <a:gd name="connsiteX5" fmla="*/ 0 w 11367745"/>
                <a:gd name="connsiteY5" fmla="*/ 12032 h 6877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67745" h="6877142">
                  <a:moveTo>
                    <a:pt x="0" y="12032"/>
                  </a:moveTo>
                  <a:lnTo>
                    <a:pt x="11367745" y="0"/>
                  </a:lnTo>
                  <a:cubicBezTo>
                    <a:pt x="9493718" y="1572491"/>
                    <a:pt x="6951519" y="3543847"/>
                    <a:pt x="6255328" y="5041232"/>
                  </a:cubicBezTo>
                  <a:cubicBezTo>
                    <a:pt x="6698673" y="6357413"/>
                    <a:pt x="6282143" y="5425879"/>
                    <a:pt x="6808614" y="6877142"/>
                  </a:cubicBezTo>
                  <a:lnTo>
                    <a:pt x="0" y="6870032"/>
                  </a:lnTo>
                  <a:lnTo>
                    <a:pt x="0" y="12032"/>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5" name="Group 14">
              <a:extLst>
                <a:ext uri="{FF2B5EF4-FFF2-40B4-BE49-F238E27FC236}">
                  <a16:creationId xmlns:a16="http://schemas.microsoft.com/office/drawing/2014/main" id="{305DDAA3-EE5F-4DE5-A70D-7AF0BF397FDF}"/>
                </a:ext>
              </a:extLst>
            </p:cNvPr>
            <p:cNvGrpSpPr/>
            <p:nvPr/>
          </p:nvGrpSpPr>
          <p:grpSpPr>
            <a:xfrm>
              <a:off x="819916" y="-442088"/>
              <a:ext cx="2900783" cy="7312120"/>
              <a:chOff x="5192691" y="-436277"/>
              <a:chExt cx="2900783" cy="7312120"/>
            </a:xfrm>
          </p:grpSpPr>
          <p:sp>
            <p:nvSpPr>
              <p:cNvPr id="17" name="Right Triangle 3">
                <a:extLst>
                  <a:ext uri="{FF2B5EF4-FFF2-40B4-BE49-F238E27FC236}">
                    <a16:creationId xmlns:a16="http://schemas.microsoft.com/office/drawing/2014/main" id="{D96C8D74-86E3-410B-B30E-AC2092CF0437}"/>
                  </a:ext>
                </a:extLst>
              </p:cNvPr>
              <p:cNvSpPr/>
              <p:nvPr/>
            </p:nvSpPr>
            <p:spPr>
              <a:xfrm flipH="1">
                <a:off x="5192691" y="4248202"/>
                <a:ext cx="1505899" cy="2626242"/>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Lst>
                <a:ahLst/>
                <a:cxnLst>
                  <a:cxn ang="0">
                    <a:pos x="connsiteX0" y="connsiteY0"/>
                  </a:cxn>
                  <a:cxn ang="0">
                    <a:pos x="connsiteX1" y="connsiteY1"/>
                  </a:cxn>
                  <a:cxn ang="0">
                    <a:pos x="connsiteX2" y="connsiteY2"/>
                  </a:cxn>
                  <a:cxn ang="0">
                    <a:pos x="connsiteX3" y="connsiteY3"/>
                  </a:cxn>
                </a:cxnLst>
                <a:rect l="l" t="t" r="r" b="b"/>
                <a:pathLst>
                  <a:path w="1505899" h="2626242">
                    <a:moveTo>
                      <a:pt x="350874" y="2626242"/>
                    </a:moveTo>
                    <a:lnTo>
                      <a:pt x="0" y="0"/>
                    </a:lnTo>
                    <a:lnTo>
                      <a:pt x="1505899" y="2626242"/>
                    </a:lnTo>
                    <a:lnTo>
                      <a:pt x="350874" y="2626242"/>
                    </a:lnTo>
                    <a:close/>
                  </a:path>
                </a:pathLst>
              </a:custGeom>
              <a:gradFill>
                <a:gsLst>
                  <a:gs pos="2000">
                    <a:srgbClr val="62B53F"/>
                  </a:gs>
                  <a:gs pos="52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ight Triangle 3">
                <a:extLst>
                  <a:ext uri="{FF2B5EF4-FFF2-40B4-BE49-F238E27FC236}">
                    <a16:creationId xmlns:a16="http://schemas.microsoft.com/office/drawing/2014/main" id="{661AD5E9-89E6-47DA-8230-48C561B96C44}"/>
                  </a:ext>
                </a:extLst>
              </p:cNvPr>
              <p:cNvSpPr/>
              <p:nvPr/>
            </p:nvSpPr>
            <p:spPr>
              <a:xfrm>
                <a:off x="6009662" y="3824298"/>
                <a:ext cx="963639" cy="305154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Lst>
                <a:ahLst/>
                <a:cxnLst>
                  <a:cxn ang="0">
                    <a:pos x="connsiteX0" y="connsiteY0"/>
                  </a:cxn>
                  <a:cxn ang="0">
                    <a:pos x="connsiteX1" y="connsiteY1"/>
                  </a:cxn>
                  <a:cxn ang="0">
                    <a:pos x="connsiteX2" y="connsiteY2"/>
                  </a:cxn>
                  <a:cxn ang="0">
                    <a:pos x="connsiteX3" y="connsiteY3"/>
                  </a:cxn>
                </a:cxnLst>
                <a:rect l="l" t="t" r="r" b="b"/>
                <a:pathLst>
                  <a:path w="963639" h="3051545">
                    <a:moveTo>
                      <a:pt x="0" y="3051545"/>
                    </a:moveTo>
                    <a:lnTo>
                      <a:pt x="754912" y="0"/>
                    </a:lnTo>
                    <a:lnTo>
                      <a:pt x="963639" y="3051545"/>
                    </a:lnTo>
                    <a:lnTo>
                      <a:pt x="0" y="3051545"/>
                    </a:lnTo>
                    <a:close/>
                  </a:path>
                </a:pathLst>
              </a:custGeom>
              <a:gradFill>
                <a:gsLst>
                  <a:gs pos="27000">
                    <a:srgbClr val="5EAC3E"/>
                  </a:gs>
                  <a:gs pos="64000">
                    <a:srgbClr val="67BD4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Right Triangle 3">
                <a:extLst>
                  <a:ext uri="{FF2B5EF4-FFF2-40B4-BE49-F238E27FC236}">
                    <a16:creationId xmlns:a16="http://schemas.microsoft.com/office/drawing/2014/main" id="{A7348C05-05B2-4D8B-8B2A-370D98103528}"/>
                  </a:ext>
                </a:extLst>
              </p:cNvPr>
              <p:cNvSpPr/>
              <p:nvPr/>
            </p:nvSpPr>
            <p:spPr>
              <a:xfrm rot="12173926">
                <a:off x="7078743" y="-436277"/>
                <a:ext cx="1014731" cy="597488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 name="connsiteX0" fmla="*/ 0 w 1014731"/>
                  <a:gd name="connsiteY0" fmla="*/ 3477101 h 3477101"/>
                  <a:gd name="connsiteX1" fmla="*/ 806004 w 1014731"/>
                  <a:gd name="connsiteY1" fmla="*/ 0 h 3477101"/>
                  <a:gd name="connsiteX2" fmla="*/ 1014731 w 1014731"/>
                  <a:gd name="connsiteY2" fmla="*/ 3051545 h 3477101"/>
                  <a:gd name="connsiteX3" fmla="*/ 0 w 1014731"/>
                  <a:gd name="connsiteY3" fmla="*/ 3477101 h 3477101"/>
                  <a:gd name="connsiteX0" fmla="*/ 0 w 1014731"/>
                  <a:gd name="connsiteY0" fmla="*/ 5974885 h 5974885"/>
                  <a:gd name="connsiteX1" fmla="*/ 789755 w 1014731"/>
                  <a:gd name="connsiteY1" fmla="*/ 0 h 5974885"/>
                  <a:gd name="connsiteX2" fmla="*/ 1014731 w 1014731"/>
                  <a:gd name="connsiteY2" fmla="*/ 5549329 h 5974885"/>
                  <a:gd name="connsiteX3" fmla="*/ 0 w 1014731"/>
                  <a:gd name="connsiteY3" fmla="*/ 5974885 h 5974885"/>
                </a:gdLst>
                <a:ahLst/>
                <a:cxnLst>
                  <a:cxn ang="0">
                    <a:pos x="connsiteX0" y="connsiteY0"/>
                  </a:cxn>
                  <a:cxn ang="0">
                    <a:pos x="connsiteX1" y="connsiteY1"/>
                  </a:cxn>
                  <a:cxn ang="0">
                    <a:pos x="connsiteX2" y="connsiteY2"/>
                  </a:cxn>
                  <a:cxn ang="0">
                    <a:pos x="connsiteX3" y="connsiteY3"/>
                  </a:cxn>
                </a:cxnLst>
                <a:rect l="l" t="t" r="r" b="b"/>
                <a:pathLst>
                  <a:path w="1014731" h="5974885">
                    <a:moveTo>
                      <a:pt x="0" y="5974885"/>
                    </a:moveTo>
                    <a:lnTo>
                      <a:pt x="789755" y="0"/>
                    </a:lnTo>
                    <a:lnTo>
                      <a:pt x="1014731" y="5549329"/>
                    </a:lnTo>
                    <a:lnTo>
                      <a:pt x="0" y="5974885"/>
                    </a:lnTo>
                    <a:close/>
                  </a:path>
                </a:pathLst>
              </a:custGeom>
              <a:gradFill>
                <a:gsLst>
                  <a:gs pos="34000">
                    <a:schemeClr val="bg2"/>
                  </a:gs>
                  <a:gs pos="100000">
                    <a:srgbClr val="5BA23C"/>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20" name="Content Placeholder 3"/>
          <p:cNvSpPr>
            <a:spLocks noGrp="1"/>
          </p:cNvSpPr>
          <p:nvPr>
            <p:ph sz="half" idx="2" hasCustomPrompt="1"/>
          </p:nvPr>
        </p:nvSpPr>
        <p:spPr>
          <a:xfrm>
            <a:off x="4710223" y="980745"/>
            <a:ext cx="6113720" cy="5451953"/>
          </a:xfrm>
        </p:spPr>
        <p:txBody>
          <a:bodyPr anchor="ctr" anchorCtr="0">
            <a:noAutofit/>
          </a:bodyPr>
          <a:lstStyle>
            <a:lvl1pPr marL="274320" indent="-274320">
              <a:buClr>
                <a:schemeClr val="tx1"/>
              </a:buClr>
              <a:buFont typeface="Arial" panose="020B0604020202020204" pitchFamily="34" charset="0"/>
              <a:buChar char="•"/>
              <a:defRPr sz="2400">
                <a:solidFill>
                  <a:schemeClr val="tx1"/>
                </a:solidFill>
              </a:defRPr>
            </a:lvl1pPr>
            <a:lvl2pPr marL="658368" indent="-271463">
              <a:buClr>
                <a:schemeClr val="tx1">
                  <a:lumMod val="75000"/>
                </a:schemeClr>
              </a:buClr>
              <a:defRPr sz="2000">
                <a:solidFill>
                  <a:schemeClr val="tx1"/>
                </a:solidFill>
              </a:defRPr>
            </a:lvl2pPr>
            <a:lvl3pPr marL="914400" indent="-209550">
              <a:buClr>
                <a:schemeClr val="tx1">
                  <a:lumMod val="75000"/>
                </a:schemeClr>
              </a:buClr>
              <a:defRPr sz="1800">
                <a:solidFill>
                  <a:schemeClr val="tx1"/>
                </a:solidFill>
              </a:defRPr>
            </a:lvl3pPr>
            <a:lvl4pPr marL="1197864" indent="-209550">
              <a:buClr>
                <a:schemeClr val="tx1">
                  <a:lumMod val="75000"/>
                </a:schemeClr>
              </a:buClr>
              <a:defRPr sz="1600" baseline="0">
                <a:solidFill>
                  <a:schemeClr val="tx1"/>
                </a:solidFill>
              </a:defRPr>
            </a:lvl4pPr>
            <a:lvl5pPr marL="1444752" indent="-182563">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3" name="Picture 22">
            <a:extLst>
              <a:ext uri="{FF2B5EF4-FFF2-40B4-BE49-F238E27FC236}">
                <a16:creationId xmlns:a16="http://schemas.microsoft.com/office/drawing/2014/main" id="{2890FC30-8DCC-413A-AA0E-582DE83381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22" name="Rectangle 6">
            <a:extLst>
              <a:ext uri="{FF2B5EF4-FFF2-40B4-BE49-F238E27FC236}">
                <a16:creationId xmlns:a16="http://schemas.microsoft.com/office/drawing/2014/main" id="{6379CB8E-4EC2-4950-8A37-A893B5EE8695}"/>
              </a:ext>
            </a:extLst>
          </p:cNvPr>
          <p:cNvSpPr txBox="1">
            <a:spLocks noChangeArrowheads="1"/>
          </p:cNvSpPr>
          <p:nvPr/>
        </p:nvSpPr>
        <p:spPr bwMode="auto">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sp>
        <p:nvSpPr>
          <p:cNvPr id="12" name="TextBox 11">
            <a:extLst>
              <a:ext uri="{FF2B5EF4-FFF2-40B4-BE49-F238E27FC236}">
                <a16:creationId xmlns:a16="http://schemas.microsoft.com/office/drawing/2014/main" id="{6A5E9822-25BA-4A9B-997C-17913F255ED0}"/>
              </a:ext>
            </a:extLst>
          </p:cNvPr>
          <p:cNvSpPr txBox="1"/>
          <p:nvPr/>
        </p:nvSpPr>
        <p:spPr bwMode="white">
          <a:xfrm>
            <a:off x="515532" y="2105269"/>
            <a:ext cx="1810284" cy="435935"/>
          </a:xfrm>
          <a:prstGeom prst="rect">
            <a:avLst/>
          </a:prstGeom>
        </p:spPr>
        <p:txBody>
          <a:bodyPr vert="horz" wrap="square" lIns="91440" tIns="91440" rIns="91440" bIns="91440" rtlCol="0">
            <a:noAutofit/>
          </a:bodyPr>
          <a:lstStyle/>
          <a:p>
            <a:pPr algn="ctr"/>
            <a:r>
              <a:rPr lang="en-US" sz="2400" spc="300" dirty="0">
                <a:solidFill>
                  <a:schemeClr val="bg1"/>
                </a:solidFill>
              </a:rPr>
              <a:t>AGENDA</a:t>
            </a:r>
          </a:p>
        </p:txBody>
      </p:sp>
      <p:pic>
        <p:nvPicPr>
          <p:cNvPr id="13" name="Graphic 12">
            <a:extLst>
              <a:ext uri="{FF2B5EF4-FFF2-40B4-BE49-F238E27FC236}">
                <a16:creationId xmlns:a16="http://schemas.microsoft.com/office/drawing/2014/main" id="{A1946747-AE9D-4CCE-8150-606B07C8A2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75" y="558761"/>
            <a:ext cx="2445418" cy="1558618"/>
          </a:xfrm>
          <a:prstGeom prst="rect">
            <a:avLst/>
          </a:prstGeom>
        </p:spPr>
      </p:pic>
    </p:spTree>
    <p:extLst>
      <p:ext uri="{BB962C8B-B14F-4D97-AF65-F5344CB8AC3E}">
        <p14:creationId xmlns:p14="http://schemas.microsoft.com/office/powerpoint/2010/main" val="31328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u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369241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sp>
        <p:nvSpPr>
          <p:cNvPr id="22" name="Title 21"/>
          <p:cNvSpPr>
            <a:spLocks noGrp="1"/>
          </p:cNvSpPr>
          <p:nvPr>
            <p:ph type="title" hasCustomPrompt="1"/>
          </p:nvPr>
        </p:nvSpPr>
        <p:spPr bwMode="gray">
          <a:xfrm>
            <a:off x="1577978" y="3820267"/>
            <a:ext cx="8162668" cy="812889"/>
          </a:xfrm>
        </p:spPr>
        <p:txBody>
          <a:bodyPr anchor="ctr" anchorCtr="0"/>
          <a:lstStyle>
            <a:lvl1pPr algn="l">
              <a:defRPr lang="en-US" sz="5400" dirty="0">
                <a:solidFill>
                  <a:schemeClr val="bg2"/>
                </a:solidFill>
              </a:defRPr>
            </a:lvl1pPr>
          </a:lstStyle>
          <a:p>
            <a:pPr marL="0" lvl="0">
              <a:lnSpc>
                <a:spcPct val="90000"/>
              </a:lnSpc>
              <a:spcBef>
                <a:spcPts val="1200"/>
              </a:spcBef>
            </a:pPr>
            <a:r>
              <a:rPr lang="en-US" dirty="0"/>
              <a:t>Click to </a:t>
            </a:r>
            <a:r>
              <a:rPr lang="en-US"/>
              <a:t>add title</a:t>
            </a:r>
            <a:endParaRPr lang="en-US" dirty="0"/>
          </a:p>
        </p:txBody>
      </p:sp>
      <p:grpSp>
        <p:nvGrpSpPr>
          <p:cNvPr id="2" name="Group 1">
            <a:extLst>
              <a:ext uri="{FF2B5EF4-FFF2-40B4-BE49-F238E27FC236}">
                <a16:creationId xmlns:a16="http://schemas.microsoft.com/office/drawing/2014/main" id="{A5FB7C47-AE33-4786-B8B7-7ECE41E10698}"/>
              </a:ext>
            </a:extLst>
          </p:cNvPr>
          <p:cNvGrpSpPr/>
          <p:nvPr/>
        </p:nvGrpSpPr>
        <p:grpSpPr>
          <a:xfrm>
            <a:off x="9260732" y="1084521"/>
            <a:ext cx="2966710" cy="5794744"/>
            <a:chOff x="9260732" y="1084521"/>
            <a:chExt cx="2966710" cy="5794744"/>
          </a:xfrm>
        </p:grpSpPr>
        <p:sp>
          <p:nvSpPr>
            <p:cNvPr id="18" name="Freeform: Shape 17">
              <a:extLst>
                <a:ext uri="{FF2B5EF4-FFF2-40B4-BE49-F238E27FC236}">
                  <a16:creationId xmlns:a16="http://schemas.microsoft.com/office/drawing/2014/main" id="{265F1314-BF98-4A68-8138-2CB07DB72EEB}"/>
                </a:ext>
              </a:extLst>
            </p:cNvPr>
            <p:cNvSpPr/>
            <p:nvPr/>
          </p:nvSpPr>
          <p:spPr>
            <a:xfrm>
              <a:off x="10758656" y="1088910"/>
              <a:ext cx="1445441" cy="5774567"/>
            </a:xfrm>
            <a:custGeom>
              <a:avLst/>
              <a:gdLst>
                <a:gd name="connsiteX0" fmla="*/ 1424763 w 1456660"/>
                <a:gd name="connsiteY0" fmla="*/ 2604977 h 5794744"/>
                <a:gd name="connsiteX1" fmla="*/ 1456660 w 1456660"/>
                <a:gd name="connsiteY1" fmla="*/ 0 h 5794744"/>
                <a:gd name="connsiteX2" fmla="*/ 0 w 1456660"/>
                <a:gd name="connsiteY2" fmla="*/ 5794744 h 5794744"/>
                <a:gd name="connsiteX3" fmla="*/ 148856 w 1456660"/>
                <a:gd name="connsiteY3" fmla="*/ 5773479 h 5794744"/>
                <a:gd name="connsiteX4" fmla="*/ 1424763 w 1456660"/>
                <a:gd name="connsiteY4" fmla="*/ 2604977 h 5794744"/>
                <a:gd name="connsiteX0" fmla="*/ 1424763 w 1456660"/>
                <a:gd name="connsiteY0" fmla="*/ 2604977 h 5777982"/>
                <a:gd name="connsiteX1" fmla="*/ 1456660 w 1456660"/>
                <a:gd name="connsiteY1" fmla="*/ 0 h 5777982"/>
                <a:gd name="connsiteX2" fmla="*/ 0 w 1456660"/>
                <a:gd name="connsiteY2" fmla="*/ 5777982 h 5777982"/>
                <a:gd name="connsiteX3" fmla="*/ 148856 w 1456660"/>
                <a:gd name="connsiteY3" fmla="*/ 5773479 h 5777982"/>
                <a:gd name="connsiteX4" fmla="*/ 1424763 w 1456660"/>
                <a:gd name="connsiteY4" fmla="*/ 2604977 h 5777982"/>
                <a:gd name="connsiteX0" fmla="*/ 1424763 w 1434221"/>
                <a:gd name="connsiteY0" fmla="*/ 2593803 h 5766808"/>
                <a:gd name="connsiteX1" fmla="*/ 1434221 w 1434221"/>
                <a:gd name="connsiteY1" fmla="*/ 0 h 5766808"/>
                <a:gd name="connsiteX2" fmla="*/ 0 w 1434221"/>
                <a:gd name="connsiteY2" fmla="*/ 5766808 h 5766808"/>
                <a:gd name="connsiteX3" fmla="*/ 148856 w 1434221"/>
                <a:gd name="connsiteY3" fmla="*/ 5762305 h 5766808"/>
                <a:gd name="connsiteX4" fmla="*/ 1424763 w 1434221"/>
                <a:gd name="connsiteY4" fmla="*/ 2593803 h 5766808"/>
                <a:gd name="connsiteX0" fmla="*/ 1435983 w 1445441"/>
                <a:gd name="connsiteY0" fmla="*/ 2593803 h 5762305"/>
                <a:gd name="connsiteX1" fmla="*/ 1445441 w 1445441"/>
                <a:gd name="connsiteY1" fmla="*/ 0 h 5762305"/>
                <a:gd name="connsiteX2" fmla="*/ 0 w 1445441"/>
                <a:gd name="connsiteY2" fmla="*/ 5750047 h 5762305"/>
                <a:gd name="connsiteX3" fmla="*/ 160076 w 1445441"/>
                <a:gd name="connsiteY3" fmla="*/ 5762305 h 5762305"/>
                <a:gd name="connsiteX4" fmla="*/ 1435983 w 1445441"/>
                <a:gd name="connsiteY4" fmla="*/ 2593803 h 5762305"/>
                <a:gd name="connsiteX0" fmla="*/ 1435983 w 1445441"/>
                <a:gd name="connsiteY0" fmla="*/ 2593803 h 5751132"/>
                <a:gd name="connsiteX1" fmla="*/ 1445441 w 1445441"/>
                <a:gd name="connsiteY1" fmla="*/ 0 h 5751132"/>
                <a:gd name="connsiteX2" fmla="*/ 0 w 1445441"/>
                <a:gd name="connsiteY2" fmla="*/ 5750047 h 5751132"/>
                <a:gd name="connsiteX3" fmla="*/ 160076 w 1445441"/>
                <a:gd name="connsiteY3" fmla="*/ 5751132 h 5751132"/>
                <a:gd name="connsiteX4" fmla="*/ 1435983 w 1445441"/>
                <a:gd name="connsiteY4" fmla="*/ 2593803 h 5751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5441" h="5751132">
                  <a:moveTo>
                    <a:pt x="1435983" y="2593803"/>
                  </a:moveTo>
                  <a:cubicBezTo>
                    <a:pt x="1439136" y="1729202"/>
                    <a:pt x="1442288" y="864601"/>
                    <a:pt x="1445441" y="0"/>
                  </a:cubicBezTo>
                  <a:lnTo>
                    <a:pt x="0" y="5750047"/>
                  </a:lnTo>
                  <a:lnTo>
                    <a:pt x="160076" y="5751132"/>
                  </a:lnTo>
                  <a:lnTo>
                    <a:pt x="1435983" y="2593803"/>
                  </a:lnTo>
                  <a:close/>
                </a:path>
              </a:pathLst>
            </a:custGeom>
            <a:gradFill>
              <a:gsLst>
                <a:gs pos="34000">
                  <a:schemeClr val="bg2"/>
                </a:gs>
                <a:gs pos="68000">
                  <a:srgbClr val="5BA23C"/>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Freeform: Shape 18">
              <a:extLst>
                <a:ext uri="{FF2B5EF4-FFF2-40B4-BE49-F238E27FC236}">
                  <a16:creationId xmlns:a16="http://schemas.microsoft.com/office/drawing/2014/main" id="{521E371F-1A59-474E-B95B-89195D83A3E8}"/>
                </a:ext>
              </a:extLst>
            </p:cNvPr>
            <p:cNvSpPr/>
            <p:nvPr/>
          </p:nvSpPr>
          <p:spPr>
            <a:xfrm>
              <a:off x="10019490" y="3789410"/>
              <a:ext cx="1556426" cy="3083668"/>
            </a:xfrm>
            <a:custGeom>
              <a:avLst/>
              <a:gdLst>
                <a:gd name="connsiteX0" fmla="*/ 749030 w 1556426"/>
                <a:gd name="connsiteY0" fmla="*/ 3073940 h 3083668"/>
                <a:gd name="connsiteX1" fmla="*/ 0 w 1556426"/>
                <a:gd name="connsiteY1" fmla="*/ 3083668 h 3083668"/>
                <a:gd name="connsiteX2" fmla="*/ 1556426 w 1556426"/>
                <a:gd name="connsiteY2" fmla="*/ 0 h 3083668"/>
                <a:gd name="connsiteX3" fmla="*/ 749030 w 1556426"/>
                <a:gd name="connsiteY3" fmla="*/ 3073940 h 3083668"/>
                <a:gd name="connsiteX0" fmla="*/ 749030 w 1556426"/>
                <a:gd name="connsiteY0" fmla="*/ 3073940 h 3083668"/>
                <a:gd name="connsiteX1" fmla="*/ 0 w 1556426"/>
                <a:gd name="connsiteY1" fmla="*/ 3083668 h 3083668"/>
                <a:gd name="connsiteX2" fmla="*/ 1556426 w 1556426"/>
                <a:gd name="connsiteY2" fmla="*/ 0 h 3083668"/>
                <a:gd name="connsiteX3" fmla="*/ 749030 w 1556426"/>
                <a:gd name="connsiteY3" fmla="*/ 3073940 h 3083668"/>
                <a:gd name="connsiteX0" fmla="*/ 740065 w 1556426"/>
                <a:gd name="connsiteY0" fmla="*/ 3073940 h 3083668"/>
                <a:gd name="connsiteX1" fmla="*/ 0 w 1556426"/>
                <a:gd name="connsiteY1" fmla="*/ 3083668 h 3083668"/>
                <a:gd name="connsiteX2" fmla="*/ 1556426 w 1556426"/>
                <a:gd name="connsiteY2" fmla="*/ 0 h 3083668"/>
                <a:gd name="connsiteX3" fmla="*/ 740065 w 1556426"/>
                <a:gd name="connsiteY3" fmla="*/ 3073940 h 3083668"/>
              </a:gdLst>
              <a:ahLst/>
              <a:cxnLst>
                <a:cxn ang="0">
                  <a:pos x="connsiteX0" y="connsiteY0"/>
                </a:cxn>
                <a:cxn ang="0">
                  <a:pos x="connsiteX1" y="connsiteY1"/>
                </a:cxn>
                <a:cxn ang="0">
                  <a:pos x="connsiteX2" y="connsiteY2"/>
                </a:cxn>
                <a:cxn ang="0">
                  <a:pos x="connsiteX3" y="connsiteY3"/>
                </a:cxn>
              </a:cxnLst>
              <a:rect l="l" t="t" r="r" b="b"/>
              <a:pathLst>
                <a:path w="1556426" h="3083668">
                  <a:moveTo>
                    <a:pt x="740065" y="3073940"/>
                  </a:moveTo>
                  <a:lnTo>
                    <a:pt x="0" y="3083668"/>
                  </a:lnTo>
                  <a:lnTo>
                    <a:pt x="1556426" y="0"/>
                  </a:lnTo>
                  <a:lnTo>
                    <a:pt x="740065" y="3073940"/>
                  </a:lnTo>
                  <a:close/>
                </a:path>
              </a:pathLst>
            </a:custGeom>
            <a:gradFill>
              <a:gsLst>
                <a:gs pos="97000">
                  <a:srgbClr val="62B53F"/>
                </a:gs>
                <a:gs pos="100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Freeform: Shape 19">
              <a:extLst>
                <a:ext uri="{FF2B5EF4-FFF2-40B4-BE49-F238E27FC236}">
                  <a16:creationId xmlns:a16="http://schemas.microsoft.com/office/drawing/2014/main" id="{CE17FC41-0F0D-4F05-888B-05BC3B984146}"/>
                </a:ext>
              </a:extLst>
            </p:cNvPr>
            <p:cNvSpPr/>
            <p:nvPr/>
          </p:nvSpPr>
          <p:spPr>
            <a:xfrm>
              <a:off x="9260732" y="3322482"/>
              <a:ext cx="2422187" cy="3550596"/>
            </a:xfrm>
            <a:custGeom>
              <a:avLst/>
              <a:gdLst>
                <a:gd name="connsiteX0" fmla="*/ 2373549 w 2373549"/>
                <a:gd name="connsiteY0" fmla="*/ 0 h 3550596"/>
                <a:gd name="connsiteX1" fmla="*/ 2237362 w 2373549"/>
                <a:gd name="connsiteY1" fmla="*/ 651753 h 3550596"/>
                <a:gd name="connsiteX2" fmla="*/ 778213 w 2373549"/>
                <a:gd name="connsiteY2" fmla="*/ 3531141 h 3550596"/>
                <a:gd name="connsiteX3" fmla="*/ 0 w 2373549"/>
                <a:gd name="connsiteY3" fmla="*/ 3550596 h 3550596"/>
                <a:gd name="connsiteX4" fmla="*/ 2373549 w 2373549"/>
                <a:gd name="connsiteY4" fmla="*/ 0 h 3550596"/>
                <a:gd name="connsiteX0" fmla="*/ 2422187 w 2422187"/>
                <a:gd name="connsiteY0" fmla="*/ 0 h 3540868"/>
                <a:gd name="connsiteX1" fmla="*/ 2237362 w 2422187"/>
                <a:gd name="connsiteY1" fmla="*/ 642025 h 3540868"/>
                <a:gd name="connsiteX2" fmla="*/ 778213 w 2422187"/>
                <a:gd name="connsiteY2" fmla="*/ 3521413 h 3540868"/>
                <a:gd name="connsiteX3" fmla="*/ 0 w 2422187"/>
                <a:gd name="connsiteY3" fmla="*/ 3540868 h 3540868"/>
                <a:gd name="connsiteX4" fmla="*/ 2422187 w 2422187"/>
                <a:gd name="connsiteY4" fmla="*/ 0 h 3540868"/>
                <a:gd name="connsiteX0" fmla="*/ 2422187 w 2422187"/>
                <a:gd name="connsiteY0" fmla="*/ 0 h 3550596"/>
                <a:gd name="connsiteX1" fmla="*/ 2237362 w 2422187"/>
                <a:gd name="connsiteY1" fmla="*/ 642025 h 3550596"/>
                <a:gd name="connsiteX2" fmla="*/ 768485 w 2422187"/>
                <a:gd name="connsiteY2" fmla="*/ 3550596 h 3550596"/>
                <a:gd name="connsiteX3" fmla="*/ 0 w 2422187"/>
                <a:gd name="connsiteY3" fmla="*/ 3540868 h 3550596"/>
                <a:gd name="connsiteX4" fmla="*/ 2422187 w 2422187"/>
                <a:gd name="connsiteY4" fmla="*/ 0 h 3550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187" h="3550596">
                  <a:moveTo>
                    <a:pt x="2422187" y="0"/>
                  </a:moveTo>
                  <a:lnTo>
                    <a:pt x="2237362" y="642025"/>
                  </a:lnTo>
                  <a:lnTo>
                    <a:pt x="768485" y="3550596"/>
                  </a:lnTo>
                  <a:lnTo>
                    <a:pt x="0" y="3540868"/>
                  </a:lnTo>
                  <a:lnTo>
                    <a:pt x="2422187" y="0"/>
                  </a:lnTo>
                  <a:close/>
                </a:path>
              </a:pathLst>
            </a:custGeom>
            <a:gradFill>
              <a:gsLst>
                <a:gs pos="34000">
                  <a:schemeClr val="bg2"/>
                </a:gs>
                <a:gs pos="71000">
                  <a:srgbClr val="5BA23C"/>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Right Triangle 20">
              <a:extLst>
                <a:ext uri="{FF2B5EF4-FFF2-40B4-BE49-F238E27FC236}">
                  <a16:creationId xmlns:a16="http://schemas.microsoft.com/office/drawing/2014/main" id="{890D0B16-11C5-4D6A-AA98-2355BA19EA7B}"/>
                </a:ext>
              </a:extLst>
            </p:cNvPr>
            <p:cNvSpPr/>
            <p:nvPr/>
          </p:nvSpPr>
          <p:spPr>
            <a:xfrm flipH="1">
              <a:off x="10871603" y="3370178"/>
              <a:ext cx="1327484" cy="3501998"/>
            </a:xfrm>
            <a:prstGeom prst="rtTriangl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Freeform: Shape 22">
              <a:extLst>
                <a:ext uri="{FF2B5EF4-FFF2-40B4-BE49-F238E27FC236}">
                  <a16:creationId xmlns:a16="http://schemas.microsoft.com/office/drawing/2014/main" id="{0A764A69-E67E-4D16-BC4B-51FC448F28CB}"/>
                </a:ext>
              </a:extLst>
            </p:cNvPr>
            <p:cNvSpPr/>
            <p:nvPr/>
          </p:nvSpPr>
          <p:spPr>
            <a:xfrm>
              <a:off x="10738884" y="1084521"/>
              <a:ext cx="1488558" cy="5794744"/>
            </a:xfrm>
            <a:custGeom>
              <a:avLst/>
              <a:gdLst>
                <a:gd name="connsiteX0" fmla="*/ 1446028 w 1488558"/>
                <a:gd name="connsiteY0" fmla="*/ 2658139 h 5794744"/>
                <a:gd name="connsiteX1" fmla="*/ 1446028 w 1488558"/>
                <a:gd name="connsiteY1" fmla="*/ 0 h 5794744"/>
                <a:gd name="connsiteX2" fmla="*/ 0 w 1488558"/>
                <a:gd name="connsiteY2" fmla="*/ 5794744 h 5794744"/>
                <a:gd name="connsiteX3" fmla="*/ 170121 w 1488558"/>
                <a:gd name="connsiteY3" fmla="*/ 5784112 h 5794744"/>
                <a:gd name="connsiteX4" fmla="*/ 1488558 w 1488558"/>
                <a:gd name="connsiteY4" fmla="*/ 2551814 h 5794744"/>
                <a:gd name="connsiteX5" fmla="*/ 1488558 w 1488558"/>
                <a:gd name="connsiteY5" fmla="*/ 2551814 h 5794744"/>
                <a:gd name="connsiteX6" fmla="*/ 1488558 w 1488558"/>
                <a:gd name="connsiteY6" fmla="*/ 2551814 h 579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558" h="5794744">
                  <a:moveTo>
                    <a:pt x="1446028" y="2658139"/>
                  </a:moveTo>
                  <a:lnTo>
                    <a:pt x="1446028" y="0"/>
                  </a:lnTo>
                  <a:lnTo>
                    <a:pt x="0" y="5794744"/>
                  </a:lnTo>
                  <a:lnTo>
                    <a:pt x="170121" y="5784112"/>
                  </a:lnTo>
                  <a:lnTo>
                    <a:pt x="1488558" y="2551814"/>
                  </a:lnTo>
                  <a:lnTo>
                    <a:pt x="1488558" y="2551814"/>
                  </a:lnTo>
                  <a:lnTo>
                    <a:pt x="1488558" y="2551814"/>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Rectangle 6"/>
          <p:cNvSpPr txBox="1">
            <a:spLocks noChangeArrowheads="1"/>
          </p:cNvSpPr>
          <p:nvPr/>
        </p:nvSpPr>
        <p:spPr bwMode="white">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3" name="Picture 12">
            <a:extLst>
              <a:ext uri="{FF2B5EF4-FFF2-40B4-BE49-F238E27FC236}">
                <a16:creationId xmlns:a16="http://schemas.microsoft.com/office/drawing/2014/main" id="{52938D33-69AE-4EA8-B1F3-AEB045BF258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grpSp>
        <p:nvGrpSpPr>
          <p:cNvPr id="14" name="Group 13">
            <a:extLst>
              <a:ext uri="{FF2B5EF4-FFF2-40B4-BE49-F238E27FC236}">
                <a16:creationId xmlns:a16="http://schemas.microsoft.com/office/drawing/2014/main" id="{D3598208-AA80-467D-8193-8E836964952A}"/>
              </a:ext>
            </a:extLst>
          </p:cNvPr>
          <p:cNvGrpSpPr/>
          <p:nvPr/>
        </p:nvGrpSpPr>
        <p:grpSpPr>
          <a:xfrm>
            <a:off x="-6515" y="-465745"/>
            <a:ext cx="2284497" cy="7335777"/>
            <a:chOff x="-6515" y="-465745"/>
            <a:chExt cx="2284497" cy="7335777"/>
          </a:xfrm>
        </p:grpSpPr>
        <p:sp>
          <p:nvSpPr>
            <p:cNvPr id="15" name="Rectangle 4">
              <a:extLst>
                <a:ext uri="{FF2B5EF4-FFF2-40B4-BE49-F238E27FC236}">
                  <a16:creationId xmlns:a16="http://schemas.microsoft.com/office/drawing/2014/main" id="{46E2C9E0-78F4-4874-8B92-08E2A7C0061D}"/>
                </a:ext>
              </a:extLst>
            </p:cNvPr>
            <p:cNvSpPr/>
            <p:nvPr/>
          </p:nvSpPr>
          <p:spPr>
            <a:xfrm>
              <a:off x="0" y="-12032"/>
              <a:ext cx="2277982" cy="6870032"/>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43698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877142"/>
                <a:gd name="connsiteX1" fmla="*/ 11367745 w 11367745"/>
                <a:gd name="connsiteY1" fmla="*/ 0 h 6877142"/>
                <a:gd name="connsiteX2" fmla="*/ 6255328 w 11367745"/>
                <a:gd name="connsiteY2" fmla="*/ 5041232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4933499 w 11367745"/>
                <a:gd name="connsiteY2" fmla="*/ 4207042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4933499 w 11367745"/>
                <a:gd name="connsiteY2" fmla="*/ 4207042 h 6877142"/>
                <a:gd name="connsiteX3" fmla="*/ 535460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4933499 w 11367745"/>
                <a:gd name="connsiteY2" fmla="*/ 4207042 h 6877142"/>
                <a:gd name="connsiteX3" fmla="*/ 535460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3507531 w 11367745"/>
                <a:gd name="connsiteY2" fmla="*/ 4207042 h 6877142"/>
                <a:gd name="connsiteX3" fmla="*/ 535460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0032"/>
                <a:gd name="connsiteX1" fmla="*/ 11367745 w 11367745"/>
                <a:gd name="connsiteY1" fmla="*/ 0 h 6870032"/>
                <a:gd name="connsiteX2" fmla="*/ 3507531 w 11367745"/>
                <a:gd name="connsiteY2" fmla="*/ 4207042 h 6870032"/>
                <a:gd name="connsiteX3" fmla="*/ 3976167 w 11367745"/>
                <a:gd name="connsiteY3" fmla="*/ 6839042 h 6870032"/>
                <a:gd name="connsiteX4" fmla="*/ 0 w 11367745"/>
                <a:gd name="connsiteY4" fmla="*/ 6870032 h 6870032"/>
                <a:gd name="connsiteX5" fmla="*/ 0 w 11367745"/>
                <a:gd name="connsiteY5" fmla="*/ 12032 h 687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67745" h="6870032">
                  <a:moveTo>
                    <a:pt x="0" y="12032"/>
                  </a:moveTo>
                  <a:lnTo>
                    <a:pt x="11367745" y="0"/>
                  </a:lnTo>
                  <a:cubicBezTo>
                    <a:pt x="9493718" y="1572491"/>
                    <a:pt x="4203722" y="2709657"/>
                    <a:pt x="3507531" y="4207042"/>
                  </a:cubicBezTo>
                  <a:cubicBezTo>
                    <a:pt x="3950876" y="5523223"/>
                    <a:pt x="3449696" y="5387779"/>
                    <a:pt x="3976167" y="6839042"/>
                  </a:cubicBezTo>
                  <a:lnTo>
                    <a:pt x="0" y="6870032"/>
                  </a:lnTo>
                  <a:lnTo>
                    <a:pt x="0" y="12032"/>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Right Triangle 3">
              <a:extLst>
                <a:ext uri="{FF2B5EF4-FFF2-40B4-BE49-F238E27FC236}">
                  <a16:creationId xmlns:a16="http://schemas.microsoft.com/office/drawing/2014/main" id="{56990D95-B6C6-4723-82D2-F9651330B7FE}"/>
                </a:ext>
              </a:extLst>
            </p:cNvPr>
            <p:cNvSpPr/>
            <p:nvPr/>
          </p:nvSpPr>
          <p:spPr>
            <a:xfrm flipH="1">
              <a:off x="-6515" y="4242391"/>
              <a:ext cx="712079" cy="2616194"/>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350874 w 712079"/>
                <a:gd name="connsiteY0" fmla="*/ 2626242 h 2626242"/>
                <a:gd name="connsiteX1" fmla="*/ 0 w 712079"/>
                <a:gd name="connsiteY1" fmla="*/ 0 h 2626242"/>
                <a:gd name="connsiteX2" fmla="*/ 712079 w 712079"/>
                <a:gd name="connsiteY2" fmla="*/ 1279763 h 2626242"/>
                <a:gd name="connsiteX3" fmla="*/ 350874 w 712079"/>
                <a:gd name="connsiteY3" fmla="*/ 2626242 h 2626242"/>
                <a:gd name="connsiteX0" fmla="*/ 692518 w 712079"/>
                <a:gd name="connsiteY0" fmla="*/ 2626242 h 2626242"/>
                <a:gd name="connsiteX1" fmla="*/ 0 w 712079"/>
                <a:gd name="connsiteY1" fmla="*/ 0 h 2626242"/>
                <a:gd name="connsiteX2" fmla="*/ 712079 w 712079"/>
                <a:gd name="connsiteY2" fmla="*/ 1279763 h 2626242"/>
                <a:gd name="connsiteX3" fmla="*/ 692518 w 712079"/>
                <a:gd name="connsiteY3" fmla="*/ 2626242 h 2626242"/>
                <a:gd name="connsiteX0" fmla="*/ 692518 w 712079"/>
                <a:gd name="connsiteY0" fmla="*/ 2626242 h 2626242"/>
                <a:gd name="connsiteX1" fmla="*/ 0 w 712079"/>
                <a:gd name="connsiteY1" fmla="*/ 0 h 2626242"/>
                <a:gd name="connsiteX2" fmla="*/ 712079 w 712079"/>
                <a:gd name="connsiteY2" fmla="*/ 1264691 h 2626242"/>
                <a:gd name="connsiteX3" fmla="*/ 692518 w 712079"/>
                <a:gd name="connsiteY3" fmla="*/ 2626242 h 2626242"/>
                <a:gd name="connsiteX0" fmla="*/ 702567 w 712079"/>
                <a:gd name="connsiteY0" fmla="*/ 2616194 h 2616194"/>
                <a:gd name="connsiteX1" fmla="*/ 0 w 712079"/>
                <a:gd name="connsiteY1" fmla="*/ 0 h 2616194"/>
                <a:gd name="connsiteX2" fmla="*/ 712079 w 712079"/>
                <a:gd name="connsiteY2" fmla="*/ 1264691 h 2616194"/>
                <a:gd name="connsiteX3" fmla="*/ 702567 w 712079"/>
                <a:gd name="connsiteY3" fmla="*/ 2616194 h 2616194"/>
                <a:gd name="connsiteX0" fmla="*/ 702567 w 712079"/>
                <a:gd name="connsiteY0" fmla="*/ 2616194 h 2616194"/>
                <a:gd name="connsiteX1" fmla="*/ 605080 w 712079"/>
                <a:gd name="connsiteY1" fmla="*/ 2258893 h 2616194"/>
                <a:gd name="connsiteX2" fmla="*/ 0 w 712079"/>
                <a:gd name="connsiteY2" fmla="*/ 0 h 2616194"/>
                <a:gd name="connsiteX3" fmla="*/ 712079 w 712079"/>
                <a:gd name="connsiteY3" fmla="*/ 1264691 h 2616194"/>
                <a:gd name="connsiteX4" fmla="*/ 702567 w 712079"/>
                <a:gd name="connsiteY4" fmla="*/ 2616194 h 2616194"/>
                <a:gd name="connsiteX0" fmla="*/ 702567 w 712079"/>
                <a:gd name="connsiteY0" fmla="*/ 2616194 h 2616194"/>
                <a:gd name="connsiteX1" fmla="*/ 665371 w 712079"/>
                <a:gd name="connsiteY1" fmla="*/ 2615609 h 2616194"/>
                <a:gd name="connsiteX2" fmla="*/ 0 w 712079"/>
                <a:gd name="connsiteY2" fmla="*/ 0 h 2616194"/>
                <a:gd name="connsiteX3" fmla="*/ 712079 w 712079"/>
                <a:gd name="connsiteY3" fmla="*/ 1264691 h 2616194"/>
                <a:gd name="connsiteX4" fmla="*/ 702567 w 712079"/>
                <a:gd name="connsiteY4" fmla="*/ 2616194 h 261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079" h="2616194">
                  <a:moveTo>
                    <a:pt x="702567" y="2616194"/>
                  </a:moveTo>
                  <a:lnTo>
                    <a:pt x="665371" y="2615609"/>
                  </a:lnTo>
                  <a:lnTo>
                    <a:pt x="0" y="0"/>
                  </a:lnTo>
                  <a:lnTo>
                    <a:pt x="712079" y="1264691"/>
                  </a:lnTo>
                  <a:cubicBezTo>
                    <a:pt x="708908" y="1715192"/>
                    <a:pt x="705738" y="2165693"/>
                    <a:pt x="702567" y="2616194"/>
                  </a:cubicBezTo>
                  <a:close/>
                </a:path>
              </a:pathLst>
            </a:custGeom>
            <a:gradFill>
              <a:gsLst>
                <a:gs pos="2000">
                  <a:srgbClr val="62B53F"/>
                </a:gs>
                <a:gs pos="52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7" name="Right Triangle 3">
              <a:extLst>
                <a:ext uri="{FF2B5EF4-FFF2-40B4-BE49-F238E27FC236}">
                  <a16:creationId xmlns:a16="http://schemas.microsoft.com/office/drawing/2014/main" id="{EC9B2ECA-C14A-4E87-A3F3-80BB4481D7A8}"/>
                </a:ext>
              </a:extLst>
            </p:cNvPr>
            <p:cNvSpPr/>
            <p:nvPr/>
          </p:nvSpPr>
          <p:spPr>
            <a:xfrm>
              <a:off x="16636" y="3818487"/>
              <a:ext cx="963639" cy="305154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Lst>
              <a:ahLst/>
              <a:cxnLst>
                <a:cxn ang="0">
                  <a:pos x="connsiteX0" y="connsiteY0"/>
                </a:cxn>
                <a:cxn ang="0">
                  <a:pos x="connsiteX1" y="connsiteY1"/>
                </a:cxn>
                <a:cxn ang="0">
                  <a:pos x="connsiteX2" y="connsiteY2"/>
                </a:cxn>
                <a:cxn ang="0">
                  <a:pos x="connsiteX3" y="connsiteY3"/>
                </a:cxn>
              </a:cxnLst>
              <a:rect l="l" t="t" r="r" b="b"/>
              <a:pathLst>
                <a:path w="963639" h="3051545">
                  <a:moveTo>
                    <a:pt x="0" y="3051545"/>
                  </a:moveTo>
                  <a:lnTo>
                    <a:pt x="754912" y="0"/>
                  </a:lnTo>
                  <a:lnTo>
                    <a:pt x="963639" y="3051545"/>
                  </a:lnTo>
                  <a:lnTo>
                    <a:pt x="0" y="3051545"/>
                  </a:lnTo>
                  <a:close/>
                </a:path>
              </a:pathLst>
            </a:custGeom>
            <a:gradFill>
              <a:gsLst>
                <a:gs pos="27000">
                  <a:srgbClr val="5EAC3E"/>
                </a:gs>
                <a:gs pos="64000">
                  <a:srgbClr val="67BD4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Right Triangle 3">
              <a:extLst>
                <a:ext uri="{FF2B5EF4-FFF2-40B4-BE49-F238E27FC236}">
                  <a16:creationId xmlns:a16="http://schemas.microsoft.com/office/drawing/2014/main" id="{9AFA1F9D-E0DB-427A-8D67-2A3C457C3A94}"/>
                </a:ext>
              </a:extLst>
            </p:cNvPr>
            <p:cNvSpPr/>
            <p:nvPr/>
          </p:nvSpPr>
          <p:spPr>
            <a:xfrm rot="12173926">
              <a:off x="1003907" y="-465745"/>
              <a:ext cx="1014731" cy="6395388"/>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 name="connsiteX0" fmla="*/ 0 w 1014731"/>
                <a:gd name="connsiteY0" fmla="*/ 3477101 h 3477101"/>
                <a:gd name="connsiteX1" fmla="*/ 806004 w 1014731"/>
                <a:gd name="connsiteY1" fmla="*/ 0 h 3477101"/>
                <a:gd name="connsiteX2" fmla="*/ 1014731 w 1014731"/>
                <a:gd name="connsiteY2" fmla="*/ 3051545 h 3477101"/>
                <a:gd name="connsiteX3" fmla="*/ 0 w 1014731"/>
                <a:gd name="connsiteY3" fmla="*/ 3477101 h 3477101"/>
                <a:gd name="connsiteX0" fmla="*/ 0 w 1014731"/>
                <a:gd name="connsiteY0" fmla="*/ 5974885 h 5974885"/>
                <a:gd name="connsiteX1" fmla="*/ 789755 w 1014731"/>
                <a:gd name="connsiteY1" fmla="*/ 0 h 5974885"/>
                <a:gd name="connsiteX2" fmla="*/ 1014731 w 1014731"/>
                <a:gd name="connsiteY2" fmla="*/ 5549329 h 5974885"/>
                <a:gd name="connsiteX3" fmla="*/ 0 w 1014731"/>
                <a:gd name="connsiteY3" fmla="*/ 5974885 h 5974885"/>
                <a:gd name="connsiteX0" fmla="*/ 0 w 1014731"/>
                <a:gd name="connsiteY0" fmla="*/ 7343100 h 7343100"/>
                <a:gd name="connsiteX1" fmla="*/ 978069 w 1014731"/>
                <a:gd name="connsiteY1" fmla="*/ 0 h 7343100"/>
                <a:gd name="connsiteX2" fmla="*/ 1014731 w 1014731"/>
                <a:gd name="connsiteY2" fmla="*/ 6917544 h 7343100"/>
                <a:gd name="connsiteX3" fmla="*/ 0 w 1014731"/>
                <a:gd name="connsiteY3" fmla="*/ 7343100 h 7343100"/>
                <a:gd name="connsiteX0" fmla="*/ 0 w 1014731"/>
                <a:gd name="connsiteY0" fmla="*/ 7503364 h 7503364"/>
                <a:gd name="connsiteX1" fmla="*/ 945205 w 1014731"/>
                <a:gd name="connsiteY1" fmla="*/ 0 h 7503364"/>
                <a:gd name="connsiteX2" fmla="*/ 1014731 w 1014731"/>
                <a:gd name="connsiteY2" fmla="*/ 7077808 h 7503364"/>
                <a:gd name="connsiteX3" fmla="*/ 0 w 1014731"/>
                <a:gd name="connsiteY3" fmla="*/ 7503364 h 7503364"/>
                <a:gd name="connsiteX0" fmla="*/ 0 w 1014731"/>
                <a:gd name="connsiteY0" fmla="*/ 7503364 h 7503364"/>
                <a:gd name="connsiteX1" fmla="*/ 762176 w 1014731"/>
                <a:gd name="connsiteY1" fmla="*/ 1360664 h 7503364"/>
                <a:gd name="connsiteX2" fmla="*/ 945205 w 1014731"/>
                <a:gd name="connsiteY2" fmla="*/ 0 h 7503364"/>
                <a:gd name="connsiteX3" fmla="*/ 1014731 w 1014731"/>
                <a:gd name="connsiteY3" fmla="*/ 7077808 h 7503364"/>
                <a:gd name="connsiteX4" fmla="*/ 0 w 1014731"/>
                <a:gd name="connsiteY4" fmla="*/ 7503364 h 7503364"/>
                <a:gd name="connsiteX0" fmla="*/ 0 w 1014731"/>
                <a:gd name="connsiteY0" fmla="*/ 7503364 h 7503364"/>
                <a:gd name="connsiteX1" fmla="*/ 793220 w 1014731"/>
                <a:gd name="connsiteY1" fmla="*/ 1227564 h 7503364"/>
                <a:gd name="connsiteX2" fmla="*/ 945205 w 1014731"/>
                <a:gd name="connsiteY2" fmla="*/ 0 h 7503364"/>
                <a:gd name="connsiteX3" fmla="*/ 1014731 w 1014731"/>
                <a:gd name="connsiteY3" fmla="*/ 7077808 h 7503364"/>
                <a:gd name="connsiteX4" fmla="*/ 0 w 1014731"/>
                <a:gd name="connsiteY4" fmla="*/ 7503364 h 7503364"/>
                <a:gd name="connsiteX0" fmla="*/ 0 w 1014731"/>
                <a:gd name="connsiteY0" fmla="*/ 6275800 h 6275800"/>
                <a:gd name="connsiteX1" fmla="*/ 793220 w 1014731"/>
                <a:gd name="connsiteY1" fmla="*/ 0 h 6275800"/>
                <a:gd name="connsiteX2" fmla="*/ 963930 w 1014731"/>
                <a:gd name="connsiteY2" fmla="*/ 237103 h 6275800"/>
                <a:gd name="connsiteX3" fmla="*/ 1014731 w 1014731"/>
                <a:gd name="connsiteY3" fmla="*/ 5850244 h 6275800"/>
                <a:gd name="connsiteX4" fmla="*/ 0 w 1014731"/>
                <a:gd name="connsiteY4" fmla="*/ 6275800 h 6275800"/>
                <a:gd name="connsiteX0" fmla="*/ 0 w 1014731"/>
                <a:gd name="connsiteY0" fmla="*/ 6321680 h 6321680"/>
                <a:gd name="connsiteX1" fmla="*/ 850196 w 1014731"/>
                <a:gd name="connsiteY1" fmla="*/ 0 h 6321680"/>
                <a:gd name="connsiteX2" fmla="*/ 963930 w 1014731"/>
                <a:gd name="connsiteY2" fmla="*/ 282983 h 6321680"/>
                <a:gd name="connsiteX3" fmla="*/ 1014731 w 1014731"/>
                <a:gd name="connsiteY3" fmla="*/ 5896124 h 6321680"/>
                <a:gd name="connsiteX4" fmla="*/ 0 w 1014731"/>
                <a:gd name="connsiteY4" fmla="*/ 6321680 h 6321680"/>
                <a:gd name="connsiteX0" fmla="*/ 0 w 1014731"/>
                <a:gd name="connsiteY0" fmla="*/ 6337721 h 6337721"/>
                <a:gd name="connsiteX1" fmla="*/ 810697 w 1014731"/>
                <a:gd name="connsiteY1" fmla="*/ 0 h 6337721"/>
                <a:gd name="connsiteX2" fmla="*/ 963930 w 1014731"/>
                <a:gd name="connsiteY2" fmla="*/ 299024 h 6337721"/>
                <a:gd name="connsiteX3" fmla="*/ 1014731 w 1014731"/>
                <a:gd name="connsiteY3" fmla="*/ 5912165 h 6337721"/>
                <a:gd name="connsiteX4" fmla="*/ 0 w 1014731"/>
                <a:gd name="connsiteY4" fmla="*/ 6337721 h 6337721"/>
                <a:gd name="connsiteX0" fmla="*/ 0 w 1014731"/>
                <a:gd name="connsiteY0" fmla="*/ 6337721 h 6337721"/>
                <a:gd name="connsiteX1" fmla="*/ 810697 w 1014731"/>
                <a:gd name="connsiteY1" fmla="*/ 0 h 6337721"/>
                <a:gd name="connsiteX2" fmla="*/ 961456 w 1014731"/>
                <a:gd name="connsiteY2" fmla="*/ 267345 h 6337721"/>
                <a:gd name="connsiteX3" fmla="*/ 1014731 w 1014731"/>
                <a:gd name="connsiteY3" fmla="*/ 5912165 h 6337721"/>
                <a:gd name="connsiteX4" fmla="*/ 0 w 1014731"/>
                <a:gd name="connsiteY4" fmla="*/ 6337721 h 6337721"/>
                <a:gd name="connsiteX0" fmla="*/ 0 w 1014731"/>
                <a:gd name="connsiteY0" fmla="*/ 6343586 h 6343586"/>
                <a:gd name="connsiteX1" fmla="*/ 824582 w 1014731"/>
                <a:gd name="connsiteY1" fmla="*/ 0 h 6343586"/>
                <a:gd name="connsiteX2" fmla="*/ 961456 w 1014731"/>
                <a:gd name="connsiteY2" fmla="*/ 273210 h 6343586"/>
                <a:gd name="connsiteX3" fmla="*/ 1014731 w 1014731"/>
                <a:gd name="connsiteY3" fmla="*/ 5918030 h 6343586"/>
                <a:gd name="connsiteX4" fmla="*/ 0 w 1014731"/>
                <a:gd name="connsiteY4" fmla="*/ 6343586 h 6343586"/>
                <a:gd name="connsiteX0" fmla="*/ 0 w 1014731"/>
                <a:gd name="connsiteY0" fmla="*/ 6343586 h 6343586"/>
                <a:gd name="connsiteX1" fmla="*/ 824582 w 1014731"/>
                <a:gd name="connsiteY1" fmla="*/ 0 h 6343586"/>
                <a:gd name="connsiteX2" fmla="*/ 945417 w 1014731"/>
                <a:gd name="connsiteY2" fmla="*/ 312710 h 6343586"/>
                <a:gd name="connsiteX3" fmla="*/ 1014731 w 1014731"/>
                <a:gd name="connsiteY3" fmla="*/ 5918030 h 6343586"/>
                <a:gd name="connsiteX4" fmla="*/ 0 w 1014731"/>
                <a:gd name="connsiteY4" fmla="*/ 6343586 h 6343586"/>
                <a:gd name="connsiteX0" fmla="*/ 0 w 1014731"/>
                <a:gd name="connsiteY0" fmla="*/ 6343586 h 6343586"/>
                <a:gd name="connsiteX1" fmla="*/ 824582 w 1014731"/>
                <a:gd name="connsiteY1" fmla="*/ 0 h 6343586"/>
                <a:gd name="connsiteX2" fmla="*/ 937597 w 1014731"/>
                <a:gd name="connsiteY2" fmla="*/ 294197 h 6343586"/>
                <a:gd name="connsiteX3" fmla="*/ 1014731 w 1014731"/>
                <a:gd name="connsiteY3" fmla="*/ 5918030 h 6343586"/>
                <a:gd name="connsiteX4" fmla="*/ 0 w 1014731"/>
                <a:gd name="connsiteY4" fmla="*/ 6343586 h 6343586"/>
                <a:gd name="connsiteX0" fmla="*/ 0 w 1014731"/>
                <a:gd name="connsiteY0" fmla="*/ 6343586 h 6343586"/>
                <a:gd name="connsiteX1" fmla="*/ 824582 w 1014731"/>
                <a:gd name="connsiteY1" fmla="*/ 0 h 6343586"/>
                <a:gd name="connsiteX2" fmla="*/ 942225 w 1014731"/>
                <a:gd name="connsiteY2" fmla="*/ 292242 h 6343586"/>
                <a:gd name="connsiteX3" fmla="*/ 1014731 w 1014731"/>
                <a:gd name="connsiteY3" fmla="*/ 5918030 h 6343586"/>
                <a:gd name="connsiteX4" fmla="*/ 0 w 1014731"/>
                <a:gd name="connsiteY4" fmla="*/ 6343586 h 6343586"/>
                <a:gd name="connsiteX0" fmla="*/ 0 w 1014731"/>
                <a:gd name="connsiteY0" fmla="*/ 6395388 h 6395388"/>
                <a:gd name="connsiteX1" fmla="*/ 796930 w 1014731"/>
                <a:gd name="connsiteY1" fmla="*/ 0 h 6395388"/>
                <a:gd name="connsiteX2" fmla="*/ 942225 w 1014731"/>
                <a:gd name="connsiteY2" fmla="*/ 344044 h 6395388"/>
                <a:gd name="connsiteX3" fmla="*/ 1014731 w 1014731"/>
                <a:gd name="connsiteY3" fmla="*/ 5969832 h 6395388"/>
                <a:gd name="connsiteX4" fmla="*/ 0 w 1014731"/>
                <a:gd name="connsiteY4" fmla="*/ 6395388 h 6395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731" h="6395388">
                  <a:moveTo>
                    <a:pt x="0" y="6395388"/>
                  </a:moveTo>
                  <a:lnTo>
                    <a:pt x="796930" y="0"/>
                  </a:lnTo>
                  <a:lnTo>
                    <a:pt x="942225" y="344044"/>
                  </a:lnTo>
                  <a:lnTo>
                    <a:pt x="1014731" y="5969832"/>
                  </a:lnTo>
                  <a:lnTo>
                    <a:pt x="0" y="6395388"/>
                  </a:lnTo>
                  <a:close/>
                </a:path>
              </a:pathLst>
            </a:custGeom>
            <a:gradFill>
              <a:gsLst>
                <a:gs pos="34000">
                  <a:schemeClr val="bg2"/>
                </a:gs>
                <a:gs pos="100000">
                  <a:srgbClr val="5BA23C"/>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Tree>
    <p:extLst>
      <p:ext uri="{BB962C8B-B14F-4D97-AF65-F5344CB8AC3E}">
        <p14:creationId xmlns:p14="http://schemas.microsoft.com/office/powerpoint/2010/main" val="98536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nchor="ctr" anchorCtr="0"/>
          <a:lstStyle>
            <a:lvl1pPr>
              <a:defRPr/>
            </a:lvl1pPr>
          </a:lstStyle>
          <a:p>
            <a:r>
              <a:rPr lang="en-US" dirty="0"/>
              <a:t>Click to add title</a:t>
            </a:r>
          </a:p>
        </p:txBody>
      </p:sp>
    </p:spTree>
    <p:extLst>
      <p:ext uri="{BB962C8B-B14F-4D97-AF65-F5344CB8AC3E}">
        <p14:creationId xmlns:p14="http://schemas.microsoft.com/office/powerpoint/2010/main" val="174904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Only - No Footer">
    <p:spTree>
      <p:nvGrpSpPr>
        <p:cNvPr id="1" name=""/>
        <p:cNvGrpSpPr/>
        <p:nvPr/>
      </p:nvGrpSpPr>
      <p:grpSpPr>
        <a:xfrm>
          <a:off x="0" y="0"/>
          <a:ext cx="0" cy="0"/>
          <a:chOff x="0" y="0"/>
          <a:chExt cx="0" cy="0"/>
        </a:xfrm>
      </p:grpSpPr>
      <p:sp>
        <p:nvSpPr>
          <p:cNvPr id="2" name="Rectangle 1"/>
          <p:cNvSpPr/>
          <p:nvPr/>
        </p:nvSpPr>
        <p:spPr bwMode="gray">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schemeClr val="bg1"/>
              </a:solidFill>
            </a:endParaRPr>
          </a:p>
        </p:txBody>
      </p:sp>
      <p:sp>
        <p:nvSpPr>
          <p:cNvPr id="8" name="Title 7"/>
          <p:cNvSpPr>
            <a:spLocks noGrp="1"/>
          </p:cNvSpPr>
          <p:nvPr>
            <p:ph type="title" hasCustomPrompt="1"/>
          </p:nvPr>
        </p:nvSpPr>
        <p:spPr/>
        <p:txBody>
          <a:bodyPr anchor="ctr" anchorCtr="0"/>
          <a:lstStyle>
            <a:lvl1pPr>
              <a:defRPr/>
            </a:lvl1pPr>
          </a:lstStyle>
          <a:p>
            <a:r>
              <a:rPr lang="en-US" dirty="0"/>
              <a:t>Click to add title</a:t>
            </a:r>
          </a:p>
        </p:txBody>
      </p:sp>
      <p:sp>
        <p:nvSpPr>
          <p:cNvPr id="5" name="Rectangle 6"/>
          <p:cNvSpPr txBox="1">
            <a:spLocks noChangeArrowheads="1"/>
          </p:cNvSpPr>
          <p:nvPr/>
        </p:nvSpPr>
        <p:spPr bwMode="auto">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387218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33715" y="1222375"/>
            <a:ext cx="5430358" cy="4956048"/>
          </a:xfrm>
        </p:spPr>
        <p:txBody>
          <a:bodyPr/>
          <a:lstStyle>
            <a:lvl1pPr>
              <a:defRPr sz="2400"/>
            </a:lvl1pPr>
            <a:lvl2pPr>
              <a:defRPr sz="2000"/>
            </a:lvl2pPr>
            <a:lvl3pPr>
              <a:defRPr sz="1800"/>
            </a:lvl3pPr>
            <a:lvl4pPr>
              <a:defRPr sz="1600"/>
            </a:lvl4pPr>
            <a:lvl5pPr>
              <a:defRPr sz="1400" baseline="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21143" y="1222375"/>
            <a:ext cx="5431536" cy="4956048"/>
          </a:xfrm>
        </p:spPr>
        <p:txBody>
          <a:bodyPr/>
          <a:lstStyle>
            <a:lvl1pPr>
              <a:defRPr sz="2400"/>
            </a:lvl1pPr>
            <a:lvl2pPr>
              <a:defRPr sz="2000"/>
            </a:lvl2pPr>
            <a:lvl3pPr>
              <a:defRPr sz="1800"/>
            </a:lvl3pPr>
            <a:lvl4pPr>
              <a:defRPr sz="1600"/>
            </a:lvl4pPr>
            <a:lvl5pPr>
              <a:defRPr sz="140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p:cNvSpPr>
            <a:spLocks noGrp="1"/>
          </p:cNvSpPr>
          <p:nvPr>
            <p:ph type="title" hasCustomPrompt="1"/>
          </p:nvPr>
        </p:nvSpPr>
        <p:spPr/>
        <p:txBody>
          <a:bodyPr vert="horz" lIns="0" tIns="0" rIns="0" bIns="0" rtlCol="0" anchor="ctr" anchorCtr="0">
            <a:no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199776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32093" y="1222375"/>
            <a:ext cx="3474720" cy="4956048"/>
          </a:xfrm>
        </p:spPr>
        <p:txBody>
          <a:bodyPr/>
          <a:lstStyle>
            <a:lvl1pPr>
              <a:defRPr sz="2400"/>
            </a:lvl1pPr>
            <a:lvl2pPr>
              <a:defRPr sz="2000"/>
            </a:lvl2pPr>
            <a:lvl3pPr>
              <a:defRPr sz="1800"/>
            </a:lvl3pPr>
            <a:lvl4pPr>
              <a:defRPr sz="1600"/>
            </a:lvl4pPr>
            <a:lvl5pPr>
              <a:defRPr sz="1400" baseline="0"/>
            </a:lvl5pPr>
            <a:lvl6pPr>
              <a:defRPr sz="1900"/>
            </a:lvl6pPr>
            <a:lvl7pPr>
              <a:defRPr sz="1900"/>
            </a:lvl7pPr>
            <a:lvl8pPr>
              <a:defRPr sz="1900"/>
            </a:lvl8pPr>
            <a:lvl9pPr>
              <a:defRPr sz="19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4"/>
          <p:cNvSpPr>
            <a:spLocks noGrp="1"/>
          </p:cNvSpPr>
          <p:nvPr>
            <p:ph type="title" hasCustomPrompt="1"/>
          </p:nvPr>
        </p:nvSpPr>
        <p:spPr/>
        <p:txBody>
          <a:bodyPr anchor="ctr" anchorCtr="0"/>
          <a:lstStyle>
            <a:lvl1pPr>
              <a:defRPr/>
            </a:lvl1pPr>
          </a:lstStyle>
          <a:p>
            <a:r>
              <a:rPr lang="en-US" dirty="0"/>
              <a:t>Click to add title</a:t>
            </a:r>
          </a:p>
        </p:txBody>
      </p:sp>
      <p:sp>
        <p:nvSpPr>
          <p:cNvPr id="20" name="Content Placeholder 19"/>
          <p:cNvSpPr>
            <a:spLocks noGrp="1"/>
          </p:cNvSpPr>
          <p:nvPr>
            <p:ph sz="quarter" idx="15" hasCustomPrompt="1"/>
          </p:nvPr>
        </p:nvSpPr>
        <p:spPr>
          <a:xfrm>
            <a:off x="4369774" y="1222375"/>
            <a:ext cx="3474720" cy="4956048"/>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277959" y="1222375"/>
            <a:ext cx="3474720" cy="4956048"/>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84326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nchor="ctr" anchorCtr="0"/>
          <a:lstStyle>
            <a:lvl1pPr>
              <a:defRPr/>
            </a:lvl1pPr>
          </a:lstStyle>
          <a:p>
            <a:r>
              <a:rPr lang="en-US" dirty="0"/>
              <a:t>Click to add title</a:t>
            </a:r>
          </a:p>
        </p:txBody>
      </p:sp>
      <p:sp>
        <p:nvSpPr>
          <p:cNvPr id="12" name="Content Placeholder 11"/>
          <p:cNvSpPr>
            <a:spLocks noGrp="1"/>
          </p:cNvSpPr>
          <p:nvPr>
            <p:ph sz="quarter" idx="14" hasCustomPrompt="1"/>
          </p:nvPr>
        </p:nvSpPr>
        <p:spPr>
          <a:xfrm>
            <a:off x="430530" y="1222375"/>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1"/>
          <p:cNvSpPr>
            <a:spLocks noGrp="1"/>
          </p:cNvSpPr>
          <p:nvPr>
            <p:ph sz="quarter" idx="16" hasCustomPrompt="1"/>
          </p:nvPr>
        </p:nvSpPr>
        <p:spPr>
          <a:xfrm>
            <a:off x="6321143" y="1222375"/>
            <a:ext cx="544068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1"/>
          <p:cNvSpPr>
            <a:spLocks noGrp="1"/>
          </p:cNvSpPr>
          <p:nvPr>
            <p:ph sz="quarter" idx="20" hasCustomPrompt="1"/>
          </p:nvPr>
        </p:nvSpPr>
        <p:spPr>
          <a:xfrm>
            <a:off x="6321143" y="3808383"/>
            <a:ext cx="544068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11"/>
          <p:cNvSpPr>
            <a:spLocks noGrp="1"/>
          </p:cNvSpPr>
          <p:nvPr>
            <p:ph sz="quarter" idx="19" hasCustomPrompt="1"/>
          </p:nvPr>
        </p:nvSpPr>
        <p:spPr>
          <a:xfrm>
            <a:off x="430530" y="3808383"/>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1916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87912" y="1222375"/>
            <a:ext cx="7164768" cy="4956048"/>
          </a:xfrm>
        </p:spPr>
        <p:txBody>
          <a:bodyPr/>
          <a:lstStyle>
            <a:lvl1pPr>
              <a:defRPr sz="2400"/>
            </a:lvl1pPr>
            <a:lvl2pPr>
              <a:defRPr sz="2000"/>
            </a:lvl2pPr>
            <a:lvl3pPr>
              <a:defRPr sz="1800"/>
            </a:lvl3pPr>
            <a:lvl4pPr>
              <a:defRPr sz="1600"/>
            </a:lvl4pPr>
            <a:lvl5pPr>
              <a:defRPr sz="1400" baseline="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hasCustomPrompt="1"/>
          </p:nvPr>
        </p:nvSpPr>
        <p:spPr>
          <a:xfrm>
            <a:off x="433715" y="1222375"/>
            <a:ext cx="3866348" cy="4956048"/>
          </a:xfrm>
        </p:spPr>
        <p:txBody>
          <a:bodyPr/>
          <a:lstStyle>
            <a:lvl1pPr>
              <a:defRPr sz="2400"/>
            </a:lvl1pPr>
            <a:lvl2pPr>
              <a:defRPr sz="2000"/>
            </a:lvl2pPr>
            <a:lvl3pPr>
              <a:defRPr sz="1800"/>
            </a:lvl3pPr>
            <a:lvl4pPr>
              <a:defRPr sz="1600"/>
            </a:lvl4pPr>
            <a:lvl5pPr>
              <a:defRPr sz="140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p:txBody>
          <a:bodyPr anchor="ctr" anchorCtr="0"/>
          <a:lstStyle>
            <a:lvl1pPr>
              <a:defRPr/>
            </a:lvl1pPr>
          </a:lstStyle>
          <a:p>
            <a:r>
              <a:rPr lang="en-US" dirty="0"/>
              <a:t>Click to add title</a:t>
            </a:r>
          </a:p>
        </p:txBody>
      </p:sp>
    </p:spTree>
    <p:extLst>
      <p:ext uri="{BB962C8B-B14F-4D97-AF65-F5344CB8AC3E}">
        <p14:creationId xmlns:p14="http://schemas.microsoft.com/office/powerpoint/2010/main" val="37104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Icon ">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B1196343-8F78-4139-9E68-CF34CFDA08D9}"/>
              </a:ext>
            </a:extLst>
          </p:cNvPr>
          <p:cNvSpPr/>
          <p:nvPr/>
        </p:nvSpPr>
        <p:spPr>
          <a:xfrm flipH="1" flipV="1">
            <a:off x="2399216" y="978417"/>
            <a:ext cx="2422187" cy="4957578"/>
          </a:xfrm>
          <a:custGeom>
            <a:avLst/>
            <a:gdLst>
              <a:gd name="connsiteX0" fmla="*/ 2373549 w 2373549"/>
              <a:gd name="connsiteY0" fmla="*/ 0 h 3550596"/>
              <a:gd name="connsiteX1" fmla="*/ 2237362 w 2373549"/>
              <a:gd name="connsiteY1" fmla="*/ 651753 h 3550596"/>
              <a:gd name="connsiteX2" fmla="*/ 778213 w 2373549"/>
              <a:gd name="connsiteY2" fmla="*/ 3531141 h 3550596"/>
              <a:gd name="connsiteX3" fmla="*/ 0 w 2373549"/>
              <a:gd name="connsiteY3" fmla="*/ 3550596 h 3550596"/>
              <a:gd name="connsiteX4" fmla="*/ 2373549 w 2373549"/>
              <a:gd name="connsiteY4" fmla="*/ 0 h 3550596"/>
              <a:gd name="connsiteX0" fmla="*/ 2422187 w 2422187"/>
              <a:gd name="connsiteY0" fmla="*/ 0 h 3540868"/>
              <a:gd name="connsiteX1" fmla="*/ 2237362 w 2422187"/>
              <a:gd name="connsiteY1" fmla="*/ 642025 h 3540868"/>
              <a:gd name="connsiteX2" fmla="*/ 778213 w 2422187"/>
              <a:gd name="connsiteY2" fmla="*/ 3521413 h 3540868"/>
              <a:gd name="connsiteX3" fmla="*/ 0 w 2422187"/>
              <a:gd name="connsiteY3" fmla="*/ 3540868 h 3540868"/>
              <a:gd name="connsiteX4" fmla="*/ 2422187 w 2422187"/>
              <a:gd name="connsiteY4" fmla="*/ 0 h 3540868"/>
              <a:gd name="connsiteX0" fmla="*/ 2422187 w 2422187"/>
              <a:gd name="connsiteY0" fmla="*/ 0 h 3550596"/>
              <a:gd name="connsiteX1" fmla="*/ 2237362 w 2422187"/>
              <a:gd name="connsiteY1" fmla="*/ 642025 h 3550596"/>
              <a:gd name="connsiteX2" fmla="*/ 768485 w 2422187"/>
              <a:gd name="connsiteY2" fmla="*/ 3550596 h 3550596"/>
              <a:gd name="connsiteX3" fmla="*/ 0 w 2422187"/>
              <a:gd name="connsiteY3" fmla="*/ 3540868 h 3550596"/>
              <a:gd name="connsiteX4" fmla="*/ 2422187 w 2422187"/>
              <a:gd name="connsiteY4" fmla="*/ 0 h 3550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187" h="3550596">
                <a:moveTo>
                  <a:pt x="2422187" y="0"/>
                </a:moveTo>
                <a:lnTo>
                  <a:pt x="2237362" y="642025"/>
                </a:lnTo>
                <a:lnTo>
                  <a:pt x="768485" y="3550596"/>
                </a:lnTo>
                <a:lnTo>
                  <a:pt x="0" y="3540868"/>
                </a:lnTo>
                <a:lnTo>
                  <a:pt x="2422187" y="0"/>
                </a:lnTo>
                <a:close/>
              </a:path>
            </a:pathLst>
          </a:custGeom>
          <a:gradFill>
            <a:gsLst>
              <a:gs pos="27000">
                <a:srgbClr val="5EAC3E"/>
              </a:gs>
              <a:gs pos="64000">
                <a:srgbClr val="67BD4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bg1"/>
              </a:solidFill>
            </a:endParaRPr>
          </a:p>
        </p:txBody>
      </p:sp>
      <p:sp>
        <p:nvSpPr>
          <p:cNvPr id="21" name="Freeform: Shape 20">
            <a:extLst>
              <a:ext uri="{FF2B5EF4-FFF2-40B4-BE49-F238E27FC236}">
                <a16:creationId xmlns:a16="http://schemas.microsoft.com/office/drawing/2014/main" id="{C9B0A6DD-FF7F-4EA4-8F97-70EC6E745E49}"/>
              </a:ext>
            </a:extLst>
          </p:cNvPr>
          <p:cNvSpPr/>
          <p:nvPr/>
        </p:nvSpPr>
        <p:spPr>
          <a:xfrm flipH="1" flipV="1">
            <a:off x="2810833" y="978417"/>
            <a:ext cx="1556426" cy="4222898"/>
          </a:xfrm>
          <a:custGeom>
            <a:avLst/>
            <a:gdLst>
              <a:gd name="connsiteX0" fmla="*/ 749030 w 1556426"/>
              <a:gd name="connsiteY0" fmla="*/ 3073940 h 3083668"/>
              <a:gd name="connsiteX1" fmla="*/ 0 w 1556426"/>
              <a:gd name="connsiteY1" fmla="*/ 3083668 h 3083668"/>
              <a:gd name="connsiteX2" fmla="*/ 1556426 w 1556426"/>
              <a:gd name="connsiteY2" fmla="*/ 0 h 3083668"/>
              <a:gd name="connsiteX3" fmla="*/ 749030 w 1556426"/>
              <a:gd name="connsiteY3" fmla="*/ 3073940 h 3083668"/>
            </a:gdLst>
            <a:ahLst/>
            <a:cxnLst>
              <a:cxn ang="0">
                <a:pos x="connsiteX0" y="connsiteY0"/>
              </a:cxn>
              <a:cxn ang="0">
                <a:pos x="connsiteX1" y="connsiteY1"/>
              </a:cxn>
              <a:cxn ang="0">
                <a:pos x="connsiteX2" y="connsiteY2"/>
              </a:cxn>
              <a:cxn ang="0">
                <a:pos x="connsiteX3" y="connsiteY3"/>
              </a:cxn>
            </a:cxnLst>
            <a:rect l="l" t="t" r="r" b="b"/>
            <a:pathLst>
              <a:path w="1556426" h="3083668">
                <a:moveTo>
                  <a:pt x="749030" y="3073940"/>
                </a:moveTo>
                <a:lnTo>
                  <a:pt x="0" y="3083668"/>
                </a:lnTo>
                <a:lnTo>
                  <a:pt x="1556426" y="0"/>
                </a:lnTo>
                <a:lnTo>
                  <a:pt x="749030" y="3073940"/>
                </a:lnTo>
                <a:close/>
              </a:path>
            </a:pathLst>
          </a:custGeom>
          <a:gradFill>
            <a:gsLst>
              <a:gs pos="34000">
                <a:schemeClr val="bg2"/>
              </a:gs>
              <a:gs pos="100000">
                <a:srgbClr val="5BA23C"/>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bg1"/>
              </a:solidFill>
            </a:endParaRPr>
          </a:p>
        </p:txBody>
      </p:sp>
      <p:pic>
        <p:nvPicPr>
          <p:cNvPr id="13" name="Picture 12">
            <a:extLst>
              <a:ext uri="{FF2B5EF4-FFF2-40B4-BE49-F238E27FC236}">
                <a16:creationId xmlns:a16="http://schemas.microsoft.com/office/drawing/2014/main" id="{C7B7014C-EB32-49CA-8640-A8673EB040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2" name="Title 1">
            <a:extLst>
              <a:ext uri="{FF2B5EF4-FFF2-40B4-BE49-F238E27FC236}">
                <a16:creationId xmlns:a16="http://schemas.microsoft.com/office/drawing/2014/main" id="{A6571AC3-625A-4C34-ACE1-5D93DAC1F54B}"/>
              </a:ext>
            </a:extLst>
          </p:cNvPr>
          <p:cNvSpPr>
            <a:spLocks noGrp="1"/>
          </p:cNvSpPr>
          <p:nvPr>
            <p:ph type="title" hasCustomPrompt="1"/>
          </p:nvPr>
        </p:nvSpPr>
        <p:spPr/>
        <p:txBody>
          <a:bodyPr anchor="ctr" anchorCtr="0"/>
          <a:lstStyle>
            <a:lvl1pPr>
              <a:defRPr/>
            </a:lvl1pPr>
          </a:lstStyle>
          <a:p>
            <a:r>
              <a:rPr lang="en-US"/>
              <a:t>Click to ADD TITLE</a:t>
            </a:r>
          </a:p>
        </p:txBody>
      </p:sp>
      <p:sp>
        <p:nvSpPr>
          <p:cNvPr id="15" name="Right Triangle 10">
            <a:extLst>
              <a:ext uri="{FF2B5EF4-FFF2-40B4-BE49-F238E27FC236}">
                <a16:creationId xmlns:a16="http://schemas.microsoft.com/office/drawing/2014/main" id="{82E43DF6-9A70-4B04-8042-940F8A3C9D5A}"/>
              </a:ext>
            </a:extLst>
          </p:cNvPr>
          <p:cNvSpPr/>
          <p:nvPr/>
        </p:nvSpPr>
        <p:spPr>
          <a:xfrm flipH="1">
            <a:off x="2254100" y="4475140"/>
            <a:ext cx="797441" cy="2388930"/>
          </a:xfrm>
          <a:custGeom>
            <a:avLst/>
            <a:gdLst>
              <a:gd name="connsiteX0" fmla="*/ 0 w 280287"/>
              <a:gd name="connsiteY0" fmla="*/ 1796902 h 1796902"/>
              <a:gd name="connsiteX1" fmla="*/ 0 w 280287"/>
              <a:gd name="connsiteY1" fmla="*/ 0 h 1796902"/>
              <a:gd name="connsiteX2" fmla="*/ 280287 w 280287"/>
              <a:gd name="connsiteY2" fmla="*/ 1796902 h 1796902"/>
              <a:gd name="connsiteX3" fmla="*/ 0 w 280287"/>
              <a:gd name="connsiteY3" fmla="*/ 1796902 h 1796902"/>
              <a:gd name="connsiteX0" fmla="*/ 308344 w 588631"/>
              <a:gd name="connsiteY0" fmla="*/ 1903228 h 1903228"/>
              <a:gd name="connsiteX1" fmla="*/ 0 w 588631"/>
              <a:gd name="connsiteY1" fmla="*/ 0 h 1903228"/>
              <a:gd name="connsiteX2" fmla="*/ 588631 w 588631"/>
              <a:gd name="connsiteY2" fmla="*/ 1903228 h 1903228"/>
              <a:gd name="connsiteX3" fmla="*/ 308344 w 588631"/>
              <a:gd name="connsiteY3" fmla="*/ 1903228 h 1903228"/>
            </a:gdLst>
            <a:ahLst/>
            <a:cxnLst>
              <a:cxn ang="0">
                <a:pos x="connsiteX0" y="connsiteY0"/>
              </a:cxn>
              <a:cxn ang="0">
                <a:pos x="connsiteX1" y="connsiteY1"/>
              </a:cxn>
              <a:cxn ang="0">
                <a:pos x="connsiteX2" y="connsiteY2"/>
              </a:cxn>
              <a:cxn ang="0">
                <a:pos x="connsiteX3" y="connsiteY3"/>
              </a:cxn>
            </a:cxnLst>
            <a:rect l="l" t="t" r="r" b="b"/>
            <a:pathLst>
              <a:path w="588631" h="1903228">
                <a:moveTo>
                  <a:pt x="308344" y="1903228"/>
                </a:moveTo>
                <a:lnTo>
                  <a:pt x="0" y="0"/>
                </a:lnTo>
                <a:lnTo>
                  <a:pt x="588631" y="1903228"/>
                </a:lnTo>
                <a:lnTo>
                  <a:pt x="308344" y="1903228"/>
                </a:lnTo>
                <a:close/>
              </a:path>
            </a:pathLst>
          </a:custGeom>
          <a:gradFill>
            <a:gsLst>
              <a:gs pos="2000">
                <a:srgbClr val="62B53F"/>
              </a:gs>
              <a:gs pos="52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bg1"/>
              </a:solidFill>
            </a:endParaRPr>
          </a:p>
        </p:txBody>
      </p:sp>
      <p:sp>
        <p:nvSpPr>
          <p:cNvPr id="16" name="Freeform 11">
            <a:extLst>
              <a:ext uri="{FF2B5EF4-FFF2-40B4-BE49-F238E27FC236}">
                <a16:creationId xmlns:a16="http://schemas.microsoft.com/office/drawing/2014/main" id="{1B456CEE-0787-4789-90B6-9140D8371DC0}"/>
              </a:ext>
            </a:extLst>
          </p:cNvPr>
          <p:cNvSpPr/>
          <p:nvPr/>
        </p:nvSpPr>
        <p:spPr>
          <a:xfrm flipH="1" flipV="1">
            <a:off x="-41321" y="1006471"/>
            <a:ext cx="4173034" cy="5897880"/>
          </a:xfrm>
          <a:custGeom>
            <a:avLst/>
            <a:gdLst>
              <a:gd name="connsiteX0" fmla="*/ 2483124 w 5460510"/>
              <a:gd name="connsiteY0" fmla="*/ 0 h 5143500"/>
              <a:gd name="connsiteX1" fmla="*/ 3448297 w 5460510"/>
              <a:gd name="connsiteY1" fmla="*/ 0 h 5143500"/>
              <a:gd name="connsiteX2" fmla="*/ 4717679 w 5460510"/>
              <a:gd name="connsiteY2" fmla="*/ 0 h 5143500"/>
              <a:gd name="connsiteX3" fmla="*/ 4741319 w 5460510"/>
              <a:gd name="connsiteY3" fmla="*/ 0 h 5143500"/>
              <a:gd name="connsiteX4" fmla="*/ 5318193 w 5460510"/>
              <a:gd name="connsiteY4" fmla="*/ 0 h 5143500"/>
              <a:gd name="connsiteX5" fmla="*/ 5460510 w 5460510"/>
              <a:gd name="connsiteY5" fmla="*/ 0 h 5143500"/>
              <a:gd name="connsiteX6" fmla="*/ 5460510 w 5460510"/>
              <a:gd name="connsiteY6" fmla="*/ 5143500 h 5143500"/>
              <a:gd name="connsiteX7" fmla="*/ 5318193 w 5460510"/>
              <a:gd name="connsiteY7" fmla="*/ 5143500 h 5143500"/>
              <a:gd name="connsiteX8" fmla="*/ 4741319 w 5460510"/>
              <a:gd name="connsiteY8" fmla="*/ 5143500 h 5143500"/>
              <a:gd name="connsiteX9" fmla="*/ 4717679 w 5460510"/>
              <a:gd name="connsiteY9" fmla="*/ 5143500 h 5143500"/>
              <a:gd name="connsiteX10" fmla="*/ 3448297 w 5460510"/>
              <a:gd name="connsiteY10" fmla="*/ 5143500 h 5143500"/>
              <a:gd name="connsiteX11" fmla="*/ 0 w 5460510"/>
              <a:gd name="connsiteY11" fmla="*/ 5143500 h 5143500"/>
              <a:gd name="connsiteX0" fmla="*/ 2293851 w 5271237"/>
              <a:gd name="connsiteY0" fmla="*/ 0 h 5174189"/>
              <a:gd name="connsiteX1" fmla="*/ 3259024 w 5271237"/>
              <a:gd name="connsiteY1" fmla="*/ 0 h 5174189"/>
              <a:gd name="connsiteX2" fmla="*/ 4528406 w 5271237"/>
              <a:gd name="connsiteY2" fmla="*/ 0 h 5174189"/>
              <a:gd name="connsiteX3" fmla="*/ 4552046 w 5271237"/>
              <a:gd name="connsiteY3" fmla="*/ 0 h 5174189"/>
              <a:gd name="connsiteX4" fmla="*/ 5128920 w 5271237"/>
              <a:gd name="connsiteY4" fmla="*/ 0 h 5174189"/>
              <a:gd name="connsiteX5" fmla="*/ 5271237 w 5271237"/>
              <a:gd name="connsiteY5" fmla="*/ 0 h 5174189"/>
              <a:gd name="connsiteX6" fmla="*/ 5271237 w 5271237"/>
              <a:gd name="connsiteY6" fmla="*/ 5143500 h 5174189"/>
              <a:gd name="connsiteX7" fmla="*/ 5128920 w 5271237"/>
              <a:gd name="connsiteY7" fmla="*/ 5143500 h 5174189"/>
              <a:gd name="connsiteX8" fmla="*/ 4552046 w 5271237"/>
              <a:gd name="connsiteY8" fmla="*/ 5143500 h 5174189"/>
              <a:gd name="connsiteX9" fmla="*/ 4528406 w 5271237"/>
              <a:gd name="connsiteY9" fmla="*/ 5143500 h 5174189"/>
              <a:gd name="connsiteX10" fmla="*/ 3259024 w 5271237"/>
              <a:gd name="connsiteY10" fmla="*/ 5143500 h 5174189"/>
              <a:gd name="connsiteX11" fmla="*/ 0 w 5271237"/>
              <a:gd name="connsiteY11" fmla="*/ 5174189 h 5174189"/>
              <a:gd name="connsiteX12" fmla="*/ 2293851 w 5271237"/>
              <a:gd name="connsiteY12" fmla="*/ 0 h 5174189"/>
              <a:gd name="connsiteX0" fmla="*/ 2293851 w 5271237"/>
              <a:gd name="connsiteY0" fmla="*/ 0 h 5174189"/>
              <a:gd name="connsiteX1" fmla="*/ 3259024 w 5271237"/>
              <a:gd name="connsiteY1" fmla="*/ 0 h 5174189"/>
              <a:gd name="connsiteX2" fmla="*/ 4528406 w 5271237"/>
              <a:gd name="connsiteY2" fmla="*/ 0 h 5174189"/>
              <a:gd name="connsiteX3" fmla="*/ 4552046 w 5271237"/>
              <a:gd name="connsiteY3" fmla="*/ 0 h 5174189"/>
              <a:gd name="connsiteX4" fmla="*/ 5128920 w 5271237"/>
              <a:gd name="connsiteY4" fmla="*/ 0 h 5174189"/>
              <a:gd name="connsiteX5" fmla="*/ 5271237 w 5271237"/>
              <a:gd name="connsiteY5" fmla="*/ 0 h 5174189"/>
              <a:gd name="connsiteX6" fmla="*/ 5271237 w 5271237"/>
              <a:gd name="connsiteY6" fmla="*/ 5143500 h 5174189"/>
              <a:gd name="connsiteX7" fmla="*/ 5128920 w 5271237"/>
              <a:gd name="connsiteY7" fmla="*/ 5143500 h 5174189"/>
              <a:gd name="connsiteX8" fmla="*/ 4552046 w 5271237"/>
              <a:gd name="connsiteY8" fmla="*/ 5143500 h 5174189"/>
              <a:gd name="connsiteX9" fmla="*/ 4528406 w 5271237"/>
              <a:gd name="connsiteY9" fmla="*/ 5143500 h 5174189"/>
              <a:gd name="connsiteX10" fmla="*/ 3259024 w 5271237"/>
              <a:gd name="connsiteY10" fmla="*/ 5143500 h 5174189"/>
              <a:gd name="connsiteX11" fmla="*/ 0 w 5271237"/>
              <a:gd name="connsiteY11" fmla="*/ 5174189 h 5174189"/>
              <a:gd name="connsiteX12" fmla="*/ 2293851 w 5271237"/>
              <a:gd name="connsiteY12" fmla="*/ 0 h 5174189"/>
              <a:gd name="connsiteX0" fmla="*/ 2293851 w 5271237"/>
              <a:gd name="connsiteY0" fmla="*/ 0 h 5174189"/>
              <a:gd name="connsiteX1" fmla="*/ 3259024 w 5271237"/>
              <a:gd name="connsiteY1" fmla="*/ 0 h 5174189"/>
              <a:gd name="connsiteX2" fmla="*/ 4528406 w 5271237"/>
              <a:gd name="connsiteY2" fmla="*/ 0 h 5174189"/>
              <a:gd name="connsiteX3" fmla="*/ 4552046 w 5271237"/>
              <a:gd name="connsiteY3" fmla="*/ 0 h 5174189"/>
              <a:gd name="connsiteX4" fmla="*/ 5128920 w 5271237"/>
              <a:gd name="connsiteY4" fmla="*/ 0 h 5174189"/>
              <a:gd name="connsiteX5" fmla="*/ 5271237 w 5271237"/>
              <a:gd name="connsiteY5" fmla="*/ 0 h 5174189"/>
              <a:gd name="connsiteX6" fmla="*/ 5271237 w 5271237"/>
              <a:gd name="connsiteY6" fmla="*/ 5143500 h 5174189"/>
              <a:gd name="connsiteX7" fmla="*/ 5128920 w 5271237"/>
              <a:gd name="connsiteY7" fmla="*/ 5143500 h 5174189"/>
              <a:gd name="connsiteX8" fmla="*/ 4552046 w 5271237"/>
              <a:gd name="connsiteY8" fmla="*/ 5143500 h 5174189"/>
              <a:gd name="connsiteX9" fmla="*/ 4528406 w 5271237"/>
              <a:gd name="connsiteY9" fmla="*/ 5143500 h 5174189"/>
              <a:gd name="connsiteX10" fmla="*/ 3259024 w 5271237"/>
              <a:gd name="connsiteY10" fmla="*/ 5143500 h 5174189"/>
              <a:gd name="connsiteX11" fmla="*/ 0 w 5271237"/>
              <a:gd name="connsiteY11" fmla="*/ 5174189 h 5174189"/>
              <a:gd name="connsiteX12" fmla="*/ 2293851 w 5271237"/>
              <a:gd name="connsiteY12" fmla="*/ 0 h 5174189"/>
              <a:gd name="connsiteX0" fmla="*/ 2268405 w 5245791"/>
              <a:gd name="connsiteY0" fmla="*/ 0 h 5168229"/>
              <a:gd name="connsiteX1" fmla="*/ 3233578 w 5245791"/>
              <a:gd name="connsiteY1" fmla="*/ 0 h 5168229"/>
              <a:gd name="connsiteX2" fmla="*/ 4502960 w 5245791"/>
              <a:gd name="connsiteY2" fmla="*/ 0 h 5168229"/>
              <a:gd name="connsiteX3" fmla="*/ 4526600 w 5245791"/>
              <a:gd name="connsiteY3" fmla="*/ 0 h 5168229"/>
              <a:gd name="connsiteX4" fmla="*/ 5103474 w 5245791"/>
              <a:gd name="connsiteY4" fmla="*/ 0 h 5168229"/>
              <a:gd name="connsiteX5" fmla="*/ 5245791 w 5245791"/>
              <a:gd name="connsiteY5" fmla="*/ 0 h 5168229"/>
              <a:gd name="connsiteX6" fmla="*/ 5245791 w 5245791"/>
              <a:gd name="connsiteY6" fmla="*/ 5143500 h 5168229"/>
              <a:gd name="connsiteX7" fmla="*/ 5103474 w 5245791"/>
              <a:gd name="connsiteY7" fmla="*/ 5143500 h 5168229"/>
              <a:gd name="connsiteX8" fmla="*/ 4526600 w 5245791"/>
              <a:gd name="connsiteY8" fmla="*/ 5143500 h 5168229"/>
              <a:gd name="connsiteX9" fmla="*/ 4502960 w 5245791"/>
              <a:gd name="connsiteY9" fmla="*/ 5143500 h 5168229"/>
              <a:gd name="connsiteX10" fmla="*/ 3233578 w 5245791"/>
              <a:gd name="connsiteY10" fmla="*/ 5143500 h 5168229"/>
              <a:gd name="connsiteX11" fmla="*/ 0 w 5245791"/>
              <a:gd name="connsiteY11" fmla="*/ 5168229 h 5168229"/>
              <a:gd name="connsiteX12" fmla="*/ 2268405 w 5245791"/>
              <a:gd name="connsiteY12" fmla="*/ 0 h 5168229"/>
              <a:gd name="connsiteX0" fmla="*/ 2268405 w 5245791"/>
              <a:gd name="connsiteY0" fmla="*/ 0 h 5168229"/>
              <a:gd name="connsiteX1" fmla="*/ 3233578 w 5245791"/>
              <a:gd name="connsiteY1" fmla="*/ 0 h 5168229"/>
              <a:gd name="connsiteX2" fmla="*/ 4502960 w 5245791"/>
              <a:gd name="connsiteY2" fmla="*/ 0 h 5168229"/>
              <a:gd name="connsiteX3" fmla="*/ 4526600 w 5245791"/>
              <a:gd name="connsiteY3" fmla="*/ 0 h 5168229"/>
              <a:gd name="connsiteX4" fmla="*/ 5103474 w 5245791"/>
              <a:gd name="connsiteY4" fmla="*/ 0 h 5168229"/>
              <a:gd name="connsiteX5" fmla="*/ 5245791 w 5245791"/>
              <a:gd name="connsiteY5" fmla="*/ 0 h 5168229"/>
              <a:gd name="connsiteX6" fmla="*/ 5245791 w 5245791"/>
              <a:gd name="connsiteY6" fmla="*/ 5143500 h 5168229"/>
              <a:gd name="connsiteX7" fmla="*/ 5103474 w 5245791"/>
              <a:gd name="connsiteY7" fmla="*/ 5143500 h 5168229"/>
              <a:gd name="connsiteX8" fmla="*/ 4526600 w 5245791"/>
              <a:gd name="connsiteY8" fmla="*/ 5143500 h 5168229"/>
              <a:gd name="connsiteX9" fmla="*/ 4502960 w 5245791"/>
              <a:gd name="connsiteY9" fmla="*/ 5143500 h 5168229"/>
              <a:gd name="connsiteX10" fmla="*/ 3233578 w 5245791"/>
              <a:gd name="connsiteY10" fmla="*/ 5143500 h 5168229"/>
              <a:gd name="connsiteX11" fmla="*/ 0 w 5245791"/>
              <a:gd name="connsiteY11" fmla="*/ 5168229 h 5168229"/>
              <a:gd name="connsiteX12" fmla="*/ 2268405 w 5245791"/>
              <a:gd name="connsiteY12" fmla="*/ 0 h 5168229"/>
              <a:gd name="connsiteX0" fmla="*/ 2268405 w 5245791"/>
              <a:gd name="connsiteY0" fmla="*/ 0 h 5158710"/>
              <a:gd name="connsiteX1" fmla="*/ 3233578 w 5245791"/>
              <a:gd name="connsiteY1" fmla="*/ 0 h 5158710"/>
              <a:gd name="connsiteX2" fmla="*/ 4502960 w 5245791"/>
              <a:gd name="connsiteY2" fmla="*/ 0 h 5158710"/>
              <a:gd name="connsiteX3" fmla="*/ 4526600 w 5245791"/>
              <a:gd name="connsiteY3" fmla="*/ 0 h 5158710"/>
              <a:gd name="connsiteX4" fmla="*/ 5103474 w 5245791"/>
              <a:gd name="connsiteY4" fmla="*/ 0 h 5158710"/>
              <a:gd name="connsiteX5" fmla="*/ 5245791 w 5245791"/>
              <a:gd name="connsiteY5" fmla="*/ 0 h 5158710"/>
              <a:gd name="connsiteX6" fmla="*/ 5245791 w 5245791"/>
              <a:gd name="connsiteY6" fmla="*/ 5143500 h 5158710"/>
              <a:gd name="connsiteX7" fmla="*/ 5103474 w 5245791"/>
              <a:gd name="connsiteY7" fmla="*/ 5143500 h 5158710"/>
              <a:gd name="connsiteX8" fmla="*/ 4526600 w 5245791"/>
              <a:gd name="connsiteY8" fmla="*/ 5143500 h 5158710"/>
              <a:gd name="connsiteX9" fmla="*/ 4502960 w 5245791"/>
              <a:gd name="connsiteY9" fmla="*/ 5143500 h 5158710"/>
              <a:gd name="connsiteX10" fmla="*/ 3233578 w 5245791"/>
              <a:gd name="connsiteY10" fmla="*/ 5143500 h 5158710"/>
              <a:gd name="connsiteX11" fmla="*/ 0 w 5245791"/>
              <a:gd name="connsiteY11" fmla="*/ 5158710 h 5158710"/>
              <a:gd name="connsiteX12" fmla="*/ 2268405 w 5245791"/>
              <a:gd name="connsiteY12" fmla="*/ 0 h 5158710"/>
              <a:gd name="connsiteX0" fmla="*/ 2268405 w 5245791"/>
              <a:gd name="connsiteY0" fmla="*/ 0 h 5153950"/>
              <a:gd name="connsiteX1" fmla="*/ 3233578 w 5245791"/>
              <a:gd name="connsiteY1" fmla="*/ 0 h 5153950"/>
              <a:gd name="connsiteX2" fmla="*/ 4502960 w 5245791"/>
              <a:gd name="connsiteY2" fmla="*/ 0 h 5153950"/>
              <a:gd name="connsiteX3" fmla="*/ 4526600 w 5245791"/>
              <a:gd name="connsiteY3" fmla="*/ 0 h 5153950"/>
              <a:gd name="connsiteX4" fmla="*/ 5103474 w 5245791"/>
              <a:gd name="connsiteY4" fmla="*/ 0 h 5153950"/>
              <a:gd name="connsiteX5" fmla="*/ 5245791 w 5245791"/>
              <a:gd name="connsiteY5" fmla="*/ 0 h 5153950"/>
              <a:gd name="connsiteX6" fmla="*/ 5245791 w 5245791"/>
              <a:gd name="connsiteY6" fmla="*/ 5143500 h 5153950"/>
              <a:gd name="connsiteX7" fmla="*/ 5103474 w 5245791"/>
              <a:gd name="connsiteY7" fmla="*/ 5143500 h 5153950"/>
              <a:gd name="connsiteX8" fmla="*/ 4526600 w 5245791"/>
              <a:gd name="connsiteY8" fmla="*/ 5143500 h 5153950"/>
              <a:gd name="connsiteX9" fmla="*/ 4502960 w 5245791"/>
              <a:gd name="connsiteY9" fmla="*/ 5143500 h 5153950"/>
              <a:gd name="connsiteX10" fmla="*/ 3233578 w 5245791"/>
              <a:gd name="connsiteY10" fmla="*/ 5143500 h 5153950"/>
              <a:gd name="connsiteX11" fmla="*/ 0 w 5245791"/>
              <a:gd name="connsiteY11" fmla="*/ 5153950 h 5153950"/>
              <a:gd name="connsiteX12" fmla="*/ 2268405 w 5245791"/>
              <a:gd name="connsiteY12" fmla="*/ 0 h 5153950"/>
              <a:gd name="connsiteX0" fmla="*/ 2268405 w 5245791"/>
              <a:gd name="connsiteY0" fmla="*/ 0 h 5153950"/>
              <a:gd name="connsiteX1" fmla="*/ 3233578 w 5245791"/>
              <a:gd name="connsiteY1" fmla="*/ 0 h 5153950"/>
              <a:gd name="connsiteX2" fmla="*/ 4502960 w 5245791"/>
              <a:gd name="connsiteY2" fmla="*/ 0 h 5153950"/>
              <a:gd name="connsiteX3" fmla="*/ 4526600 w 5245791"/>
              <a:gd name="connsiteY3" fmla="*/ 0 h 5153950"/>
              <a:gd name="connsiteX4" fmla="*/ 5103474 w 5245791"/>
              <a:gd name="connsiteY4" fmla="*/ 0 h 5153950"/>
              <a:gd name="connsiteX5" fmla="*/ 5245791 w 5245791"/>
              <a:gd name="connsiteY5" fmla="*/ 0 h 5153950"/>
              <a:gd name="connsiteX6" fmla="*/ 5245791 w 5245791"/>
              <a:gd name="connsiteY6" fmla="*/ 5143500 h 5153950"/>
              <a:gd name="connsiteX7" fmla="*/ 5103474 w 5245791"/>
              <a:gd name="connsiteY7" fmla="*/ 5143500 h 5153950"/>
              <a:gd name="connsiteX8" fmla="*/ 4526600 w 5245791"/>
              <a:gd name="connsiteY8" fmla="*/ 5143500 h 5153950"/>
              <a:gd name="connsiteX9" fmla="*/ 4502960 w 5245791"/>
              <a:gd name="connsiteY9" fmla="*/ 5143500 h 5153950"/>
              <a:gd name="connsiteX10" fmla="*/ 3233578 w 5245791"/>
              <a:gd name="connsiteY10" fmla="*/ 5143500 h 5153950"/>
              <a:gd name="connsiteX11" fmla="*/ 0 w 5245791"/>
              <a:gd name="connsiteY11" fmla="*/ 5153950 h 5153950"/>
              <a:gd name="connsiteX12" fmla="*/ 2268405 w 5245791"/>
              <a:gd name="connsiteY12" fmla="*/ 0 h 5153950"/>
              <a:gd name="connsiteX0" fmla="*/ 2245825 w 5245791"/>
              <a:gd name="connsiteY0" fmla="*/ 0 h 5153950"/>
              <a:gd name="connsiteX1" fmla="*/ 3233578 w 5245791"/>
              <a:gd name="connsiteY1" fmla="*/ 0 h 5153950"/>
              <a:gd name="connsiteX2" fmla="*/ 4502960 w 5245791"/>
              <a:gd name="connsiteY2" fmla="*/ 0 h 5153950"/>
              <a:gd name="connsiteX3" fmla="*/ 4526600 w 5245791"/>
              <a:gd name="connsiteY3" fmla="*/ 0 h 5153950"/>
              <a:gd name="connsiteX4" fmla="*/ 5103474 w 5245791"/>
              <a:gd name="connsiteY4" fmla="*/ 0 h 5153950"/>
              <a:gd name="connsiteX5" fmla="*/ 5245791 w 5245791"/>
              <a:gd name="connsiteY5" fmla="*/ 0 h 5153950"/>
              <a:gd name="connsiteX6" fmla="*/ 5245791 w 5245791"/>
              <a:gd name="connsiteY6" fmla="*/ 5143500 h 5153950"/>
              <a:gd name="connsiteX7" fmla="*/ 5103474 w 5245791"/>
              <a:gd name="connsiteY7" fmla="*/ 5143500 h 5153950"/>
              <a:gd name="connsiteX8" fmla="*/ 4526600 w 5245791"/>
              <a:gd name="connsiteY8" fmla="*/ 5143500 h 5153950"/>
              <a:gd name="connsiteX9" fmla="*/ 4502960 w 5245791"/>
              <a:gd name="connsiteY9" fmla="*/ 5143500 h 5153950"/>
              <a:gd name="connsiteX10" fmla="*/ 3233578 w 5245791"/>
              <a:gd name="connsiteY10" fmla="*/ 5143500 h 5153950"/>
              <a:gd name="connsiteX11" fmla="*/ 0 w 5245791"/>
              <a:gd name="connsiteY11" fmla="*/ 5153950 h 5153950"/>
              <a:gd name="connsiteX12" fmla="*/ 2245825 w 5245791"/>
              <a:gd name="connsiteY12" fmla="*/ 0 h 5153950"/>
              <a:gd name="connsiteX0" fmla="*/ 2245825 w 5245791"/>
              <a:gd name="connsiteY0" fmla="*/ 0 h 5153950"/>
              <a:gd name="connsiteX1" fmla="*/ 3233578 w 5245791"/>
              <a:gd name="connsiteY1" fmla="*/ 0 h 5153950"/>
              <a:gd name="connsiteX2" fmla="*/ 4502960 w 5245791"/>
              <a:gd name="connsiteY2" fmla="*/ 0 h 5153950"/>
              <a:gd name="connsiteX3" fmla="*/ 4526600 w 5245791"/>
              <a:gd name="connsiteY3" fmla="*/ 0 h 5153950"/>
              <a:gd name="connsiteX4" fmla="*/ 5103474 w 5245791"/>
              <a:gd name="connsiteY4" fmla="*/ 0 h 5153950"/>
              <a:gd name="connsiteX5" fmla="*/ 5245791 w 5245791"/>
              <a:gd name="connsiteY5" fmla="*/ 0 h 5153950"/>
              <a:gd name="connsiteX6" fmla="*/ 5245791 w 5245791"/>
              <a:gd name="connsiteY6" fmla="*/ 5143500 h 5153950"/>
              <a:gd name="connsiteX7" fmla="*/ 5103474 w 5245791"/>
              <a:gd name="connsiteY7" fmla="*/ 5143500 h 5153950"/>
              <a:gd name="connsiteX8" fmla="*/ 4526600 w 5245791"/>
              <a:gd name="connsiteY8" fmla="*/ 5143500 h 5153950"/>
              <a:gd name="connsiteX9" fmla="*/ 4502960 w 5245791"/>
              <a:gd name="connsiteY9" fmla="*/ 5143500 h 5153950"/>
              <a:gd name="connsiteX10" fmla="*/ 3233578 w 5245791"/>
              <a:gd name="connsiteY10" fmla="*/ 5143500 h 5153950"/>
              <a:gd name="connsiteX11" fmla="*/ 0 w 5245791"/>
              <a:gd name="connsiteY11" fmla="*/ 5153950 h 5153950"/>
              <a:gd name="connsiteX12" fmla="*/ 2245825 w 5245791"/>
              <a:gd name="connsiteY12" fmla="*/ 0 h 5153950"/>
              <a:gd name="connsiteX0" fmla="*/ 2245825 w 5245791"/>
              <a:gd name="connsiteY0" fmla="*/ 0 h 5153950"/>
              <a:gd name="connsiteX1" fmla="*/ 3233578 w 5245791"/>
              <a:gd name="connsiteY1" fmla="*/ 0 h 5153950"/>
              <a:gd name="connsiteX2" fmla="*/ 4502960 w 5245791"/>
              <a:gd name="connsiteY2" fmla="*/ 0 h 5153950"/>
              <a:gd name="connsiteX3" fmla="*/ 4526600 w 5245791"/>
              <a:gd name="connsiteY3" fmla="*/ 0 h 5153950"/>
              <a:gd name="connsiteX4" fmla="*/ 5103474 w 5245791"/>
              <a:gd name="connsiteY4" fmla="*/ 0 h 5153950"/>
              <a:gd name="connsiteX5" fmla="*/ 5245791 w 5245791"/>
              <a:gd name="connsiteY5" fmla="*/ 0 h 5153950"/>
              <a:gd name="connsiteX6" fmla="*/ 5245791 w 5245791"/>
              <a:gd name="connsiteY6" fmla="*/ 5143500 h 5153950"/>
              <a:gd name="connsiteX7" fmla="*/ 5103474 w 5245791"/>
              <a:gd name="connsiteY7" fmla="*/ 5143500 h 5153950"/>
              <a:gd name="connsiteX8" fmla="*/ 4526600 w 5245791"/>
              <a:gd name="connsiteY8" fmla="*/ 5143500 h 5153950"/>
              <a:gd name="connsiteX9" fmla="*/ 4502960 w 5245791"/>
              <a:gd name="connsiteY9" fmla="*/ 5143500 h 5153950"/>
              <a:gd name="connsiteX10" fmla="*/ 3233578 w 5245791"/>
              <a:gd name="connsiteY10" fmla="*/ 5143500 h 5153950"/>
              <a:gd name="connsiteX11" fmla="*/ 0 w 5245791"/>
              <a:gd name="connsiteY11" fmla="*/ 5153950 h 5153950"/>
              <a:gd name="connsiteX12" fmla="*/ 2245825 w 5245791"/>
              <a:gd name="connsiteY12" fmla="*/ 0 h 5153950"/>
              <a:gd name="connsiteX0" fmla="*/ 2166425 w 5166391"/>
              <a:gd name="connsiteY0" fmla="*/ 0 h 5143540"/>
              <a:gd name="connsiteX1" fmla="*/ 3154178 w 5166391"/>
              <a:gd name="connsiteY1" fmla="*/ 0 h 5143540"/>
              <a:gd name="connsiteX2" fmla="*/ 4423560 w 5166391"/>
              <a:gd name="connsiteY2" fmla="*/ 0 h 5143540"/>
              <a:gd name="connsiteX3" fmla="*/ 4447200 w 5166391"/>
              <a:gd name="connsiteY3" fmla="*/ 0 h 5143540"/>
              <a:gd name="connsiteX4" fmla="*/ 5024074 w 5166391"/>
              <a:gd name="connsiteY4" fmla="*/ 0 h 5143540"/>
              <a:gd name="connsiteX5" fmla="*/ 5166391 w 5166391"/>
              <a:gd name="connsiteY5" fmla="*/ 0 h 5143540"/>
              <a:gd name="connsiteX6" fmla="*/ 5166391 w 5166391"/>
              <a:gd name="connsiteY6" fmla="*/ 5143500 h 5143540"/>
              <a:gd name="connsiteX7" fmla="*/ 5024074 w 5166391"/>
              <a:gd name="connsiteY7" fmla="*/ 5143500 h 5143540"/>
              <a:gd name="connsiteX8" fmla="*/ 4447200 w 5166391"/>
              <a:gd name="connsiteY8" fmla="*/ 5143500 h 5143540"/>
              <a:gd name="connsiteX9" fmla="*/ 4423560 w 5166391"/>
              <a:gd name="connsiteY9" fmla="*/ 5143500 h 5143540"/>
              <a:gd name="connsiteX10" fmla="*/ 3154178 w 5166391"/>
              <a:gd name="connsiteY10" fmla="*/ 5143500 h 5143540"/>
              <a:gd name="connsiteX11" fmla="*/ 0 w 5166391"/>
              <a:gd name="connsiteY11" fmla="*/ 4930799 h 5143540"/>
              <a:gd name="connsiteX12" fmla="*/ 2166425 w 5166391"/>
              <a:gd name="connsiteY12" fmla="*/ 0 h 5143540"/>
              <a:gd name="connsiteX0" fmla="*/ 2166425 w 5166391"/>
              <a:gd name="connsiteY0" fmla="*/ 0 h 5143500"/>
              <a:gd name="connsiteX1" fmla="*/ 3154178 w 5166391"/>
              <a:gd name="connsiteY1" fmla="*/ 0 h 5143500"/>
              <a:gd name="connsiteX2" fmla="*/ 4423560 w 5166391"/>
              <a:gd name="connsiteY2" fmla="*/ 0 h 5143500"/>
              <a:gd name="connsiteX3" fmla="*/ 4447200 w 5166391"/>
              <a:gd name="connsiteY3" fmla="*/ 0 h 5143500"/>
              <a:gd name="connsiteX4" fmla="*/ 5024074 w 5166391"/>
              <a:gd name="connsiteY4" fmla="*/ 0 h 5143500"/>
              <a:gd name="connsiteX5" fmla="*/ 5166391 w 5166391"/>
              <a:gd name="connsiteY5" fmla="*/ 0 h 5143500"/>
              <a:gd name="connsiteX6" fmla="*/ 5166391 w 5166391"/>
              <a:gd name="connsiteY6" fmla="*/ 5143500 h 5143500"/>
              <a:gd name="connsiteX7" fmla="*/ 5024074 w 5166391"/>
              <a:gd name="connsiteY7" fmla="*/ 5143500 h 5143500"/>
              <a:gd name="connsiteX8" fmla="*/ 4447200 w 5166391"/>
              <a:gd name="connsiteY8" fmla="*/ 5143500 h 5143500"/>
              <a:gd name="connsiteX9" fmla="*/ 4423560 w 5166391"/>
              <a:gd name="connsiteY9" fmla="*/ 5143500 h 5143500"/>
              <a:gd name="connsiteX10" fmla="*/ 0 w 5166391"/>
              <a:gd name="connsiteY10" fmla="*/ 4930799 h 5143500"/>
              <a:gd name="connsiteX11" fmla="*/ 2166425 w 5166391"/>
              <a:gd name="connsiteY11" fmla="*/ 0 h 5143500"/>
              <a:gd name="connsiteX0" fmla="*/ 2166425 w 5166391"/>
              <a:gd name="connsiteY0" fmla="*/ 0 h 5143500"/>
              <a:gd name="connsiteX1" fmla="*/ 3154178 w 5166391"/>
              <a:gd name="connsiteY1" fmla="*/ 0 h 5143500"/>
              <a:gd name="connsiteX2" fmla="*/ 4423560 w 5166391"/>
              <a:gd name="connsiteY2" fmla="*/ 0 h 5143500"/>
              <a:gd name="connsiteX3" fmla="*/ 4447200 w 5166391"/>
              <a:gd name="connsiteY3" fmla="*/ 0 h 5143500"/>
              <a:gd name="connsiteX4" fmla="*/ 5024074 w 5166391"/>
              <a:gd name="connsiteY4" fmla="*/ 0 h 5143500"/>
              <a:gd name="connsiteX5" fmla="*/ 5166391 w 5166391"/>
              <a:gd name="connsiteY5" fmla="*/ 0 h 5143500"/>
              <a:gd name="connsiteX6" fmla="*/ 5166391 w 5166391"/>
              <a:gd name="connsiteY6" fmla="*/ 5143500 h 5143500"/>
              <a:gd name="connsiteX7" fmla="*/ 5024074 w 5166391"/>
              <a:gd name="connsiteY7" fmla="*/ 5143500 h 5143500"/>
              <a:gd name="connsiteX8" fmla="*/ 4447200 w 5166391"/>
              <a:gd name="connsiteY8" fmla="*/ 5143500 h 5143500"/>
              <a:gd name="connsiteX9" fmla="*/ 0 w 5166391"/>
              <a:gd name="connsiteY9" fmla="*/ 4930799 h 5143500"/>
              <a:gd name="connsiteX10" fmla="*/ 2166425 w 5166391"/>
              <a:gd name="connsiteY10" fmla="*/ 0 h 5143500"/>
              <a:gd name="connsiteX0" fmla="*/ 2166425 w 5166391"/>
              <a:gd name="connsiteY0" fmla="*/ 0 h 5143500"/>
              <a:gd name="connsiteX1" fmla="*/ 3154178 w 5166391"/>
              <a:gd name="connsiteY1" fmla="*/ 0 h 5143500"/>
              <a:gd name="connsiteX2" fmla="*/ 4423560 w 5166391"/>
              <a:gd name="connsiteY2" fmla="*/ 0 h 5143500"/>
              <a:gd name="connsiteX3" fmla="*/ 4447200 w 5166391"/>
              <a:gd name="connsiteY3" fmla="*/ 0 h 5143500"/>
              <a:gd name="connsiteX4" fmla="*/ 5024074 w 5166391"/>
              <a:gd name="connsiteY4" fmla="*/ 0 h 5143500"/>
              <a:gd name="connsiteX5" fmla="*/ 5166391 w 5166391"/>
              <a:gd name="connsiteY5" fmla="*/ 0 h 5143500"/>
              <a:gd name="connsiteX6" fmla="*/ 5166391 w 5166391"/>
              <a:gd name="connsiteY6" fmla="*/ 5143500 h 5143500"/>
              <a:gd name="connsiteX7" fmla="*/ 5024074 w 5166391"/>
              <a:gd name="connsiteY7" fmla="*/ 5143500 h 5143500"/>
              <a:gd name="connsiteX8" fmla="*/ 0 w 5166391"/>
              <a:gd name="connsiteY8" fmla="*/ 4930799 h 5143500"/>
              <a:gd name="connsiteX9" fmla="*/ 2166425 w 5166391"/>
              <a:gd name="connsiteY9" fmla="*/ 0 h 5143500"/>
              <a:gd name="connsiteX0" fmla="*/ 2166425 w 5166391"/>
              <a:gd name="connsiteY0" fmla="*/ 0 h 5143500"/>
              <a:gd name="connsiteX1" fmla="*/ 3154178 w 5166391"/>
              <a:gd name="connsiteY1" fmla="*/ 0 h 5143500"/>
              <a:gd name="connsiteX2" fmla="*/ 4423560 w 5166391"/>
              <a:gd name="connsiteY2" fmla="*/ 0 h 5143500"/>
              <a:gd name="connsiteX3" fmla="*/ 4447200 w 5166391"/>
              <a:gd name="connsiteY3" fmla="*/ 0 h 5143500"/>
              <a:gd name="connsiteX4" fmla="*/ 5024074 w 5166391"/>
              <a:gd name="connsiteY4" fmla="*/ 0 h 5143500"/>
              <a:gd name="connsiteX5" fmla="*/ 5166391 w 5166391"/>
              <a:gd name="connsiteY5" fmla="*/ 0 h 5143500"/>
              <a:gd name="connsiteX6" fmla="*/ 5166391 w 5166391"/>
              <a:gd name="connsiteY6" fmla="*/ 5143500 h 5143500"/>
              <a:gd name="connsiteX7" fmla="*/ 0 w 5166391"/>
              <a:gd name="connsiteY7" fmla="*/ 4930799 h 5143500"/>
              <a:gd name="connsiteX8" fmla="*/ 2166425 w 5166391"/>
              <a:gd name="connsiteY8" fmla="*/ 0 h 5143500"/>
              <a:gd name="connsiteX0" fmla="*/ 2166425 w 5166391"/>
              <a:gd name="connsiteY0" fmla="*/ 0 h 4930799"/>
              <a:gd name="connsiteX1" fmla="*/ 3154178 w 5166391"/>
              <a:gd name="connsiteY1" fmla="*/ 0 h 4930799"/>
              <a:gd name="connsiteX2" fmla="*/ 4423560 w 5166391"/>
              <a:gd name="connsiteY2" fmla="*/ 0 h 4930799"/>
              <a:gd name="connsiteX3" fmla="*/ 4447200 w 5166391"/>
              <a:gd name="connsiteY3" fmla="*/ 0 h 4930799"/>
              <a:gd name="connsiteX4" fmla="*/ 5024074 w 5166391"/>
              <a:gd name="connsiteY4" fmla="*/ 0 h 4930799"/>
              <a:gd name="connsiteX5" fmla="*/ 5166391 w 5166391"/>
              <a:gd name="connsiteY5" fmla="*/ 0 h 4930799"/>
              <a:gd name="connsiteX6" fmla="*/ 4417765 w 5166391"/>
              <a:gd name="connsiteY6" fmla="*/ 4920350 h 4930799"/>
              <a:gd name="connsiteX7" fmla="*/ 0 w 5166391"/>
              <a:gd name="connsiteY7" fmla="*/ 4930799 h 4930799"/>
              <a:gd name="connsiteX8" fmla="*/ 2166425 w 5166391"/>
              <a:gd name="connsiteY8" fmla="*/ 0 h 4930799"/>
              <a:gd name="connsiteX0" fmla="*/ 2166425 w 5166391"/>
              <a:gd name="connsiteY0" fmla="*/ 0 h 4930799"/>
              <a:gd name="connsiteX1" fmla="*/ 3154178 w 5166391"/>
              <a:gd name="connsiteY1" fmla="*/ 0 h 4930799"/>
              <a:gd name="connsiteX2" fmla="*/ 4423560 w 5166391"/>
              <a:gd name="connsiteY2" fmla="*/ 0 h 4930799"/>
              <a:gd name="connsiteX3" fmla="*/ 4447200 w 5166391"/>
              <a:gd name="connsiteY3" fmla="*/ 0 h 4930799"/>
              <a:gd name="connsiteX4" fmla="*/ 5166391 w 5166391"/>
              <a:gd name="connsiteY4" fmla="*/ 0 h 4930799"/>
              <a:gd name="connsiteX5" fmla="*/ 4417765 w 5166391"/>
              <a:gd name="connsiteY5" fmla="*/ 4920350 h 4930799"/>
              <a:gd name="connsiteX6" fmla="*/ 0 w 5166391"/>
              <a:gd name="connsiteY6" fmla="*/ 4930799 h 4930799"/>
              <a:gd name="connsiteX7" fmla="*/ 2166425 w 5166391"/>
              <a:gd name="connsiteY7" fmla="*/ 0 h 4930799"/>
              <a:gd name="connsiteX0" fmla="*/ 2166425 w 5166391"/>
              <a:gd name="connsiteY0" fmla="*/ 0 h 4930799"/>
              <a:gd name="connsiteX1" fmla="*/ 3154178 w 5166391"/>
              <a:gd name="connsiteY1" fmla="*/ 0 h 4930799"/>
              <a:gd name="connsiteX2" fmla="*/ 4423560 w 5166391"/>
              <a:gd name="connsiteY2" fmla="*/ 0 h 4930799"/>
              <a:gd name="connsiteX3" fmla="*/ 5166391 w 5166391"/>
              <a:gd name="connsiteY3" fmla="*/ 0 h 4930799"/>
              <a:gd name="connsiteX4" fmla="*/ 4417765 w 5166391"/>
              <a:gd name="connsiteY4" fmla="*/ 4920350 h 4930799"/>
              <a:gd name="connsiteX5" fmla="*/ 0 w 5166391"/>
              <a:gd name="connsiteY5" fmla="*/ 4930799 h 4930799"/>
              <a:gd name="connsiteX6" fmla="*/ 2166425 w 5166391"/>
              <a:gd name="connsiteY6" fmla="*/ 0 h 4930799"/>
              <a:gd name="connsiteX0" fmla="*/ 2166425 w 5166391"/>
              <a:gd name="connsiteY0" fmla="*/ 0 h 4930799"/>
              <a:gd name="connsiteX1" fmla="*/ 3154178 w 5166391"/>
              <a:gd name="connsiteY1" fmla="*/ 0 h 4930799"/>
              <a:gd name="connsiteX2" fmla="*/ 5166391 w 5166391"/>
              <a:gd name="connsiteY2" fmla="*/ 0 h 4930799"/>
              <a:gd name="connsiteX3" fmla="*/ 4417765 w 5166391"/>
              <a:gd name="connsiteY3" fmla="*/ 4920350 h 4930799"/>
              <a:gd name="connsiteX4" fmla="*/ 0 w 5166391"/>
              <a:gd name="connsiteY4" fmla="*/ 4930799 h 4930799"/>
              <a:gd name="connsiteX5" fmla="*/ 2166425 w 5166391"/>
              <a:gd name="connsiteY5" fmla="*/ 0 h 4930799"/>
              <a:gd name="connsiteX0" fmla="*/ 2166425 w 5166391"/>
              <a:gd name="connsiteY0" fmla="*/ 0 h 4930799"/>
              <a:gd name="connsiteX1" fmla="*/ 5166391 w 5166391"/>
              <a:gd name="connsiteY1" fmla="*/ 0 h 4930799"/>
              <a:gd name="connsiteX2" fmla="*/ 4417765 w 5166391"/>
              <a:gd name="connsiteY2" fmla="*/ 4920350 h 4930799"/>
              <a:gd name="connsiteX3" fmla="*/ 0 w 5166391"/>
              <a:gd name="connsiteY3" fmla="*/ 4930799 h 4930799"/>
              <a:gd name="connsiteX4" fmla="*/ 2166425 w 5166391"/>
              <a:gd name="connsiteY4" fmla="*/ 0 h 4930799"/>
              <a:gd name="connsiteX0" fmla="*/ 1939568 w 5166391"/>
              <a:gd name="connsiteY0" fmla="*/ 525998 h 4930799"/>
              <a:gd name="connsiteX1" fmla="*/ 5166391 w 5166391"/>
              <a:gd name="connsiteY1" fmla="*/ 0 h 4930799"/>
              <a:gd name="connsiteX2" fmla="*/ 4417765 w 5166391"/>
              <a:gd name="connsiteY2" fmla="*/ 4920350 h 4930799"/>
              <a:gd name="connsiteX3" fmla="*/ 0 w 5166391"/>
              <a:gd name="connsiteY3" fmla="*/ 4930799 h 4930799"/>
              <a:gd name="connsiteX4" fmla="*/ 1939568 w 5166391"/>
              <a:gd name="connsiteY4" fmla="*/ 525998 h 4930799"/>
              <a:gd name="connsiteX0" fmla="*/ 1939568 w 4440451"/>
              <a:gd name="connsiteY0" fmla="*/ 31879 h 4436680"/>
              <a:gd name="connsiteX1" fmla="*/ 4440451 w 4440451"/>
              <a:gd name="connsiteY1" fmla="*/ 0 h 4436680"/>
              <a:gd name="connsiteX2" fmla="*/ 4417765 w 4440451"/>
              <a:gd name="connsiteY2" fmla="*/ 4426231 h 4436680"/>
              <a:gd name="connsiteX3" fmla="*/ 0 w 4440451"/>
              <a:gd name="connsiteY3" fmla="*/ 4436680 h 4436680"/>
              <a:gd name="connsiteX4" fmla="*/ 1939568 w 4440451"/>
              <a:gd name="connsiteY4" fmla="*/ 31879 h 4436680"/>
              <a:gd name="connsiteX0" fmla="*/ 1939568 w 4451793"/>
              <a:gd name="connsiteY0" fmla="*/ 23909 h 4428710"/>
              <a:gd name="connsiteX1" fmla="*/ 4451793 w 4451793"/>
              <a:gd name="connsiteY1" fmla="*/ 0 h 4428710"/>
              <a:gd name="connsiteX2" fmla="*/ 4417765 w 4451793"/>
              <a:gd name="connsiteY2" fmla="*/ 4418261 h 4428710"/>
              <a:gd name="connsiteX3" fmla="*/ 0 w 4451793"/>
              <a:gd name="connsiteY3" fmla="*/ 4428710 h 4428710"/>
              <a:gd name="connsiteX4" fmla="*/ 1939568 w 4451793"/>
              <a:gd name="connsiteY4" fmla="*/ 23909 h 4428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1793" h="4428710">
                <a:moveTo>
                  <a:pt x="1939568" y="23909"/>
                </a:moveTo>
                <a:lnTo>
                  <a:pt x="4451793" y="0"/>
                </a:lnTo>
                <a:lnTo>
                  <a:pt x="4417765" y="4418261"/>
                </a:lnTo>
                <a:lnTo>
                  <a:pt x="0" y="4428710"/>
                </a:lnTo>
                <a:cubicBezTo>
                  <a:pt x="1025134" y="2115161"/>
                  <a:pt x="1136461" y="1877695"/>
                  <a:pt x="1939568" y="23909"/>
                </a:cubicBezTo>
                <a:close/>
              </a:path>
            </a:pathLst>
          </a:custGeom>
          <a:solidFill>
            <a:schemeClr val="tx1">
              <a:lumMod val="75000"/>
            </a:schemeClr>
          </a:solidFill>
          <a:ln w="19050">
            <a:noFill/>
          </a:ln>
        </p:spPr>
        <p:txBody>
          <a:bodyPr vert="horz" lIns="454941" tIns="37851" rIns="75702" bIns="72790" rtlCol="0" anchor="b">
            <a:noAutofit/>
          </a:bodyPr>
          <a:lstStyle/>
          <a:p>
            <a:pPr marL="273582" indent="-273582">
              <a:lnSpc>
                <a:spcPct val="90000"/>
              </a:lnSpc>
              <a:spcBef>
                <a:spcPts val="2400"/>
              </a:spcBef>
              <a:buClr>
                <a:schemeClr val="tx1"/>
              </a:buClr>
              <a:buFont typeface="Arial" pitchFamily="34" charset="0"/>
              <a:buChar char="•"/>
            </a:pPr>
            <a:endParaRPr lang="en-US" sz="1094" dirty="0">
              <a:solidFill>
                <a:schemeClr val="bg1"/>
              </a:solidFill>
              <a:latin typeface="Futura Std Medium" charset="0"/>
            </a:endParaRPr>
          </a:p>
        </p:txBody>
      </p:sp>
      <p:sp>
        <p:nvSpPr>
          <p:cNvPr id="4" name="Text Placeholder 3">
            <a:extLst>
              <a:ext uri="{FF2B5EF4-FFF2-40B4-BE49-F238E27FC236}">
                <a16:creationId xmlns:a16="http://schemas.microsoft.com/office/drawing/2014/main" id="{50C1A938-8E63-4487-8187-FD813DBAC40C}"/>
              </a:ext>
            </a:extLst>
          </p:cNvPr>
          <p:cNvSpPr>
            <a:spLocks noGrp="1"/>
          </p:cNvSpPr>
          <p:nvPr>
            <p:ph type="body" sz="quarter" idx="22"/>
          </p:nvPr>
        </p:nvSpPr>
        <p:spPr>
          <a:xfrm>
            <a:off x="4709159" y="1796903"/>
            <a:ext cx="6611687" cy="4529286"/>
          </a:xfrm>
        </p:spPr>
        <p:txBody>
          <a:bodyPr anchor="ctr" anchorCtr="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6">
            <a:extLst>
              <a:ext uri="{FF2B5EF4-FFF2-40B4-BE49-F238E27FC236}">
                <a16:creationId xmlns:a16="http://schemas.microsoft.com/office/drawing/2014/main" id="{20533E6B-B2D1-4333-A682-B289136FBB44}"/>
              </a:ext>
            </a:extLst>
          </p:cNvPr>
          <p:cNvSpPr txBox="1">
            <a:spLocks noChangeArrowheads="1"/>
          </p:cNvSpPr>
          <p:nvPr/>
        </p:nvSpPr>
        <p:spPr bwMode="auto">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cxnSp>
        <p:nvCxnSpPr>
          <p:cNvPr id="11" name="Straight Connector 10">
            <a:extLst>
              <a:ext uri="{FF2B5EF4-FFF2-40B4-BE49-F238E27FC236}">
                <a16:creationId xmlns:a16="http://schemas.microsoft.com/office/drawing/2014/main" id="{D18B9007-A17B-4620-8833-6AA9DF6B5E36}"/>
              </a:ext>
            </a:extLst>
          </p:cNvPr>
          <p:cNvCxnSpPr/>
          <p:nvPr/>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071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p:cSld name="Title &amp; 1 Image w Fade">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1" y="1024137"/>
            <a:ext cx="12192001" cy="5833863"/>
          </a:xfrm>
          <a:gradFill>
            <a:gsLst>
              <a:gs pos="90000">
                <a:srgbClr val="FFFFFF">
                  <a:alpha val="25000"/>
                </a:srgbClr>
              </a:gs>
              <a:gs pos="75000">
                <a:srgbClr val="FFFFFF">
                  <a:alpha val="50000"/>
                </a:srgbClr>
              </a:gs>
              <a:gs pos="55000">
                <a:srgbClr val="FFFFFF">
                  <a:alpha val="90000"/>
                </a:srgbClr>
              </a:gs>
              <a:gs pos="35000">
                <a:schemeClr val="bg1"/>
              </a:gs>
            </a:gsLst>
            <a:lin ang="0" scaled="0"/>
          </a:gradFill>
        </p:spPr>
        <p:txBody>
          <a:bodyPr anchor="ctr"/>
          <a:lstStyle>
            <a:lvl1pPr marL="0" indent="0" algn="ctr">
              <a:buNone/>
              <a:defRPr>
                <a:solidFill>
                  <a:schemeClr val="tx1"/>
                </a:solidFill>
                <a:latin typeface="+mn-lt"/>
              </a:defRPr>
            </a:lvl1pPr>
          </a:lstStyle>
          <a:p>
            <a:r>
              <a:rPr lang="en-US"/>
              <a:t>Click icon to add picture</a:t>
            </a:r>
            <a:endParaRPr lang="en-US" dirty="0"/>
          </a:p>
        </p:txBody>
      </p:sp>
      <p:pic>
        <p:nvPicPr>
          <p:cNvPr id="13" name="Picture 12">
            <a:extLst>
              <a:ext uri="{FF2B5EF4-FFF2-40B4-BE49-F238E27FC236}">
                <a16:creationId xmlns:a16="http://schemas.microsoft.com/office/drawing/2014/main" id="{C7B7014C-EB32-49CA-8640-A8673EB040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3" name="Title 2">
            <a:extLst>
              <a:ext uri="{FF2B5EF4-FFF2-40B4-BE49-F238E27FC236}">
                <a16:creationId xmlns:a16="http://schemas.microsoft.com/office/drawing/2014/main" id="{ABE382D4-3AC2-49F9-B25C-6147C6B70C02}"/>
              </a:ext>
            </a:extLst>
          </p:cNvPr>
          <p:cNvSpPr>
            <a:spLocks noGrp="1"/>
          </p:cNvSpPr>
          <p:nvPr>
            <p:ph type="title" hasCustomPrompt="1"/>
          </p:nvPr>
        </p:nvSpPr>
        <p:spPr/>
        <p:txBody>
          <a:bodyPr/>
          <a:lstStyle>
            <a:lvl1pPr>
              <a:defRPr/>
            </a:lvl1pPr>
          </a:lstStyle>
          <a:p>
            <a:r>
              <a:rPr lang="en-US"/>
              <a:t>Click to ADD TITLE</a:t>
            </a:r>
          </a:p>
        </p:txBody>
      </p:sp>
      <p:sp>
        <p:nvSpPr>
          <p:cNvPr id="4" name="Text Placeholder 3">
            <a:extLst>
              <a:ext uri="{FF2B5EF4-FFF2-40B4-BE49-F238E27FC236}">
                <a16:creationId xmlns:a16="http://schemas.microsoft.com/office/drawing/2014/main" id="{D29060FD-C0D9-47F4-9B9F-A1485FB0673D}"/>
              </a:ext>
            </a:extLst>
          </p:cNvPr>
          <p:cNvSpPr>
            <a:spLocks noGrp="1"/>
          </p:cNvSpPr>
          <p:nvPr>
            <p:ph type="body" sz="quarter" idx="22" hasCustomPrompt="1"/>
          </p:nvPr>
        </p:nvSpPr>
        <p:spPr>
          <a:xfrm>
            <a:off x="0" y="1024128"/>
            <a:ext cx="5742432" cy="5833872"/>
          </a:xfrm>
          <a:gradFill>
            <a:gsLst>
              <a:gs pos="100000">
                <a:schemeClr val="bg1">
                  <a:alpha val="0"/>
                </a:schemeClr>
              </a:gs>
              <a:gs pos="90000">
                <a:srgbClr val="FFFFFF">
                  <a:alpha val="25000"/>
                </a:srgbClr>
              </a:gs>
              <a:gs pos="75000">
                <a:srgbClr val="FFFFFF">
                  <a:alpha val="50000"/>
                </a:srgbClr>
              </a:gs>
              <a:gs pos="55000">
                <a:srgbClr val="FFFFFF">
                  <a:alpha val="90000"/>
                </a:srgbClr>
              </a:gs>
              <a:gs pos="35000">
                <a:schemeClr val="bg1"/>
              </a:gs>
            </a:gsLst>
          </a:gradFill>
        </p:spPr>
        <p:txBody>
          <a:bodyPr vert="horz" lIns="0" tIns="0" rIns="0" bIns="0" rtlCol="0">
            <a:noAutofit/>
          </a:bodyPr>
          <a:lstStyle>
            <a:lvl1pPr marL="273582" indent="-273582">
              <a:buClr>
                <a:schemeClr val="bg1"/>
              </a:buClr>
              <a:buFont typeface="Arial" panose="020B0604020202020204" pitchFamily="34" charset="0"/>
              <a:buChar char="•"/>
              <a:defRPr lang="en-US" dirty="0">
                <a:solidFill>
                  <a:schemeClr val="bg1"/>
                </a:solidFill>
              </a:defRPr>
            </a:lvl1pPr>
            <a:lvl2pPr>
              <a:defRPr lang="en-US" dirty="0"/>
            </a:lvl2pPr>
          </a:lstStyle>
          <a:p>
            <a:pPr marL="0" lvl="0" indent="0">
              <a:buClr>
                <a:schemeClr val="bg1"/>
              </a:buClr>
              <a:buNone/>
            </a:pPr>
            <a:r>
              <a:rPr lang="en-US" dirty="0"/>
              <a:t> </a:t>
            </a:r>
          </a:p>
        </p:txBody>
      </p:sp>
      <p:sp>
        <p:nvSpPr>
          <p:cNvPr id="8" name="Text Placeholder 4">
            <a:extLst>
              <a:ext uri="{FF2B5EF4-FFF2-40B4-BE49-F238E27FC236}">
                <a16:creationId xmlns:a16="http://schemas.microsoft.com/office/drawing/2014/main" id="{5E29014A-1667-4104-A12B-5AC4AEA177A3}"/>
              </a:ext>
            </a:extLst>
          </p:cNvPr>
          <p:cNvSpPr>
            <a:spLocks noGrp="1"/>
          </p:cNvSpPr>
          <p:nvPr>
            <p:ph type="body" sz="quarter" idx="17"/>
          </p:nvPr>
        </p:nvSpPr>
        <p:spPr>
          <a:xfrm>
            <a:off x="424870" y="1720312"/>
            <a:ext cx="5169106" cy="4420512"/>
          </a:xfrm>
        </p:spPr>
        <p:txBody>
          <a:bodyPr vert="horz" lIns="0" tIns="0" rIns="0" bIns="0" rtlCol="0" anchor="ctr" anchorCtr="0">
            <a:noAutofit/>
          </a:bodyPr>
          <a:lstStyle>
            <a:lvl1pPr>
              <a:defRPr lang="en-US" dirty="0"/>
            </a:lvl1pPr>
          </a:lstStyle>
          <a:p>
            <a:pPr lvl="0"/>
            <a:r>
              <a:rPr lang="en-US"/>
              <a:t>Edit Master text styles</a:t>
            </a:r>
          </a:p>
        </p:txBody>
      </p:sp>
      <p:cxnSp>
        <p:nvCxnSpPr>
          <p:cNvPr id="9" name="Straight Connector 8">
            <a:extLst>
              <a:ext uri="{FF2B5EF4-FFF2-40B4-BE49-F238E27FC236}">
                <a16:creationId xmlns:a16="http://schemas.microsoft.com/office/drawing/2014/main" id="{B80151B9-AB40-4A0C-B4C6-C6086FB1E7D3}"/>
              </a:ext>
            </a:extLst>
          </p:cNvPr>
          <p:cNvCxnSpPr/>
          <p:nvPr/>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242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p:cSld name="Title &amp; 1 Image">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3047" y="1024137"/>
            <a:ext cx="12188953" cy="5833863"/>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9" name="Text Placeholder 33"/>
          <p:cNvSpPr>
            <a:spLocks noGrp="1"/>
          </p:cNvSpPr>
          <p:nvPr>
            <p:ph type="body" sz="quarter" idx="18" hasCustomPrompt="1"/>
          </p:nvPr>
        </p:nvSpPr>
        <p:spPr>
          <a:xfrm>
            <a:off x="420624" y="5239512"/>
            <a:ext cx="11338560" cy="1005840"/>
          </a:xfrm>
          <a:prstGeom prst="parallelogram">
            <a:avLst>
              <a:gd name="adj" fmla="val 30051"/>
            </a:avLst>
          </a:prstGeom>
          <a:solidFill>
            <a:schemeClr val="tx1">
              <a:lumMod val="75000"/>
              <a:alpha val="90000"/>
            </a:schemeClr>
          </a:solidFill>
          <a:ln w="19050">
            <a:noFill/>
          </a:ln>
        </p:spPr>
        <p:txBody>
          <a:bodyPr vert="horz" lIns="454941" tIns="37851" rIns="75702" bIns="72790" rtlCol="0" anchor="b">
            <a:noAutofit/>
          </a:bodyPr>
          <a:lstStyle>
            <a:lvl1pPr>
              <a:defRPr lang="en-US" sz="1094" dirty="0">
                <a:solidFill>
                  <a:schemeClr val="bg1"/>
                </a:solidFill>
                <a:latin typeface="Futura Std Medium" charset="0"/>
              </a:defRPr>
            </a:lvl1pPr>
          </a:lstStyle>
          <a:p>
            <a:pPr lvl="0"/>
            <a:r>
              <a:rPr lang="en-US" dirty="0"/>
              <a:t> </a:t>
            </a:r>
          </a:p>
        </p:txBody>
      </p:sp>
      <p:pic>
        <p:nvPicPr>
          <p:cNvPr id="13" name="Picture 12">
            <a:extLst>
              <a:ext uri="{FF2B5EF4-FFF2-40B4-BE49-F238E27FC236}">
                <a16:creationId xmlns:a16="http://schemas.microsoft.com/office/drawing/2014/main" id="{C7B7014C-EB32-49CA-8640-A8673EB040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10" name="Text Placeholder 27"/>
          <p:cNvSpPr>
            <a:spLocks noGrp="1"/>
          </p:cNvSpPr>
          <p:nvPr>
            <p:ph type="body" sz="quarter" idx="15" hasCustomPrompt="1"/>
          </p:nvPr>
        </p:nvSpPr>
        <p:spPr bwMode="gray">
          <a:xfrm>
            <a:off x="777071" y="5422392"/>
            <a:ext cx="10625667" cy="640080"/>
          </a:xfrm>
        </p:spPr>
        <p:txBody>
          <a:bodyPr anchor="ctr" anchorCtr="0">
            <a:noAutofit/>
          </a:bodyPr>
          <a:lstStyle>
            <a:lvl1pPr marL="0" indent="0" algn="ctr">
              <a:lnSpc>
                <a:spcPct val="90000"/>
              </a:lnSpc>
              <a:spcBef>
                <a:spcPts val="0"/>
              </a:spcBef>
              <a:buNone/>
              <a:defRPr sz="3200" cap="none" baseline="0">
                <a:solidFill>
                  <a:schemeClr val="bg1"/>
                </a:solidFill>
              </a:defRPr>
            </a:lvl1pPr>
          </a:lstStyle>
          <a:p>
            <a:pPr lvl="0"/>
            <a:r>
              <a:rPr lang="en-US" dirty="0"/>
              <a:t>Click to add text</a:t>
            </a:r>
          </a:p>
        </p:txBody>
      </p:sp>
      <p:sp>
        <p:nvSpPr>
          <p:cNvPr id="3" name="Title 2">
            <a:extLst>
              <a:ext uri="{FF2B5EF4-FFF2-40B4-BE49-F238E27FC236}">
                <a16:creationId xmlns:a16="http://schemas.microsoft.com/office/drawing/2014/main" id="{CD86BA76-D03A-447D-93D3-568F9DCEBFC4}"/>
              </a:ext>
            </a:extLst>
          </p:cNvPr>
          <p:cNvSpPr>
            <a:spLocks noGrp="1"/>
          </p:cNvSpPr>
          <p:nvPr>
            <p:ph type="title" hasCustomPrompt="1"/>
          </p:nvPr>
        </p:nvSpPr>
        <p:spPr/>
        <p:txBody>
          <a:bodyPr/>
          <a:lstStyle>
            <a:lvl1pPr>
              <a:defRPr/>
            </a:lvl1pPr>
          </a:lstStyle>
          <a:p>
            <a:r>
              <a:rPr lang="en-US"/>
              <a:t>Click to ADD TITLE</a:t>
            </a:r>
          </a:p>
        </p:txBody>
      </p:sp>
      <p:cxnSp>
        <p:nvCxnSpPr>
          <p:cNvPr id="11" name="Straight Connector 10">
            <a:extLst>
              <a:ext uri="{FF2B5EF4-FFF2-40B4-BE49-F238E27FC236}">
                <a16:creationId xmlns:a16="http://schemas.microsoft.com/office/drawing/2014/main" id="{6073180F-9071-4DD9-B8DE-15742A0899AE}"/>
              </a:ext>
            </a:extLst>
          </p:cNvPr>
          <p:cNvCxnSpPr/>
          <p:nvPr/>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4576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lue Number Divider">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302472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p:cSld name="Title &amp; 2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3047" y="1024137"/>
            <a:ext cx="6081233" cy="5833863"/>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6" name="Picture Placeholder 6"/>
          <p:cNvSpPr>
            <a:spLocks noGrp="1"/>
          </p:cNvSpPr>
          <p:nvPr>
            <p:ph type="pic" sz="quarter" idx="13"/>
          </p:nvPr>
        </p:nvSpPr>
        <p:spPr>
          <a:xfrm>
            <a:off x="6111240" y="1024137"/>
            <a:ext cx="6080760" cy="5833863"/>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9" name="Text Placeholder 33"/>
          <p:cNvSpPr>
            <a:spLocks noGrp="1"/>
          </p:cNvSpPr>
          <p:nvPr>
            <p:ph type="body" sz="quarter" idx="18" hasCustomPrompt="1"/>
          </p:nvPr>
        </p:nvSpPr>
        <p:spPr>
          <a:xfrm>
            <a:off x="420624" y="5239512"/>
            <a:ext cx="11338560" cy="1005840"/>
          </a:xfrm>
          <a:prstGeom prst="parallelogram">
            <a:avLst>
              <a:gd name="adj" fmla="val 30051"/>
            </a:avLst>
          </a:prstGeom>
          <a:solidFill>
            <a:schemeClr val="tx1">
              <a:lumMod val="75000"/>
              <a:alpha val="90000"/>
            </a:schemeClr>
          </a:solidFill>
          <a:ln w="19050">
            <a:noFill/>
          </a:ln>
        </p:spPr>
        <p:txBody>
          <a:bodyPr vert="horz" lIns="454941" tIns="37851" rIns="75702" bIns="72790" rtlCol="0" anchor="b">
            <a:noAutofit/>
          </a:bodyPr>
          <a:lstStyle>
            <a:lvl1pPr>
              <a:defRPr lang="en-US" sz="1094" dirty="0">
                <a:solidFill>
                  <a:schemeClr val="bg1"/>
                </a:solidFill>
                <a:latin typeface="Futura Std Medium" charset="0"/>
              </a:defRPr>
            </a:lvl1pPr>
          </a:lstStyle>
          <a:p>
            <a:pPr lvl="0"/>
            <a:r>
              <a:rPr lang="en-US" dirty="0"/>
              <a:t> </a:t>
            </a:r>
          </a:p>
        </p:txBody>
      </p:sp>
      <p:pic>
        <p:nvPicPr>
          <p:cNvPr id="13" name="Picture 12">
            <a:extLst>
              <a:ext uri="{FF2B5EF4-FFF2-40B4-BE49-F238E27FC236}">
                <a16:creationId xmlns:a16="http://schemas.microsoft.com/office/drawing/2014/main" id="{C7B7014C-EB32-49CA-8640-A8673EB040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14" name="Text Placeholder 2"/>
          <p:cNvSpPr>
            <a:spLocks noGrp="1"/>
          </p:cNvSpPr>
          <p:nvPr>
            <p:ph type="body" sz="quarter" idx="19" hasCustomPrompt="1"/>
          </p:nvPr>
        </p:nvSpPr>
        <p:spPr>
          <a:xfrm>
            <a:off x="6073141" y="1024136"/>
            <a:ext cx="45719" cy="5852160"/>
          </a:xfrm>
          <a:solidFill>
            <a:srgbClr val="465050"/>
          </a:solidFill>
        </p:spPr>
        <p:txBody>
          <a:bodyPr vert="horz" lIns="0" tIns="0" rIns="0" bIns="0" rtlCol="0">
            <a:noAutofit/>
          </a:bodyPr>
          <a:lstStyle>
            <a:lvl1pPr>
              <a:defRPr lang="en-US" sz="100" baseline="0" dirty="0"/>
            </a:lvl1pPr>
          </a:lstStyle>
          <a:p>
            <a:pPr marL="0" lvl="0" indent="0">
              <a:buNone/>
            </a:pPr>
            <a:r>
              <a:rPr lang="en-US" dirty="0"/>
              <a:t> </a:t>
            </a:r>
          </a:p>
        </p:txBody>
      </p:sp>
      <p:sp>
        <p:nvSpPr>
          <p:cNvPr id="10" name="Text Placeholder 27"/>
          <p:cNvSpPr>
            <a:spLocks noGrp="1"/>
          </p:cNvSpPr>
          <p:nvPr>
            <p:ph type="body" sz="quarter" idx="15" hasCustomPrompt="1"/>
          </p:nvPr>
        </p:nvSpPr>
        <p:spPr bwMode="gray">
          <a:xfrm>
            <a:off x="778932" y="5513832"/>
            <a:ext cx="5120640" cy="457200"/>
          </a:xfrm>
        </p:spPr>
        <p:txBody>
          <a:bodyPr anchor="ctr" anchorCtr="0">
            <a:noAutofit/>
          </a:bodyPr>
          <a:lstStyle>
            <a:lvl1pPr marL="0" indent="0" algn="ctr">
              <a:lnSpc>
                <a:spcPct val="90000"/>
              </a:lnSpc>
              <a:spcBef>
                <a:spcPts val="0"/>
              </a:spcBef>
              <a:buNone/>
              <a:defRPr sz="2800" cap="none" baseline="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289224" y="5513832"/>
            <a:ext cx="5120640" cy="457200"/>
          </a:xfrm>
        </p:spPr>
        <p:txBody>
          <a:bodyPr anchor="ctr" anchorCtr="0">
            <a:noAutofit/>
          </a:bodyPr>
          <a:lstStyle>
            <a:lvl1pPr marL="0" indent="0" algn="ctr">
              <a:lnSpc>
                <a:spcPct val="90000"/>
              </a:lnSpc>
              <a:spcBef>
                <a:spcPts val="0"/>
              </a:spcBef>
              <a:buNone/>
              <a:defRPr sz="2800" cap="none" baseline="0">
                <a:solidFill>
                  <a:schemeClr val="bg1"/>
                </a:solidFill>
              </a:defRPr>
            </a:lvl1pPr>
          </a:lstStyle>
          <a:p>
            <a:pPr lvl="0"/>
            <a:r>
              <a:rPr lang="en-US" dirty="0"/>
              <a:t>Click to add text</a:t>
            </a:r>
          </a:p>
        </p:txBody>
      </p:sp>
      <p:sp>
        <p:nvSpPr>
          <p:cNvPr id="3" name="Title 2">
            <a:extLst>
              <a:ext uri="{FF2B5EF4-FFF2-40B4-BE49-F238E27FC236}">
                <a16:creationId xmlns:a16="http://schemas.microsoft.com/office/drawing/2014/main" id="{51EFC05F-2B7B-4BAD-A295-538AB9F888EA}"/>
              </a:ext>
            </a:extLst>
          </p:cNvPr>
          <p:cNvSpPr>
            <a:spLocks noGrp="1"/>
          </p:cNvSpPr>
          <p:nvPr>
            <p:ph type="title" hasCustomPrompt="1"/>
          </p:nvPr>
        </p:nvSpPr>
        <p:spPr/>
        <p:txBody>
          <a:bodyPr/>
          <a:lstStyle>
            <a:lvl1pPr>
              <a:defRPr/>
            </a:lvl1pPr>
          </a:lstStyle>
          <a:p>
            <a:r>
              <a:rPr lang="en-US"/>
              <a:t>Click to ADD TITLE</a:t>
            </a:r>
          </a:p>
        </p:txBody>
      </p:sp>
      <p:cxnSp>
        <p:nvCxnSpPr>
          <p:cNvPr id="12" name="Straight Connector 11">
            <a:extLst>
              <a:ext uri="{FF2B5EF4-FFF2-40B4-BE49-F238E27FC236}">
                <a16:creationId xmlns:a16="http://schemas.microsoft.com/office/drawing/2014/main" id="{3943D539-707E-4EA6-AAC4-13B449A2E3E1}"/>
              </a:ext>
            </a:extLst>
          </p:cNvPr>
          <p:cNvCxnSpPr/>
          <p:nvPr/>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8823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Title &amp; 3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1024128"/>
            <a:ext cx="4114800" cy="583387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5" name="Picture Placeholder 25"/>
          <p:cNvSpPr>
            <a:spLocks noGrp="1"/>
          </p:cNvSpPr>
          <p:nvPr>
            <p:ph type="pic" sz="quarter" idx="14"/>
          </p:nvPr>
        </p:nvSpPr>
        <p:spPr>
          <a:xfrm>
            <a:off x="8077200" y="1024128"/>
            <a:ext cx="4114800" cy="583387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6" name="Picture Placeholder 6"/>
          <p:cNvSpPr>
            <a:spLocks noGrp="1"/>
          </p:cNvSpPr>
          <p:nvPr>
            <p:ph type="pic" sz="quarter" idx="13"/>
          </p:nvPr>
        </p:nvSpPr>
        <p:spPr>
          <a:xfrm>
            <a:off x="4124192" y="1024128"/>
            <a:ext cx="3931920" cy="583387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16" name="Text Placeholder 33"/>
          <p:cNvSpPr>
            <a:spLocks noGrp="1"/>
          </p:cNvSpPr>
          <p:nvPr>
            <p:ph type="body" sz="quarter" idx="18" hasCustomPrompt="1"/>
          </p:nvPr>
        </p:nvSpPr>
        <p:spPr>
          <a:xfrm>
            <a:off x="420624" y="5239512"/>
            <a:ext cx="11338560" cy="1005840"/>
          </a:xfrm>
          <a:prstGeom prst="parallelogram">
            <a:avLst>
              <a:gd name="adj" fmla="val 30682"/>
            </a:avLst>
          </a:prstGeom>
          <a:solidFill>
            <a:schemeClr val="tx1">
              <a:lumMod val="75000"/>
              <a:alpha val="90000"/>
            </a:schemeClr>
          </a:solidFill>
          <a:ln w="19050">
            <a:noFill/>
          </a:ln>
        </p:spPr>
        <p:txBody>
          <a:bodyPr vert="horz" lIns="454941" tIns="37851" rIns="75702" bIns="72790" rtlCol="0" anchor="b">
            <a:noAutofit/>
          </a:bodyPr>
          <a:lstStyle>
            <a:lvl1pPr>
              <a:defRPr lang="en-US" sz="1094" dirty="0">
                <a:solidFill>
                  <a:schemeClr val="bg1"/>
                </a:solidFill>
                <a:latin typeface="Futura Std Medium" charset="0"/>
              </a:defRPr>
            </a:lvl1pPr>
          </a:lstStyle>
          <a:p>
            <a:pPr lvl="0"/>
            <a:r>
              <a:rPr lang="en-US" dirty="0"/>
              <a:t> </a:t>
            </a:r>
          </a:p>
        </p:txBody>
      </p:sp>
      <p:sp>
        <p:nvSpPr>
          <p:cNvPr id="10" name="Text Placeholder 27"/>
          <p:cNvSpPr>
            <a:spLocks noGrp="1"/>
          </p:cNvSpPr>
          <p:nvPr>
            <p:ph type="body" sz="quarter" idx="15" hasCustomPrompt="1"/>
          </p:nvPr>
        </p:nvSpPr>
        <p:spPr bwMode="gray">
          <a:xfrm>
            <a:off x="804332" y="5513832"/>
            <a:ext cx="3108960" cy="457200"/>
          </a:xfrm>
        </p:spPr>
        <p:txBody>
          <a:bodyPr anchor="ctr" anchorCtr="0">
            <a:noAutofit/>
          </a:bodyPr>
          <a:lstStyle>
            <a:lvl1pPr marL="0" indent="0" algn="ctr">
              <a:lnSpc>
                <a:spcPct val="90000"/>
              </a:lnSpc>
              <a:spcBef>
                <a:spcPts val="0"/>
              </a:spcBef>
              <a:buNone/>
              <a:defRPr sz="2400" cap="none" baseline="0">
                <a:solidFill>
                  <a:schemeClr val="bg1"/>
                </a:solidFill>
              </a:defRPr>
            </a:lvl1pPr>
          </a:lstStyle>
          <a:p>
            <a:pPr lvl="0"/>
            <a:r>
              <a:rPr lang="en-US"/>
              <a:t>Click To Add Text</a:t>
            </a:r>
            <a:endParaRPr lang="en-US" dirty="0"/>
          </a:p>
        </p:txBody>
      </p:sp>
      <p:sp>
        <p:nvSpPr>
          <p:cNvPr id="11" name="Text Placeholder 29"/>
          <p:cNvSpPr>
            <a:spLocks noGrp="1"/>
          </p:cNvSpPr>
          <p:nvPr>
            <p:ph type="body" sz="quarter" idx="16" hasCustomPrompt="1"/>
          </p:nvPr>
        </p:nvSpPr>
        <p:spPr bwMode="gray">
          <a:xfrm>
            <a:off x="4444951" y="5513832"/>
            <a:ext cx="3291840" cy="457200"/>
          </a:xfrm>
        </p:spPr>
        <p:txBody>
          <a:bodyPr anchor="ctr" anchorCtr="0">
            <a:noAutofit/>
          </a:bodyPr>
          <a:lstStyle>
            <a:lvl1pPr marL="0" indent="0" algn="ctr">
              <a:lnSpc>
                <a:spcPct val="90000"/>
              </a:lnSpc>
              <a:spcBef>
                <a:spcPts val="0"/>
              </a:spcBef>
              <a:buNone/>
              <a:defRPr sz="2400" cap="none" baseline="0">
                <a:solidFill>
                  <a:schemeClr val="bg1"/>
                </a:solidFill>
              </a:defRPr>
            </a:lvl1pPr>
          </a:lstStyle>
          <a:p>
            <a:pPr lvl="0"/>
            <a:r>
              <a:rPr lang="en-US"/>
              <a:t>Click To Add Text</a:t>
            </a:r>
            <a:endParaRPr lang="en-US" dirty="0"/>
          </a:p>
        </p:txBody>
      </p:sp>
      <p:sp>
        <p:nvSpPr>
          <p:cNvPr id="13" name="Text Placeholder 31"/>
          <p:cNvSpPr>
            <a:spLocks noGrp="1"/>
          </p:cNvSpPr>
          <p:nvPr>
            <p:ph type="body" sz="quarter" idx="17" hasCustomPrompt="1"/>
          </p:nvPr>
        </p:nvSpPr>
        <p:spPr bwMode="gray">
          <a:xfrm>
            <a:off x="8270598" y="5513832"/>
            <a:ext cx="3108960" cy="457200"/>
          </a:xfrm>
        </p:spPr>
        <p:txBody>
          <a:bodyPr anchor="ctr" anchorCtr="0">
            <a:noAutofit/>
          </a:bodyPr>
          <a:lstStyle>
            <a:lvl1pPr marL="0" indent="0" algn="ctr">
              <a:lnSpc>
                <a:spcPct val="90000"/>
              </a:lnSpc>
              <a:spcBef>
                <a:spcPts val="0"/>
              </a:spcBef>
              <a:buNone/>
              <a:defRPr sz="2400" cap="none" baseline="0">
                <a:solidFill>
                  <a:schemeClr val="bg1"/>
                </a:solidFill>
              </a:defRPr>
            </a:lvl1pPr>
          </a:lstStyle>
          <a:p>
            <a:pPr lvl="0"/>
            <a:r>
              <a:rPr lang="en-US"/>
              <a:t>Click To Add Text</a:t>
            </a:r>
            <a:endParaRPr lang="en-US" dirty="0"/>
          </a:p>
        </p:txBody>
      </p:sp>
      <p:sp>
        <p:nvSpPr>
          <p:cNvPr id="14" name="Text Placeholder 2"/>
          <p:cNvSpPr>
            <a:spLocks noGrp="1"/>
          </p:cNvSpPr>
          <p:nvPr>
            <p:ph type="body" sz="quarter" idx="19" hasCustomPrompt="1"/>
          </p:nvPr>
        </p:nvSpPr>
        <p:spPr>
          <a:xfrm>
            <a:off x="4091862" y="1024128"/>
            <a:ext cx="45719" cy="5852160"/>
          </a:xfrm>
          <a:solidFill>
            <a:srgbClr val="465050"/>
          </a:solidFill>
        </p:spPr>
        <p:txBody>
          <a:bodyPr vert="horz" lIns="0" tIns="0" rIns="0" bIns="0" rtlCol="0">
            <a:noAutofit/>
          </a:bodyPr>
          <a:lstStyle>
            <a:lvl1pPr>
              <a:defRPr lang="en-US" sz="100" baseline="0" dirty="0"/>
            </a:lvl1pPr>
          </a:lstStyle>
          <a:p>
            <a:pPr marL="0" lvl="0" indent="0">
              <a:buNone/>
            </a:pPr>
            <a:r>
              <a:rPr lang="en-US" dirty="0"/>
              <a:t> </a:t>
            </a:r>
          </a:p>
        </p:txBody>
      </p:sp>
      <p:sp>
        <p:nvSpPr>
          <p:cNvPr id="15" name="Text Placeholder 10"/>
          <p:cNvSpPr>
            <a:spLocks noGrp="1"/>
          </p:cNvSpPr>
          <p:nvPr>
            <p:ph type="body" sz="quarter" idx="20" hasCustomPrompt="1"/>
          </p:nvPr>
        </p:nvSpPr>
        <p:spPr>
          <a:xfrm>
            <a:off x="8042723" y="1024128"/>
            <a:ext cx="47866" cy="5852160"/>
          </a:xfrm>
          <a:solidFill>
            <a:srgbClr val="465050"/>
          </a:solidFill>
        </p:spPr>
        <p:txBody>
          <a:bodyPr vert="horz" lIns="0" tIns="0" rIns="0" bIns="0" rtlCol="0">
            <a:noAutofit/>
          </a:bodyPr>
          <a:lstStyle>
            <a:lvl1pPr>
              <a:defRPr lang="en-US" sz="100" baseline="0" dirty="0"/>
            </a:lvl1pPr>
          </a:lstStyle>
          <a:p>
            <a:pPr marL="0" lvl="0" indent="0">
              <a:buNone/>
            </a:pPr>
            <a:r>
              <a:rPr lang="en-US" dirty="0"/>
              <a:t> </a:t>
            </a:r>
          </a:p>
        </p:txBody>
      </p:sp>
      <p:pic>
        <p:nvPicPr>
          <p:cNvPr id="17" name="Picture 16">
            <a:extLst>
              <a:ext uri="{FF2B5EF4-FFF2-40B4-BE49-F238E27FC236}">
                <a16:creationId xmlns:a16="http://schemas.microsoft.com/office/drawing/2014/main" id="{64B10EDE-2F38-4F07-805A-27611CDDC7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3" name="Title 2">
            <a:extLst>
              <a:ext uri="{FF2B5EF4-FFF2-40B4-BE49-F238E27FC236}">
                <a16:creationId xmlns:a16="http://schemas.microsoft.com/office/drawing/2014/main" id="{151FE5D1-51EB-4B07-8D1E-65BD37C8B29D}"/>
              </a:ext>
            </a:extLst>
          </p:cNvPr>
          <p:cNvSpPr>
            <a:spLocks noGrp="1"/>
          </p:cNvSpPr>
          <p:nvPr>
            <p:ph type="title" hasCustomPrompt="1"/>
          </p:nvPr>
        </p:nvSpPr>
        <p:spPr/>
        <p:txBody>
          <a:bodyPr/>
          <a:lstStyle>
            <a:lvl1pPr>
              <a:defRPr/>
            </a:lvl1pPr>
          </a:lstStyle>
          <a:p>
            <a:r>
              <a:rPr lang="en-US"/>
              <a:t>Click to ADD TITLE</a:t>
            </a:r>
          </a:p>
        </p:txBody>
      </p:sp>
      <p:cxnSp>
        <p:nvCxnSpPr>
          <p:cNvPr id="18" name="Straight Connector 17">
            <a:extLst>
              <a:ext uri="{FF2B5EF4-FFF2-40B4-BE49-F238E27FC236}">
                <a16:creationId xmlns:a16="http://schemas.microsoft.com/office/drawing/2014/main" id="{06EA9A7C-A7A8-40E9-9E64-EA867BAEF1E4}"/>
              </a:ext>
            </a:extLst>
          </p:cNvPr>
          <p:cNvCxnSpPr/>
          <p:nvPr/>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94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Title &amp; 4 Images">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41E98210-3B61-406A-92F0-0EA102D53068}"/>
              </a:ext>
            </a:extLst>
          </p:cNvPr>
          <p:cNvSpPr>
            <a:spLocks noGrp="1"/>
          </p:cNvSpPr>
          <p:nvPr>
            <p:ph type="pic" sz="quarter" idx="25"/>
          </p:nvPr>
        </p:nvSpPr>
        <p:spPr>
          <a:xfrm>
            <a:off x="9155113" y="1024128"/>
            <a:ext cx="3036887" cy="5833872"/>
          </a:xfrm>
        </p:spPr>
        <p:txBody>
          <a:bodyPr anchor="ctr" anchorCtr="0"/>
          <a:lstStyle>
            <a:lvl1pPr marL="0" indent="0" algn="ctr">
              <a:buFontTx/>
              <a:buNone/>
              <a:defRPr/>
            </a:lvl1pPr>
          </a:lstStyle>
          <a:p>
            <a:r>
              <a:rPr lang="en-US"/>
              <a:t>Click icon to add picture</a:t>
            </a:r>
          </a:p>
        </p:txBody>
      </p:sp>
      <p:sp>
        <p:nvSpPr>
          <p:cNvPr id="7" name="Picture Placeholder 3"/>
          <p:cNvSpPr>
            <a:spLocks noGrp="1"/>
          </p:cNvSpPr>
          <p:nvPr>
            <p:ph type="pic" sz="quarter" idx="12"/>
          </p:nvPr>
        </p:nvSpPr>
        <p:spPr>
          <a:xfrm>
            <a:off x="0" y="1024128"/>
            <a:ext cx="3017520" cy="583387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5" name="Picture Placeholder 25"/>
          <p:cNvSpPr>
            <a:spLocks noGrp="1"/>
          </p:cNvSpPr>
          <p:nvPr>
            <p:ph type="pic" sz="quarter" idx="14"/>
          </p:nvPr>
        </p:nvSpPr>
        <p:spPr>
          <a:xfrm>
            <a:off x="6097317" y="1024128"/>
            <a:ext cx="3017520" cy="583387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6" name="Picture Placeholder 6"/>
          <p:cNvSpPr>
            <a:spLocks noGrp="1"/>
          </p:cNvSpPr>
          <p:nvPr>
            <p:ph type="pic" sz="quarter" idx="13"/>
          </p:nvPr>
        </p:nvSpPr>
        <p:spPr>
          <a:xfrm>
            <a:off x="3047585" y="1024128"/>
            <a:ext cx="3017520" cy="583387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16" name="Text Placeholder 33"/>
          <p:cNvSpPr>
            <a:spLocks noGrp="1"/>
          </p:cNvSpPr>
          <p:nvPr>
            <p:ph type="body" sz="quarter" idx="18" hasCustomPrompt="1"/>
          </p:nvPr>
        </p:nvSpPr>
        <p:spPr>
          <a:xfrm>
            <a:off x="179178" y="5239512"/>
            <a:ext cx="11833644" cy="1005840"/>
          </a:xfrm>
          <a:prstGeom prst="parallelogram">
            <a:avLst>
              <a:gd name="adj" fmla="val 28788"/>
            </a:avLst>
          </a:prstGeom>
          <a:solidFill>
            <a:schemeClr val="tx1">
              <a:lumMod val="75000"/>
              <a:alpha val="90000"/>
            </a:schemeClr>
          </a:solidFill>
          <a:ln w="19050">
            <a:noFill/>
          </a:ln>
        </p:spPr>
        <p:txBody>
          <a:bodyPr vert="horz" lIns="454941" tIns="37851" rIns="75702" bIns="72790" rtlCol="0" anchor="b">
            <a:noAutofit/>
          </a:bodyPr>
          <a:lstStyle>
            <a:lvl1pPr>
              <a:defRPr lang="en-US" sz="1094" dirty="0">
                <a:solidFill>
                  <a:schemeClr val="bg1"/>
                </a:solidFill>
                <a:latin typeface="Futura Std Medium" charset="0"/>
              </a:defRPr>
            </a:lvl1pPr>
          </a:lstStyle>
          <a:p>
            <a:pPr lvl="0"/>
            <a:r>
              <a:rPr lang="en-US" dirty="0"/>
              <a:t> </a:t>
            </a:r>
          </a:p>
        </p:txBody>
      </p:sp>
      <p:sp>
        <p:nvSpPr>
          <p:cNvPr id="10" name="Text Placeholder 27"/>
          <p:cNvSpPr>
            <a:spLocks noGrp="1"/>
          </p:cNvSpPr>
          <p:nvPr>
            <p:ph type="body" sz="quarter" idx="15" hasCustomPrompt="1"/>
          </p:nvPr>
        </p:nvSpPr>
        <p:spPr bwMode="gray">
          <a:xfrm>
            <a:off x="406939" y="5513832"/>
            <a:ext cx="2514600" cy="457200"/>
          </a:xfrm>
        </p:spPr>
        <p:txBody>
          <a:bodyPr anchor="ctr" anchorCtr="0">
            <a:noAutofit/>
          </a:bodyPr>
          <a:lstStyle>
            <a:lvl1pPr marL="0" indent="0" algn="ctr">
              <a:lnSpc>
                <a:spcPct val="90000"/>
              </a:lnSpc>
              <a:spcBef>
                <a:spcPts val="0"/>
              </a:spcBef>
              <a:buNone/>
              <a:defRPr sz="2000" cap="none" baseline="0">
                <a:solidFill>
                  <a:schemeClr val="bg1"/>
                </a:solidFill>
              </a:defRPr>
            </a:lvl1pPr>
          </a:lstStyle>
          <a:p>
            <a:pPr lvl="0"/>
            <a:r>
              <a:rPr lang="en-US"/>
              <a:t>Click to add text</a:t>
            </a:r>
            <a:endParaRPr lang="en-US" dirty="0"/>
          </a:p>
        </p:txBody>
      </p:sp>
      <p:sp>
        <p:nvSpPr>
          <p:cNvPr id="11" name="Text Placeholder 29"/>
          <p:cNvSpPr>
            <a:spLocks noGrp="1"/>
          </p:cNvSpPr>
          <p:nvPr>
            <p:ph type="body" sz="quarter" idx="16" hasCustomPrompt="1"/>
          </p:nvPr>
        </p:nvSpPr>
        <p:spPr bwMode="gray">
          <a:xfrm>
            <a:off x="3141737" y="5513832"/>
            <a:ext cx="2834640" cy="457200"/>
          </a:xfrm>
        </p:spPr>
        <p:txBody>
          <a:bodyPr vert="horz" lIns="0" tIns="0" rIns="0" bIns="0" rtlCol="0" anchor="ctr" anchorCtr="0">
            <a:noAutofit/>
          </a:bodyPr>
          <a:lstStyle>
            <a:lvl1pPr algn="ctr">
              <a:spcBef>
                <a:spcPts val="0"/>
              </a:spcBef>
              <a:defRPr lang="en-US" sz="2000" cap="none" baseline="0" dirty="0">
                <a:solidFill>
                  <a:schemeClr val="bg1"/>
                </a:solidFill>
              </a:defRPr>
            </a:lvl1pPr>
          </a:lstStyle>
          <a:p>
            <a:pPr marL="0" lvl="0" indent="0" algn="ctr">
              <a:buNone/>
            </a:pPr>
            <a:r>
              <a:rPr lang="en-US"/>
              <a:t>Click to add text</a:t>
            </a:r>
            <a:endParaRPr lang="en-US" dirty="0"/>
          </a:p>
        </p:txBody>
      </p:sp>
      <p:sp>
        <p:nvSpPr>
          <p:cNvPr id="13" name="Text Placeholder 31"/>
          <p:cNvSpPr>
            <a:spLocks noGrp="1"/>
          </p:cNvSpPr>
          <p:nvPr>
            <p:ph type="body" sz="quarter" idx="17" hasCustomPrompt="1"/>
          </p:nvPr>
        </p:nvSpPr>
        <p:spPr bwMode="gray">
          <a:xfrm>
            <a:off x="6190347" y="5513832"/>
            <a:ext cx="2832812" cy="457200"/>
          </a:xfrm>
        </p:spPr>
        <p:txBody>
          <a:bodyPr vert="horz" lIns="0" tIns="0" rIns="0" bIns="0" rtlCol="0" anchor="ctr" anchorCtr="0">
            <a:noAutofit/>
          </a:bodyPr>
          <a:lstStyle>
            <a:lvl1pPr algn="ctr">
              <a:spcBef>
                <a:spcPts val="0"/>
              </a:spcBef>
              <a:defRPr lang="en-US" sz="2000" cap="none" baseline="0" dirty="0">
                <a:solidFill>
                  <a:schemeClr val="bg1"/>
                </a:solidFill>
              </a:defRPr>
            </a:lvl1pPr>
          </a:lstStyle>
          <a:p>
            <a:pPr marL="0" lvl="0" indent="0" algn="ctr">
              <a:buNone/>
            </a:pPr>
            <a:r>
              <a:rPr lang="en-US"/>
              <a:t>Click to add text</a:t>
            </a:r>
            <a:endParaRPr lang="en-US" dirty="0"/>
          </a:p>
        </p:txBody>
      </p:sp>
      <p:sp>
        <p:nvSpPr>
          <p:cNvPr id="14" name="Text Placeholder 2"/>
          <p:cNvSpPr>
            <a:spLocks noGrp="1"/>
          </p:cNvSpPr>
          <p:nvPr>
            <p:ph type="body" sz="quarter" idx="19" hasCustomPrompt="1"/>
          </p:nvPr>
        </p:nvSpPr>
        <p:spPr>
          <a:xfrm>
            <a:off x="3009693" y="1024128"/>
            <a:ext cx="45719" cy="5852160"/>
          </a:xfrm>
          <a:solidFill>
            <a:srgbClr val="465050"/>
          </a:solidFill>
        </p:spPr>
        <p:txBody>
          <a:bodyPr vert="horz" lIns="0" tIns="0" rIns="0" bIns="0" rtlCol="0">
            <a:noAutofit/>
          </a:bodyPr>
          <a:lstStyle>
            <a:lvl1pPr>
              <a:defRPr lang="en-US" sz="100" baseline="0" smtClean="0"/>
            </a:lvl1pPr>
          </a:lstStyle>
          <a:p>
            <a:pPr marL="0" lvl="0" indent="0">
              <a:buNone/>
            </a:pPr>
            <a:r>
              <a:rPr lang="en-US"/>
              <a:t> </a:t>
            </a:r>
          </a:p>
        </p:txBody>
      </p:sp>
      <p:sp>
        <p:nvSpPr>
          <p:cNvPr id="15" name="Text Placeholder 10"/>
          <p:cNvSpPr>
            <a:spLocks noGrp="1"/>
          </p:cNvSpPr>
          <p:nvPr>
            <p:ph type="body" sz="quarter" idx="20" hasCustomPrompt="1"/>
          </p:nvPr>
        </p:nvSpPr>
        <p:spPr>
          <a:xfrm>
            <a:off x="6057278" y="1024128"/>
            <a:ext cx="47866" cy="5852160"/>
          </a:xfrm>
          <a:solidFill>
            <a:srgbClr val="465050"/>
          </a:solidFill>
        </p:spPr>
        <p:txBody>
          <a:bodyPr/>
          <a:lstStyle>
            <a:lvl1pPr marL="0" indent="0">
              <a:buNone/>
              <a:defRPr sz="100" baseline="0"/>
            </a:lvl1pPr>
          </a:lstStyle>
          <a:p>
            <a:pPr lvl="0"/>
            <a:r>
              <a:rPr lang="en-US"/>
              <a:t>  </a:t>
            </a:r>
            <a:endParaRPr lang="en-US" dirty="0"/>
          </a:p>
        </p:txBody>
      </p:sp>
      <p:pic>
        <p:nvPicPr>
          <p:cNvPr id="17" name="Picture 16">
            <a:extLst>
              <a:ext uri="{FF2B5EF4-FFF2-40B4-BE49-F238E27FC236}">
                <a16:creationId xmlns:a16="http://schemas.microsoft.com/office/drawing/2014/main" id="{64B10EDE-2F38-4F07-805A-27611CDDC7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19" name="Text Placeholder 10">
            <a:extLst>
              <a:ext uri="{FF2B5EF4-FFF2-40B4-BE49-F238E27FC236}">
                <a16:creationId xmlns:a16="http://schemas.microsoft.com/office/drawing/2014/main" id="{A99E06A1-DC41-4065-AB83-0AB81BDF46DE}"/>
              </a:ext>
            </a:extLst>
          </p:cNvPr>
          <p:cNvSpPr>
            <a:spLocks noGrp="1"/>
          </p:cNvSpPr>
          <p:nvPr>
            <p:ph type="body" sz="quarter" idx="23" hasCustomPrompt="1"/>
          </p:nvPr>
        </p:nvSpPr>
        <p:spPr>
          <a:xfrm>
            <a:off x="9107010" y="1024128"/>
            <a:ext cx="47866" cy="5852160"/>
          </a:xfrm>
          <a:solidFill>
            <a:srgbClr val="465050"/>
          </a:solidFill>
        </p:spPr>
        <p:txBody>
          <a:bodyPr vert="horz" lIns="0" tIns="0" rIns="0" bIns="0" rtlCol="0">
            <a:noAutofit/>
          </a:bodyPr>
          <a:lstStyle>
            <a:lvl1pPr>
              <a:defRPr lang="en-US" sz="100" baseline="0" dirty="0"/>
            </a:lvl1pPr>
          </a:lstStyle>
          <a:p>
            <a:pPr marL="0" lvl="0" indent="0">
              <a:buNone/>
            </a:pPr>
            <a:r>
              <a:rPr lang="en-US"/>
              <a:t>  </a:t>
            </a:r>
            <a:endParaRPr lang="en-US" dirty="0"/>
          </a:p>
        </p:txBody>
      </p:sp>
      <p:sp>
        <p:nvSpPr>
          <p:cNvPr id="9" name="Text Placeholder 8">
            <a:extLst>
              <a:ext uri="{FF2B5EF4-FFF2-40B4-BE49-F238E27FC236}">
                <a16:creationId xmlns:a16="http://schemas.microsoft.com/office/drawing/2014/main" id="{C36BD653-3D98-4AC9-9964-E7ECEDC460CC}"/>
              </a:ext>
            </a:extLst>
          </p:cNvPr>
          <p:cNvSpPr>
            <a:spLocks noGrp="1"/>
          </p:cNvSpPr>
          <p:nvPr>
            <p:ph type="body" sz="quarter" idx="24"/>
          </p:nvPr>
        </p:nvSpPr>
        <p:spPr bwMode="ltGray">
          <a:xfrm>
            <a:off x="9237129" y="5513832"/>
            <a:ext cx="2514600" cy="457200"/>
          </a:xfrm>
        </p:spPr>
        <p:txBody>
          <a:bodyPr vert="horz" lIns="0" tIns="0" rIns="0" bIns="0" rtlCol="0" anchor="ctr" anchorCtr="0">
            <a:noAutofit/>
          </a:bodyPr>
          <a:lstStyle>
            <a:lvl1pPr algn="ctr">
              <a:spcBef>
                <a:spcPts val="0"/>
              </a:spcBef>
              <a:defRPr lang="en-US" sz="2000" cap="none" baseline="0">
                <a:solidFill>
                  <a:schemeClr val="bg1"/>
                </a:solidFill>
              </a:defRPr>
            </a:lvl1pPr>
          </a:lstStyle>
          <a:p>
            <a:pPr marL="0" lvl="0" indent="0" algn="ctr">
              <a:buNone/>
            </a:pPr>
            <a:r>
              <a:rPr lang="en-US"/>
              <a:t>Edit Master text styles</a:t>
            </a:r>
          </a:p>
        </p:txBody>
      </p:sp>
      <p:sp>
        <p:nvSpPr>
          <p:cNvPr id="3" name="Title 2">
            <a:extLst>
              <a:ext uri="{FF2B5EF4-FFF2-40B4-BE49-F238E27FC236}">
                <a16:creationId xmlns:a16="http://schemas.microsoft.com/office/drawing/2014/main" id="{095B3BF7-A00B-418D-A4C6-91EB41110ADB}"/>
              </a:ext>
            </a:extLst>
          </p:cNvPr>
          <p:cNvSpPr>
            <a:spLocks noGrp="1"/>
          </p:cNvSpPr>
          <p:nvPr>
            <p:ph type="title" hasCustomPrompt="1"/>
          </p:nvPr>
        </p:nvSpPr>
        <p:spPr/>
        <p:txBody>
          <a:bodyPr/>
          <a:lstStyle>
            <a:lvl1pPr>
              <a:defRPr/>
            </a:lvl1pPr>
          </a:lstStyle>
          <a:p>
            <a:r>
              <a:rPr lang="en-US"/>
              <a:t>Click to ADD TITLE</a:t>
            </a:r>
          </a:p>
        </p:txBody>
      </p:sp>
      <p:cxnSp>
        <p:nvCxnSpPr>
          <p:cNvPr id="18" name="Straight Connector 17">
            <a:extLst>
              <a:ext uri="{FF2B5EF4-FFF2-40B4-BE49-F238E27FC236}">
                <a16:creationId xmlns:a16="http://schemas.microsoft.com/office/drawing/2014/main" id="{600D4459-2BBF-4C4E-BC46-E65DF78F446D}"/>
              </a:ext>
            </a:extLst>
          </p:cNvPr>
          <p:cNvCxnSpPr/>
          <p:nvPr/>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122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Case Study">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3047" y="1024137"/>
            <a:ext cx="12188953" cy="5833863"/>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9" name="Text Placeholder 33"/>
          <p:cNvSpPr>
            <a:spLocks noGrp="1"/>
          </p:cNvSpPr>
          <p:nvPr>
            <p:ph type="body" sz="quarter" idx="18" hasCustomPrompt="1"/>
          </p:nvPr>
        </p:nvSpPr>
        <p:spPr>
          <a:xfrm>
            <a:off x="-510706" y="4749440"/>
            <a:ext cx="9248306" cy="1495912"/>
          </a:xfrm>
          <a:prstGeom prst="parallelogram">
            <a:avLst>
              <a:gd name="adj" fmla="val 30051"/>
            </a:avLst>
          </a:prstGeom>
          <a:solidFill>
            <a:schemeClr val="tx1">
              <a:lumMod val="75000"/>
              <a:alpha val="90000"/>
            </a:schemeClr>
          </a:solidFill>
          <a:ln w="19050">
            <a:noFill/>
          </a:ln>
        </p:spPr>
        <p:txBody>
          <a:bodyPr vert="horz" lIns="454941" tIns="37851" rIns="75702" bIns="72790" rtlCol="0" anchor="b">
            <a:noAutofit/>
          </a:bodyPr>
          <a:lstStyle>
            <a:lvl1pPr>
              <a:defRPr lang="en-US" sz="1094" dirty="0">
                <a:solidFill>
                  <a:schemeClr val="bg1"/>
                </a:solidFill>
                <a:latin typeface="Futura Std Medium" charset="0"/>
              </a:defRPr>
            </a:lvl1pPr>
          </a:lstStyle>
          <a:p>
            <a:pPr lvl="0"/>
            <a:r>
              <a:rPr lang="en-US" dirty="0"/>
              <a:t> </a:t>
            </a:r>
          </a:p>
        </p:txBody>
      </p:sp>
      <p:pic>
        <p:nvPicPr>
          <p:cNvPr id="13" name="Picture 12">
            <a:extLst>
              <a:ext uri="{FF2B5EF4-FFF2-40B4-BE49-F238E27FC236}">
                <a16:creationId xmlns:a16="http://schemas.microsoft.com/office/drawing/2014/main" id="{C7B7014C-EB32-49CA-8640-A8673EB040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10" name="Text Placeholder 27"/>
          <p:cNvSpPr>
            <a:spLocks noGrp="1"/>
          </p:cNvSpPr>
          <p:nvPr>
            <p:ph type="body" sz="quarter" idx="15" hasCustomPrompt="1"/>
          </p:nvPr>
        </p:nvSpPr>
        <p:spPr bwMode="gray">
          <a:xfrm>
            <a:off x="406940" y="4836996"/>
            <a:ext cx="7863840" cy="1320800"/>
          </a:xfrm>
        </p:spPr>
        <p:txBody>
          <a:bodyPr anchor="ctr" anchorCtr="0">
            <a:noAutofit/>
          </a:bodyPr>
          <a:lstStyle>
            <a:lvl1pPr marL="0" indent="0" algn="l">
              <a:lnSpc>
                <a:spcPct val="100000"/>
              </a:lnSpc>
              <a:spcBef>
                <a:spcPts val="0"/>
              </a:spcBef>
              <a:buNone/>
              <a:defRPr sz="2000" cap="none" baseline="0">
                <a:solidFill>
                  <a:schemeClr val="bg1"/>
                </a:solidFill>
              </a:defRPr>
            </a:lvl1pPr>
          </a:lstStyle>
          <a:p>
            <a:pPr lvl="0"/>
            <a:r>
              <a:rPr lang="en-US" dirty="0"/>
              <a:t>Click to add text</a:t>
            </a:r>
          </a:p>
        </p:txBody>
      </p:sp>
      <p:sp>
        <p:nvSpPr>
          <p:cNvPr id="14" name="Text Placeholder 33">
            <a:extLst>
              <a:ext uri="{FF2B5EF4-FFF2-40B4-BE49-F238E27FC236}">
                <a16:creationId xmlns:a16="http://schemas.microsoft.com/office/drawing/2014/main" id="{B1ED78A0-A56B-4703-A84F-DDB45C4928AA}"/>
              </a:ext>
            </a:extLst>
          </p:cNvPr>
          <p:cNvSpPr>
            <a:spLocks noGrp="1"/>
          </p:cNvSpPr>
          <p:nvPr>
            <p:ph type="body" sz="quarter" idx="22"/>
          </p:nvPr>
        </p:nvSpPr>
        <p:spPr>
          <a:xfrm>
            <a:off x="8280401" y="4749440"/>
            <a:ext cx="2926080" cy="1495912"/>
          </a:xfrm>
          <a:prstGeom prst="parallelogram">
            <a:avLst>
              <a:gd name="adj" fmla="val 30051"/>
            </a:avLst>
          </a:pr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Futura Std Medium" charset="0"/>
              </a:defRPr>
            </a:lvl1pPr>
          </a:lstStyle>
          <a:p>
            <a:pPr lvl="0"/>
            <a:r>
              <a:rPr lang="en-US"/>
              <a:t>Edit Master text styles</a:t>
            </a:r>
          </a:p>
        </p:txBody>
      </p:sp>
      <p:sp>
        <p:nvSpPr>
          <p:cNvPr id="2" name="Title 1">
            <a:extLst>
              <a:ext uri="{FF2B5EF4-FFF2-40B4-BE49-F238E27FC236}">
                <a16:creationId xmlns:a16="http://schemas.microsoft.com/office/drawing/2014/main" id="{A6571AC3-625A-4C34-ACE1-5D93DAC1F54B}"/>
              </a:ext>
            </a:extLst>
          </p:cNvPr>
          <p:cNvSpPr>
            <a:spLocks noGrp="1"/>
          </p:cNvSpPr>
          <p:nvPr>
            <p:ph type="title" hasCustomPrompt="1"/>
          </p:nvPr>
        </p:nvSpPr>
        <p:spPr/>
        <p:txBody>
          <a:bodyPr anchor="ctr" anchorCtr="0"/>
          <a:lstStyle>
            <a:lvl1pPr>
              <a:defRPr/>
            </a:lvl1pPr>
          </a:lstStyle>
          <a:p>
            <a:r>
              <a:rPr lang="en-US"/>
              <a:t>Click to ADD TITLE</a:t>
            </a:r>
          </a:p>
        </p:txBody>
      </p:sp>
      <p:sp>
        <p:nvSpPr>
          <p:cNvPr id="11" name="Content Placeholder 10">
            <a:extLst>
              <a:ext uri="{FF2B5EF4-FFF2-40B4-BE49-F238E27FC236}">
                <a16:creationId xmlns:a16="http://schemas.microsoft.com/office/drawing/2014/main" id="{E31CBF66-77EF-44DB-ACBB-09A4D8263E88}"/>
              </a:ext>
            </a:extLst>
          </p:cNvPr>
          <p:cNvSpPr>
            <a:spLocks noGrp="1"/>
          </p:cNvSpPr>
          <p:nvPr>
            <p:ph sz="quarter" idx="23" hasCustomPrompt="1"/>
          </p:nvPr>
        </p:nvSpPr>
        <p:spPr>
          <a:xfrm>
            <a:off x="8812248" y="4836996"/>
            <a:ext cx="1920240" cy="1320800"/>
          </a:xfrm>
        </p:spPr>
        <p:txBody>
          <a:bodyPr anchor="b" anchorCtr="0"/>
          <a:lstStyle>
            <a:lvl1pPr marL="0" indent="0" algn="ctr">
              <a:buFontTx/>
              <a:buNone/>
              <a:defRPr sz="1200"/>
            </a:lvl1pPr>
            <a:lvl2pPr marL="386674" indent="0">
              <a:buFontTx/>
              <a:buNone/>
              <a:defRPr/>
            </a:lvl2pPr>
            <a:lvl3pPr marL="704088" indent="0">
              <a:buFontTx/>
              <a:buNone/>
              <a:defRPr/>
            </a:lvl3pPr>
            <a:lvl4pPr marL="987552" indent="0">
              <a:buFontTx/>
              <a:buNone/>
              <a:defRPr/>
            </a:lvl4pPr>
            <a:lvl5pPr marL="1261872" indent="0">
              <a:buFontTx/>
              <a:buNone/>
              <a:defRPr/>
            </a:lvl5pPr>
          </a:lstStyle>
          <a:p>
            <a:pPr lvl="0"/>
            <a:r>
              <a:rPr lang="en-US"/>
              <a:t>Click on insert picture icon to insert logo</a:t>
            </a:r>
          </a:p>
        </p:txBody>
      </p:sp>
      <p:cxnSp>
        <p:nvCxnSpPr>
          <p:cNvPr id="12" name="Straight Connector 11">
            <a:extLst>
              <a:ext uri="{FF2B5EF4-FFF2-40B4-BE49-F238E27FC236}">
                <a16:creationId xmlns:a16="http://schemas.microsoft.com/office/drawing/2014/main" id="{2F772A10-09E0-42AF-8D63-44A86DEE3550}"/>
              </a:ext>
            </a:extLst>
          </p:cNvPr>
          <p:cNvCxnSpPr/>
          <p:nvPr/>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929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Closing Slide">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3155715-9B8A-4254-9DB4-FAD6881A923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72087" y="4043606"/>
            <a:ext cx="3252063" cy="1265243"/>
          </a:xfrm>
          <a:prstGeom prst="rect">
            <a:avLst/>
          </a:prstGeom>
        </p:spPr>
      </p:pic>
      <p:sp>
        <p:nvSpPr>
          <p:cNvPr id="4" name="Rectangle 4">
            <a:extLst>
              <a:ext uri="{FF2B5EF4-FFF2-40B4-BE49-F238E27FC236}">
                <a16:creationId xmlns:a16="http://schemas.microsoft.com/office/drawing/2014/main" id="{9D0B2398-61EA-4742-BD78-CDE4CDDB67DE}"/>
              </a:ext>
            </a:extLst>
          </p:cNvPr>
          <p:cNvSpPr/>
          <p:nvPr/>
        </p:nvSpPr>
        <p:spPr>
          <a:xfrm>
            <a:off x="1" y="-12032"/>
            <a:ext cx="3898232" cy="6877142"/>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43698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877142"/>
              <a:gd name="connsiteX1" fmla="*/ 11367745 w 11367745"/>
              <a:gd name="connsiteY1" fmla="*/ 0 h 6877142"/>
              <a:gd name="connsiteX2" fmla="*/ 6255328 w 11367745"/>
              <a:gd name="connsiteY2" fmla="*/ 5041232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5448360 w 11367745"/>
              <a:gd name="connsiteY2" fmla="*/ 4728411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5448360 w 11367745"/>
              <a:gd name="connsiteY2" fmla="*/ 4728411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5448360 w 11367745"/>
              <a:gd name="connsiteY2" fmla="*/ 4728411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5448360 w 11367745"/>
              <a:gd name="connsiteY2" fmla="*/ 4728411 h 6877142"/>
              <a:gd name="connsiteX3" fmla="*/ 6808614 w 11367745"/>
              <a:gd name="connsiteY3" fmla="*/ 6877142 h 6877142"/>
              <a:gd name="connsiteX4" fmla="*/ 0 w 11367745"/>
              <a:gd name="connsiteY4" fmla="*/ 6870032 h 6877142"/>
              <a:gd name="connsiteX5" fmla="*/ 0 w 11367745"/>
              <a:gd name="connsiteY5" fmla="*/ 12032 h 6877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67745" h="6877142">
                <a:moveTo>
                  <a:pt x="0" y="12032"/>
                </a:moveTo>
                <a:lnTo>
                  <a:pt x="11367745" y="0"/>
                </a:lnTo>
                <a:cubicBezTo>
                  <a:pt x="9493718" y="1572491"/>
                  <a:pt x="6951519" y="3531816"/>
                  <a:pt x="5448360" y="4728411"/>
                </a:cubicBezTo>
                <a:cubicBezTo>
                  <a:pt x="6347820" y="6080686"/>
                  <a:pt x="5755860" y="5474005"/>
                  <a:pt x="6808614" y="6877142"/>
                </a:cubicBezTo>
                <a:lnTo>
                  <a:pt x="0" y="6870032"/>
                </a:lnTo>
                <a:lnTo>
                  <a:pt x="0" y="12032"/>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 name="Freeform 4">
            <a:extLst>
              <a:ext uri="{FF2B5EF4-FFF2-40B4-BE49-F238E27FC236}">
                <a16:creationId xmlns:a16="http://schemas.microsoft.com/office/drawing/2014/main" id="{6AF157FD-3E5A-4234-80E9-7213BF6C0308}"/>
              </a:ext>
            </a:extLst>
          </p:cNvPr>
          <p:cNvSpPr/>
          <p:nvPr/>
        </p:nvSpPr>
        <p:spPr>
          <a:xfrm>
            <a:off x="0" y="4081706"/>
            <a:ext cx="2608941" cy="2788159"/>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Lst>
            <a:ahLst/>
            <a:cxnLst>
              <a:cxn ang="0">
                <a:pos x="connsiteX0" y="connsiteY0"/>
              </a:cxn>
              <a:cxn ang="0">
                <a:pos x="connsiteX1" y="connsiteY1"/>
              </a:cxn>
              <a:cxn ang="0">
                <a:pos x="connsiteX2" y="connsiteY2"/>
              </a:cxn>
            </a:cxnLst>
            <a:rect l="l" t="t" r="r" b="b"/>
            <a:pathLst>
              <a:path w="1166989" h="1213426">
                <a:moveTo>
                  <a:pt x="857693" y="0"/>
                </a:moveTo>
                <a:lnTo>
                  <a:pt x="1166989" y="1211531"/>
                </a:lnTo>
                <a:lnTo>
                  <a:pt x="0" y="1213426"/>
                </a:lnTo>
              </a:path>
            </a:pathLst>
          </a:custGeom>
          <a:gradFill>
            <a:gsLst>
              <a:gs pos="2000">
                <a:schemeClr val="bg2">
                  <a:lumMod val="50000"/>
                </a:schemeClr>
              </a:gs>
              <a:gs pos="100000">
                <a:schemeClr val="bg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Isosceles Triangle 3">
            <a:extLst>
              <a:ext uri="{FF2B5EF4-FFF2-40B4-BE49-F238E27FC236}">
                <a16:creationId xmlns:a16="http://schemas.microsoft.com/office/drawing/2014/main" id="{0E04AF69-E276-4B63-A5F3-8D62965A2144}"/>
              </a:ext>
            </a:extLst>
          </p:cNvPr>
          <p:cNvSpPr/>
          <p:nvPr/>
        </p:nvSpPr>
        <p:spPr>
          <a:xfrm rot="13120470">
            <a:off x="1657082" y="-1713349"/>
            <a:ext cx="2123869" cy="9434624"/>
          </a:xfrm>
          <a:custGeom>
            <a:avLst/>
            <a:gdLst>
              <a:gd name="connsiteX0" fmla="*/ 0 w 1349298"/>
              <a:gd name="connsiteY0" fmla="*/ 5885253 h 5885253"/>
              <a:gd name="connsiteX1" fmla="*/ 674649 w 1349298"/>
              <a:gd name="connsiteY1" fmla="*/ 0 h 5885253"/>
              <a:gd name="connsiteX2" fmla="*/ 1349298 w 1349298"/>
              <a:gd name="connsiteY2" fmla="*/ 5885253 h 5885253"/>
              <a:gd name="connsiteX3" fmla="*/ 0 w 1349298"/>
              <a:gd name="connsiteY3" fmla="*/ 5885253 h 5885253"/>
              <a:gd name="connsiteX0" fmla="*/ 0 w 1304760"/>
              <a:gd name="connsiteY0" fmla="*/ 5885253 h 5885253"/>
              <a:gd name="connsiteX1" fmla="*/ 674649 w 1304760"/>
              <a:gd name="connsiteY1" fmla="*/ 0 h 5885253"/>
              <a:gd name="connsiteX2" fmla="*/ 1304760 w 1304760"/>
              <a:gd name="connsiteY2" fmla="*/ 5698299 h 5885253"/>
              <a:gd name="connsiteX3" fmla="*/ 0 w 1304760"/>
              <a:gd name="connsiteY3" fmla="*/ 5885253 h 5885253"/>
              <a:gd name="connsiteX0" fmla="*/ 0 w 1386992"/>
              <a:gd name="connsiteY0" fmla="*/ 5829786 h 5829786"/>
              <a:gd name="connsiteX1" fmla="*/ 756881 w 1386992"/>
              <a:gd name="connsiteY1" fmla="*/ 0 h 5829786"/>
              <a:gd name="connsiteX2" fmla="*/ 1386992 w 1386992"/>
              <a:gd name="connsiteY2" fmla="*/ 5698299 h 5829786"/>
              <a:gd name="connsiteX3" fmla="*/ 0 w 1386992"/>
              <a:gd name="connsiteY3" fmla="*/ 5829786 h 5829786"/>
              <a:gd name="connsiteX0" fmla="*/ 0 w 1613616"/>
              <a:gd name="connsiteY0" fmla="*/ 5273942 h 5698299"/>
              <a:gd name="connsiteX1" fmla="*/ 983505 w 1613616"/>
              <a:gd name="connsiteY1" fmla="*/ 0 h 5698299"/>
              <a:gd name="connsiteX2" fmla="*/ 1613616 w 1613616"/>
              <a:gd name="connsiteY2" fmla="*/ 5698299 h 5698299"/>
              <a:gd name="connsiteX3" fmla="*/ 0 w 1613616"/>
              <a:gd name="connsiteY3" fmla="*/ 5273942 h 5698299"/>
              <a:gd name="connsiteX0" fmla="*/ 0 w 2111499"/>
              <a:gd name="connsiteY0" fmla="*/ 5273942 h 5273942"/>
              <a:gd name="connsiteX1" fmla="*/ 983505 w 2111499"/>
              <a:gd name="connsiteY1" fmla="*/ 0 h 5273942"/>
              <a:gd name="connsiteX2" fmla="*/ 2111499 w 2111499"/>
              <a:gd name="connsiteY2" fmla="*/ 4721711 h 5273942"/>
              <a:gd name="connsiteX3" fmla="*/ 0 w 2111499"/>
              <a:gd name="connsiteY3" fmla="*/ 5273942 h 5273942"/>
              <a:gd name="connsiteX0" fmla="*/ 0 w 2111499"/>
              <a:gd name="connsiteY0" fmla="*/ 4717306 h 4717306"/>
              <a:gd name="connsiteX1" fmla="*/ 932758 w 2111499"/>
              <a:gd name="connsiteY1" fmla="*/ 0 h 4717306"/>
              <a:gd name="connsiteX2" fmla="*/ 2111499 w 2111499"/>
              <a:gd name="connsiteY2" fmla="*/ 4165075 h 4717306"/>
              <a:gd name="connsiteX3" fmla="*/ 0 w 2111499"/>
              <a:gd name="connsiteY3" fmla="*/ 4717306 h 4717306"/>
              <a:gd name="connsiteX0" fmla="*/ 0 w 3931298"/>
              <a:gd name="connsiteY0" fmla="*/ 4717306 h 4717306"/>
              <a:gd name="connsiteX1" fmla="*/ 932758 w 3931298"/>
              <a:gd name="connsiteY1" fmla="*/ 0 h 4717306"/>
              <a:gd name="connsiteX2" fmla="*/ 3931298 w 3931298"/>
              <a:gd name="connsiteY2" fmla="*/ 4480286 h 4717306"/>
              <a:gd name="connsiteX3" fmla="*/ 0 w 3931298"/>
              <a:gd name="connsiteY3" fmla="*/ 4717306 h 4717306"/>
              <a:gd name="connsiteX0" fmla="*/ 35679 w 2998540"/>
              <a:gd name="connsiteY0" fmla="*/ 5024381 h 5024381"/>
              <a:gd name="connsiteX1" fmla="*/ 0 w 2998540"/>
              <a:gd name="connsiteY1" fmla="*/ 0 h 5024381"/>
              <a:gd name="connsiteX2" fmla="*/ 2998540 w 2998540"/>
              <a:gd name="connsiteY2" fmla="*/ 4480286 h 5024381"/>
              <a:gd name="connsiteX3" fmla="*/ 35679 w 2998540"/>
              <a:gd name="connsiteY3" fmla="*/ 5024381 h 5024381"/>
              <a:gd name="connsiteX0" fmla="*/ 0 w 3359513"/>
              <a:gd name="connsiteY0" fmla="*/ 4923649 h 4923649"/>
              <a:gd name="connsiteX1" fmla="*/ 360973 w 3359513"/>
              <a:gd name="connsiteY1" fmla="*/ 0 h 4923649"/>
              <a:gd name="connsiteX2" fmla="*/ 3359513 w 3359513"/>
              <a:gd name="connsiteY2" fmla="*/ 4480286 h 4923649"/>
              <a:gd name="connsiteX3" fmla="*/ 0 w 3359513"/>
              <a:gd name="connsiteY3" fmla="*/ 4923649 h 4923649"/>
              <a:gd name="connsiteX0" fmla="*/ 0 w 3359513"/>
              <a:gd name="connsiteY0" fmla="*/ 4137435 h 4137435"/>
              <a:gd name="connsiteX1" fmla="*/ 1823306 w 3359513"/>
              <a:gd name="connsiteY1" fmla="*/ 0 h 4137435"/>
              <a:gd name="connsiteX2" fmla="*/ 3359513 w 3359513"/>
              <a:gd name="connsiteY2" fmla="*/ 3694072 h 4137435"/>
              <a:gd name="connsiteX3" fmla="*/ 0 w 3359513"/>
              <a:gd name="connsiteY3" fmla="*/ 4137435 h 4137435"/>
              <a:gd name="connsiteX0" fmla="*/ 0 w 3163954"/>
              <a:gd name="connsiteY0" fmla="*/ 4137435 h 4137435"/>
              <a:gd name="connsiteX1" fmla="*/ 1823306 w 3163954"/>
              <a:gd name="connsiteY1" fmla="*/ 0 h 4137435"/>
              <a:gd name="connsiteX2" fmla="*/ 3163954 w 3163954"/>
              <a:gd name="connsiteY2" fmla="*/ 3451242 h 4137435"/>
              <a:gd name="connsiteX3" fmla="*/ 0 w 3163954"/>
              <a:gd name="connsiteY3" fmla="*/ 4137435 h 4137435"/>
              <a:gd name="connsiteX0" fmla="*/ 0 w 2066613"/>
              <a:gd name="connsiteY0" fmla="*/ 4130703 h 4130703"/>
              <a:gd name="connsiteX1" fmla="*/ 725965 w 2066613"/>
              <a:gd name="connsiteY1" fmla="*/ 0 h 4130703"/>
              <a:gd name="connsiteX2" fmla="*/ 2066613 w 2066613"/>
              <a:gd name="connsiteY2" fmla="*/ 3451242 h 4130703"/>
              <a:gd name="connsiteX3" fmla="*/ 0 w 2066613"/>
              <a:gd name="connsiteY3" fmla="*/ 4130703 h 4130703"/>
              <a:gd name="connsiteX0" fmla="*/ 0 w 2119185"/>
              <a:gd name="connsiteY0" fmla="*/ 4203399 h 4203399"/>
              <a:gd name="connsiteX1" fmla="*/ 778537 w 2119185"/>
              <a:gd name="connsiteY1" fmla="*/ 0 h 4203399"/>
              <a:gd name="connsiteX2" fmla="*/ 2119185 w 2119185"/>
              <a:gd name="connsiteY2" fmla="*/ 3451242 h 4203399"/>
              <a:gd name="connsiteX3" fmla="*/ 0 w 2119185"/>
              <a:gd name="connsiteY3" fmla="*/ 4203399 h 4203399"/>
              <a:gd name="connsiteX0" fmla="*/ 0 w 2119185"/>
              <a:gd name="connsiteY0" fmla="*/ 4216619 h 4216619"/>
              <a:gd name="connsiteX1" fmla="*/ 816110 w 2119185"/>
              <a:gd name="connsiteY1" fmla="*/ 0 h 4216619"/>
              <a:gd name="connsiteX2" fmla="*/ 2119185 w 2119185"/>
              <a:gd name="connsiteY2" fmla="*/ 3464462 h 4216619"/>
              <a:gd name="connsiteX3" fmla="*/ 0 w 2119185"/>
              <a:gd name="connsiteY3" fmla="*/ 4216619 h 4216619"/>
              <a:gd name="connsiteX0" fmla="*/ 0 w 2119185"/>
              <a:gd name="connsiteY0" fmla="*/ 4184713 h 4184713"/>
              <a:gd name="connsiteX1" fmla="*/ 797400 w 2119185"/>
              <a:gd name="connsiteY1" fmla="*/ 0 h 4184713"/>
              <a:gd name="connsiteX2" fmla="*/ 2119185 w 2119185"/>
              <a:gd name="connsiteY2" fmla="*/ 3432556 h 4184713"/>
              <a:gd name="connsiteX3" fmla="*/ 0 w 2119185"/>
              <a:gd name="connsiteY3" fmla="*/ 4184713 h 4184713"/>
              <a:gd name="connsiteX0" fmla="*/ 0 w 2119185"/>
              <a:gd name="connsiteY0" fmla="*/ 4163102 h 4163102"/>
              <a:gd name="connsiteX1" fmla="*/ 807948 w 2119185"/>
              <a:gd name="connsiteY1" fmla="*/ 0 h 4163102"/>
              <a:gd name="connsiteX2" fmla="*/ 2119185 w 2119185"/>
              <a:gd name="connsiteY2" fmla="*/ 3410945 h 4163102"/>
              <a:gd name="connsiteX3" fmla="*/ 0 w 2119185"/>
              <a:gd name="connsiteY3" fmla="*/ 4163102 h 4163102"/>
              <a:gd name="connsiteX0" fmla="*/ 0 w 2123869"/>
              <a:gd name="connsiteY0" fmla="*/ 4163102 h 4163102"/>
              <a:gd name="connsiteX1" fmla="*/ 807948 w 2123869"/>
              <a:gd name="connsiteY1" fmla="*/ 0 h 4163102"/>
              <a:gd name="connsiteX2" fmla="*/ 2123869 w 2123869"/>
              <a:gd name="connsiteY2" fmla="*/ 3413517 h 4163102"/>
              <a:gd name="connsiteX3" fmla="*/ 0 w 2123869"/>
              <a:gd name="connsiteY3" fmla="*/ 4163102 h 4163102"/>
              <a:gd name="connsiteX0" fmla="*/ 0 w 2123869"/>
              <a:gd name="connsiteY0" fmla="*/ 4155313 h 4155313"/>
              <a:gd name="connsiteX1" fmla="*/ 785813 w 2123869"/>
              <a:gd name="connsiteY1" fmla="*/ 0 h 4155313"/>
              <a:gd name="connsiteX2" fmla="*/ 2123869 w 2123869"/>
              <a:gd name="connsiteY2" fmla="*/ 3405728 h 4155313"/>
              <a:gd name="connsiteX3" fmla="*/ 0 w 2123869"/>
              <a:gd name="connsiteY3" fmla="*/ 4155313 h 4155313"/>
              <a:gd name="connsiteX0" fmla="*/ 0 w 2123869"/>
              <a:gd name="connsiteY0" fmla="*/ 4147524 h 4147524"/>
              <a:gd name="connsiteX1" fmla="*/ 763677 w 2123869"/>
              <a:gd name="connsiteY1" fmla="*/ 0 h 4147524"/>
              <a:gd name="connsiteX2" fmla="*/ 2123869 w 2123869"/>
              <a:gd name="connsiteY2" fmla="*/ 3397939 h 4147524"/>
              <a:gd name="connsiteX3" fmla="*/ 0 w 2123869"/>
              <a:gd name="connsiteY3" fmla="*/ 4147524 h 4147524"/>
            </a:gdLst>
            <a:ahLst/>
            <a:cxnLst>
              <a:cxn ang="0">
                <a:pos x="connsiteX0" y="connsiteY0"/>
              </a:cxn>
              <a:cxn ang="0">
                <a:pos x="connsiteX1" y="connsiteY1"/>
              </a:cxn>
              <a:cxn ang="0">
                <a:pos x="connsiteX2" y="connsiteY2"/>
              </a:cxn>
              <a:cxn ang="0">
                <a:pos x="connsiteX3" y="connsiteY3"/>
              </a:cxn>
            </a:cxnLst>
            <a:rect l="l" t="t" r="r" b="b"/>
            <a:pathLst>
              <a:path w="2123869" h="4147524">
                <a:moveTo>
                  <a:pt x="0" y="4147524"/>
                </a:moveTo>
                <a:lnTo>
                  <a:pt x="763677" y="0"/>
                </a:lnTo>
                <a:lnTo>
                  <a:pt x="2123869" y="3397939"/>
                </a:lnTo>
                <a:lnTo>
                  <a:pt x="0" y="4147524"/>
                </a:lnTo>
                <a:close/>
              </a:path>
            </a:pathLst>
          </a:custGeom>
          <a:gradFill>
            <a:gsLst>
              <a:gs pos="2000">
                <a:schemeClr val="bg2">
                  <a:lumMod val="75000"/>
                </a:schemeClr>
              </a:gs>
              <a:gs pos="100000">
                <a:schemeClr val="bg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1995610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r="49979"/>
          <a:stretch/>
        </p:blipFill>
        <p:spPr>
          <a:xfrm rot="10800000">
            <a:off x="-1" y="-857"/>
            <a:ext cx="6096000" cy="6858000"/>
          </a:xfrm>
          <a:prstGeom prst="rect">
            <a:avLst/>
          </a:prstGeom>
        </p:spPr>
      </p:pic>
      <p:sp>
        <p:nvSpPr>
          <p:cNvPr id="2" name="Title 1"/>
          <p:cNvSpPr>
            <a:spLocks noGrp="1"/>
          </p:cNvSpPr>
          <p:nvPr>
            <p:ph type="ctrTitle" hasCustomPrompt="1"/>
          </p:nvPr>
        </p:nvSpPr>
        <p:spPr bwMode="gray">
          <a:xfrm>
            <a:off x="427701" y="2889534"/>
            <a:ext cx="5417220" cy="1077218"/>
          </a:xfrm>
        </p:spPr>
        <p:txBody>
          <a:bodyPr wrap="square" tIns="91440" anchor="ctr" anchorCtr="0">
            <a:spAutoFit/>
          </a:bodyPr>
          <a:lstStyle>
            <a:lvl1pPr>
              <a:lnSpc>
                <a:spcPct val="80000"/>
              </a:lnSpc>
              <a:defRPr sz="4000" b="0" cap="all" baseline="0">
                <a:solidFill>
                  <a:schemeClr val="bg1"/>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bwMode="gray">
          <a:xfrm>
            <a:off x="427702" y="5448375"/>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702" y="5759941"/>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702" y="6247689"/>
            <a:ext cx="5424946" cy="193899"/>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3" name="Rectangle 12"/>
          <p:cNvSpPr/>
          <p:nvPr userDrawn="1"/>
        </p:nvSpPr>
        <p:spPr bwMode="gray">
          <a:xfrm>
            <a:off x="606856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353845" y="2733717"/>
            <a:ext cx="3580310" cy="1390566"/>
          </a:xfrm>
          <a:prstGeom prst="rect">
            <a:avLst/>
          </a:prstGeom>
        </p:spPr>
      </p:pic>
    </p:spTree>
    <p:extLst>
      <p:ext uri="{BB962C8B-B14F-4D97-AF65-F5344CB8AC3E}">
        <p14:creationId xmlns:p14="http://schemas.microsoft.com/office/powerpoint/2010/main" val="3874471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7579" y="1222375"/>
            <a:ext cx="11471932" cy="4956048"/>
          </a:xfrm>
        </p:spPr>
        <p:txBody>
          <a:bodyPr>
            <a:normAutofit/>
          </a:bodyPr>
          <a:lstStyle>
            <a:lvl1pPr marL="273582" indent="-273582">
              <a:lnSpc>
                <a:spcPct val="90000"/>
              </a:lnSpc>
              <a:spcBef>
                <a:spcPts val="2139"/>
              </a:spcBef>
              <a:buClr>
                <a:schemeClr val="tx1"/>
              </a:buClr>
              <a:defRPr sz="2200" b="0">
                <a:solidFill>
                  <a:schemeClr val="tx1"/>
                </a:solidFill>
                <a:latin typeface="+mn-lt"/>
              </a:defRPr>
            </a:lvl1pPr>
            <a:lvl2pPr marL="813195" indent="-271694">
              <a:lnSpc>
                <a:spcPct val="90000"/>
              </a:lnSpc>
              <a:spcBef>
                <a:spcPts val="0"/>
              </a:spcBef>
              <a:spcAft>
                <a:spcPts val="238"/>
              </a:spcAft>
              <a:defRPr sz="2000" b="0">
                <a:solidFill>
                  <a:schemeClr val="tx1"/>
                </a:solidFill>
                <a:latin typeface="+mn-lt"/>
              </a:defRPr>
            </a:lvl2pPr>
            <a:lvl3pPr marL="1358470" indent="-271694">
              <a:lnSpc>
                <a:spcPct val="90000"/>
              </a:lnSpc>
              <a:spcBef>
                <a:spcPts val="0"/>
              </a:spcBef>
              <a:spcAft>
                <a:spcPts val="238"/>
              </a:spcAft>
              <a:defRPr sz="1800" b="0">
                <a:solidFill>
                  <a:schemeClr val="tx1"/>
                </a:solidFill>
                <a:latin typeface="+mn-lt"/>
              </a:defRPr>
            </a:lvl3pPr>
            <a:lvl4pPr marL="1901952" indent="-271694">
              <a:lnSpc>
                <a:spcPct val="90000"/>
              </a:lnSpc>
              <a:defRPr sz="1600" b="0">
                <a:solidFill>
                  <a:schemeClr val="tx1"/>
                </a:solidFill>
                <a:latin typeface="+mn-lt"/>
              </a:defRPr>
            </a:lvl4pPr>
            <a:lvl5pPr marL="2441448" indent="-271694">
              <a:lnSpc>
                <a:spcPct val="90000"/>
              </a:lnSpc>
              <a:defRPr sz="1400" b="0" baseline="0">
                <a:solidFill>
                  <a:schemeClr val="tx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325145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650" t="650"/>
          <a:stretch/>
        </p:blipFill>
        <p:spPr>
          <a:xfrm rot="10800000">
            <a:off x="1" y="0"/>
            <a:ext cx="2586914" cy="6857999"/>
          </a:xfrm>
          <a:prstGeom prst="rect">
            <a:avLst/>
          </a:prstGeom>
        </p:spPr>
      </p:pic>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650" t="650"/>
          <a:stretch/>
        </p:blipFill>
        <p:spPr>
          <a:xfrm>
            <a:off x="9602618" y="0"/>
            <a:ext cx="2586914" cy="6857999"/>
          </a:xfrm>
          <a:prstGeom prst="rect">
            <a:avLst/>
          </a:prstGeom>
        </p:spPr>
      </p:pic>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2" name="Rectangle 1"/>
          <p:cNvSpPr/>
          <p:nvPr userDrawn="1"/>
        </p:nvSpPr>
        <p:spPr bwMode="gray">
          <a:xfrm>
            <a:off x="2585546" y="0"/>
            <a:ext cx="70209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itle 21"/>
          <p:cNvSpPr>
            <a:spLocks noGrp="1"/>
          </p:cNvSpPr>
          <p:nvPr>
            <p:ph type="title" hasCustomPrompt="1"/>
          </p:nvPr>
        </p:nvSpPr>
        <p:spPr>
          <a:xfrm>
            <a:off x="2984942" y="627503"/>
            <a:ext cx="6222120" cy="344710"/>
          </a:xfrm>
        </p:spPr>
        <p:txBody>
          <a:bodyPr wrap="square" anchor="ctr">
            <a:spAutoFit/>
          </a:bodyPr>
          <a:lstStyle>
            <a:lvl1pPr algn="l">
              <a:lnSpc>
                <a:spcPct val="80000"/>
              </a:lnSpc>
              <a:defRPr sz="2800">
                <a:solidFill>
                  <a:schemeClr val="bg2"/>
                </a:solidFill>
                <a:latin typeface="+mn-lt"/>
              </a:defRPr>
            </a:lvl1pPr>
          </a:lstStyle>
          <a:p>
            <a:r>
              <a:rPr lang="en-US" dirty="0"/>
              <a:t>Click to add agenda title</a:t>
            </a:r>
          </a:p>
        </p:txBody>
      </p:sp>
      <p:sp>
        <p:nvSpPr>
          <p:cNvPr id="20" name="Content Placeholder 3"/>
          <p:cNvSpPr>
            <a:spLocks noGrp="1"/>
          </p:cNvSpPr>
          <p:nvPr>
            <p:ph sz="half" idx="2" hasCustomPrompt="1"/>
          </p:nvPr>
        </p:nvSpPr>
        <p:spPr>
          <a:xfrm>
            <a:off x="2984942" y="1334813"/>
            <a:ext cx="6222120" cy="5145885"/>
          </a:xfrm>
        </p:spPr>
        <p:txBody>
          <a:bodyPr anchor="t">
            <a:normAutofit/>
          </a:bodyPr>
          <a:lstStyle>
            <a:lvl1pPr marL="457200" indent="-457200">
              <a:buClr>
                <a:schemeClr val="tx1"/>
              </a:buClr>
              <a:buFont typeface="+mj-lt"/>
              <a:buAutoNum type="arabicPeriod"/>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960261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Rectangle 12"/>
          <p:cNvSpPr/>
          <p:nvPr userDrawn="1"/>
        </p:nvSpPr>
        <p:spPr>
          <a:xfrm>
            <a:off x="2534520"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138955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p:cSld name="Gree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6943" y="3133535"/>
            <a:ext cx="10186176" cy="590931"/>
          </a:xfrm>
        </p:spPr>
        <p:txBody>
          <a:bodyPr wrap="square" anchor="ct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4073753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p:cSld name="Green Color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l="65236"/>
          <a:stretch/>
        </p:blipFill>
        <p:spPr>
          <a:xfrm>
            <a:off x="0" y="-1"/>
            <a:ext cx="4236684" cy="6858000"/>
          </a:xfrm>
          <a:prstGeom prst="rect">
            <a:avLst/>
          </a:prstGeom>
        </p:spPr>
      </p:pic>
      <p:sp>
        <p:nvSpPr>
          <p:cNvPr id="10" name="Content Placeholder 3"/>
          <p:cNvSpPr>
            <a:spLocks noGrp="1"/>
          </p:cNvSpPr>
          <p:nvPr>
            <p:ph sz="half" idx="2" hasCustomPrompt="1"/>
          </p:nvPr>
        </p:nvSpPr>
        <p:spPr>
          <a:xfrm>
            <a:off x="4694637" y="772358"/>
            <a:ext cx="7082577" cy="5477522"/>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30546" y="2984944"/>
            <a:ext cx="3271299" cy="886397"/>
          </a:xfrm>
        </p:spPr>
        <p:txBody>
          <a:bodyPr wrap="square"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4293979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Light Blue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392453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233727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Only - No Footer">
    <p:spTree>
      <p:nvGrpSpPr>
        <p:cNvPr id="1" name=""/>
        <p:cNvGrpSpPr/>
        <p:nvPr/>
      </p:nvGrpSpPr>
      <p:grpSpPr>
        <a:xfrm>
          <a:off x="0" y="0"/>
          <a:ext cx="0" cy="0"/>
          <a:chOff x="0" y="0"/>
          <a:chExt cx="0" cy="0"/>
        </a:xfrm>
      </p:grpSpPr>
      <p:sp>
        <p:nvSpPr>
          <p:cNvPr id="2" name="Rectangle 1"/>
          <p:cNvSpPr/>
          <p:nvPr/>
        </p:nvSpPr>
        <p:spPr bwMode="gray">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schemeClr val="bg1"/>
              </a:solidFill>
            </a:endParaRPr>
          </a:p>
        </p:txBody>
      </p:sp>
      <p:sp>
        <p:nvSpPr>
          <p:cNvPr id="8" name="Title 7"/>
          <p:cNvSpPr>
            <a:spLocks noGrp="1"/>
          </p:cNvSpPr>
          <p:nvPr>
            <p:ph type="title" hasCustomPrompt="1"/>
          </p:nvPr>
        </p:nvSpPr>
        <p:spPr/>
        <p:txBody>
          <a:bodyPr/>
          <a:lstStyle>
            <a:lvl1pPr>
              <a:defRPr/>
            </a:lvl1pPr>
          </a:lstStyle>
          <a:p>
            <a:r>
              <a:rPr lang="en-US" dirty="0"/>
              <a:t>Click to add title</a:t>
            </a:r>
          </a:p>
        </p:txBody>
      </p:sp>
      <p:sp>
        <p:nvSpPr>
          <p:cNvPr id="5"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33468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33715" y="1222375"/>
            <a:ext cx="5430358" cy="4956048"/>
          </a:xfrm>
        </p:spPr>
        <p:txBody>
          <a:bodyPr/>
          <a:lstStyle>
            <a:lvl1pPr>
              <a:defRPr sz="2200"/>
            </a:lvl1pPr>
            <a:lvl2pPr>
              <a:defRPr sz="2000"/>
            </a:lvl2pPr>
            <a:lvl3pPr>
              <a:defRPr sz="1800"/>
            </a:lvl3pPr>
            <a:lvl4pPr>
              <a:defRPr sz="1600"/>
            </a:lvl4pPr>
            <a:lvl5pPr>
              <a:defRPr sz="1400" baseline="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21143" y="1222375"/>
            <a:ext cx="5431536" cy="4956048"/>
          </a:xfrm>
        </p:spPr>
        <p:txBody>
          <a:bodyPr/>
          <a:lstStyle>
            <a:lvl1pPr>
              <a:defRPr sz="2200"/>
            </a:lvl1pPr>
            <a:lvl2pPr>
              <a:defRPr sz="2000"/>
            </a:lvl2pPr>
            <a:lvl3pPr>
              <a:defRPr sz="1800"/>
            </a:lvl3pPr>
            <a:lvl4pPr>
              <a:defRPr sz="1600"/>
            </a:lvl4pPr>
            <a:lvl5pPr>
              <a:defRPr sz="140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p:cNvSpPr>
            <a:spLocks noGrp="1"/>
          </p:cNvSpPr>
          <p:nvPr>
            <p:ph type="title" hasCustomPrompt="1"/>
          </p:nvPr>
        </p:nvSpPr>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425332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33715" y="1222375"/>
            <a:ext cx="3526818" cy="4956048"/>
          </a:xfrm>
        </p:spPr>
        <p:txBody>
          <a:bodyPr/>
          <a:lstStyle>
            <a:lvl1pPr>
              <a:defRPr sz="2200"/>
            </a:lvl1pPr>
            <a:lvl2pPr>
              <a:defRPr sz="2000"/>
            </a:lvl2pPr>
            <a:lvl3pPr>
              <a:defRPr sz="1800"/>
            </a:lvl3pPr>
            <a:lvl4pPr>
              <a:defRPr sz="1600"/>
            </a:lvl4pPr>
            <a:lvl5pPr>
              <a:defRPr sz="1400" baseline="0"/>
            </a:lvl5pPr>
            <a:lvl6pPr>
              <a:defRPr sz="1900"/>
            </a:lvl6pPr>
            <a:lvl7pPr>
              <a:defRPr sz="1900"/>
            </a:lvl7pPr>
            <a:lvl8pPr>
              <a:defRPr sz="1900"/>
            </a:lvl8pPr>
            <a:lvl9pPr>
              <a:defRPr sz="19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4"/>
          <p:cNvSpPr>
            <a:spLocks noGrp="1"/>
          </p:cNvSpPr>
          <p:nvPr>
            <p:ph type="title" hasCustomPrompt="1"/>
          </p:nvPr>
        </p:nvSpPr>
        <p:spPr/>
        <p:txBody>
          <a:bodyPr/>
          <a:lstStyle>
            <a:lvl1pPr>
              <a:defRPr/>
            </a:lvl1pPr>
          </a:lstStyle>
          <a:p>
            <a:r>
              <a:rPr lang="en-US" dirty="0"/>
              <a:t>Click to add title</a:t>
            </a:r>
          </a:p>
        </p:txBody>
      </p:sp>
      <p:sp>
        <p:nvSpPr>
          <p:cNvPr id="20" name="Content Placeholder 19"/>
          <p:cNvSpPr>
            <a:spLocks noGrp="1"/>
          </p:cNvSpPr>
          <p:nvPr>
            <p:ph sz="quarter" idx="15" hasCustomPrompt="1"/>
          </p:nvPr>
        </p:nvSpPr>
        <p:spPr>
          <a:xfrm>
            <a:off x="4334936" y="1222375"/>
            <a:ext cx="3531780" cy="4956048"/>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241120" y="1222375"/>
            <a:ext cx="3531780" cy="4956048"/>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6870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0530" y="1222375"/>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1"/>
          <p:cNvSpPr>
            <a:spLocks noGrp="1"/>
          </p:cNvSpPr>
          <p:nvPr>
            <p:ph sz="quarter" idx="16" hasCustomPrompt="1"/>
          </p:nvPr>
        </p:nvSpPr>
        <p:spPr>
          <a:xfrm>
            <a:off x="6470140" y="1222375"/>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1"/>
          <p:cNvSpPr>
            <a:spLocks noGrp="1"/>
          </p:cNvSpPr>
          <p:nvPr>
            <p:ph sz="quarter" idx="20" hasCustomPrompt="1"/>
          </p:nvPr>
        </p:nvSpPr>
        <p:spPr>
          <a:xfrm>
            <a:off x="6470140" y="3808383"/>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11"/>
          <p:cNvSpPr>
            <a:spLocks noGrp="1"/>
          </p:cNvSpPr>
          <p:nvPr>
            <p:ph sz="quarter" idx="19" hasCustomPrompt="1"/>
          </p:nvPr>
        </p:nvSpPr>
        <p:spPr>
          <a:xfrm>
            <a:off x="430530" y="3808383"/>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484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One Over One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1757" y="1222375"/>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p:cNvSpPr>
            <a:spLocks noGrp="1"/>
          </p:cNvSpPr>
          <p:nvPr>
            <p:ph sz="quarter" idx="19" hasCustomPrompt="1"/>
          </p:nvPr>
        </p:nvSpPr>
        <p:spPr>
          <a:xfrm>
            <a:off x="431757" y="3808382"/>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8991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650666" y="1222375"/>
            <a:ext cx="7122234" cy="4956048"/>
          </a:xfrm>
        </p:spPr>
        <p:txBody>
          <a:bodyPr/>
          <a:lstStyle>
            <a:lvl1pPr>
              <a:defRPr sz="2200"/>
            </a:lvl1pPr>
            <a:lvl2pPr>
              <a:defRPr sz="2000"/>
            </a:lvl2pPr>
            <a:lvl3pPr>
              <a:defRPr sz="1800"/>
            </a:lvl3pPr>
            <a:lvl4pPr>
              <a:defRPr sz="1600"/>
            </a:lvl4pPr>
            <a:lvl5pPr>
              <a:defRPr sz="1400" baseline="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hasCustomPrompt="1"/>
          </p:nvPr>
        </p:nvSpPr>
        <p:spPr>
          <a:xfrm>
            <a:off x="433715" y="1222375"/>
            <a:ext cx="3866348" cy="4956048"/>
          </a:xfrm>
        </p:spPr>
        <p:txBody>
          <a:bodyPr/>
          <a:lstStyle>
            <a:lvl1pPr>
              <a:defRPr sz="2200"/>
            </a:lvl1pPr>
            <a:lvl2pPr>
              <a:defRPr sz="2000"/>
            </a:lvl2pPr>
            <a:lvl3pPr>
              <a:defRPr sz="1800"/>
            </a:lvl3pPr>
            <a:lvl4pPr>
              <a:defRPr sz="1600"/>
            </a:lvl4pPr>
            <a:lvl5pPr>
              <a:defRPr sz="140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175451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Content &amp; Image">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a:xfrm>
            <a:off x="4610587" y="1220583"/>
            <a:ext cx="7150883" cy="4956048"/>
          </a:xfrm>
        </p:spPr>
        <p:txBody>
          <a:bodyPr anchor="ctr"/>
          <a:lstStyle>
            <a:lvl1pPr marL="0" indent="0" algn="ctr">
              <a:buNone/>
              <a:defRPr>
                <a:solidFill>
                  <a:schemeClr val="tx1"/>
                </a:solidFill>
                <a:latin typeface="+mn-lt"/>
              </a:defRPr>
            </a:lvl1pPr>
          </a:lstStyle>
          <a:p>
            <a:r>
              <a:rPr lang="en-US" dirty="0"/>
              <a:t>Click icon to add picture</a:t>
            </a:r>
          </a:p>
        </p:txBody>
      </p:sp>
      <p:sp>
        <p:nvSpPr>
          <p:cNvPr id="8" name="Content Placeholder 2"/>
          <p:cNvSpPr>
            <a:spLocks noGrp="1"/>
          </p:cNvSpPr>
          <p:nvPr>
            <p:ph idx="13" hasCustomPrompt="1"/>
          </p:nvPr>
        </p:nvSpPr>
        <p:spPr>
          <a:xfrm>
            <a:off x="431756" y="1220583"/>
            <a:ext cx="3866395" cy="4956048"/>
          </a:xfrm>
        </p:spPr>
        <p:txBody>
          <a:bodyPr>
            <a:normAutofit/>
          </a:bodyPr>
          <a:lstStyle>
            <a:lvl1pPr>
              <a:defRPr sz="2200"/>
            </a:lvl1pPr>
            <a:lvl2pPr>
              <a:defRPr sz="2000"/>
            </a:lvl2pPr>
            <a:lvl3pPr>
              <a:defRPr sz="1800"/>
            </a:lvl3pPr>
            <a:lvl4pPr>
              <a:defRPr sz="1600"/>
            </a:lvl4pPr>
            <a:lvl5pPr>
              <a:defRPr sz="1400" baseline="0"/>
            </a:lvl5pPr>
            <a:lvl6pPr>
              <a:defRPr sz="2000"/>
            </a:lvl6pPr>
            <a:lvl7pPr>
              <a:defRPr sz="2000"/>
            </a:lvl7pPr>
            <a:lvl8pPr>
              <a:defRPr sz="2000"/>
            </a:lvl8pPr>
            <a:lvl9pPr>
              <a:defRPr sz="20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a:xfrm>
            <a:off x="411480" y="347471"/>
            <a:ext cx="10259568" cy="347472"/>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357379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amp; 1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9101" y="1220583"/>
            <a:ext cx="11353800" cy="4979800"/>
          </a:xfrm>
        </p:spPr>
        <p:txBody>
          <a:bodyPr anchor="ctr"/>
          <a:lstStyle>
            <a:lvl1pPr marL="0" indent="0" algn="ctr">
              <a:buFontTx/>
              <a:buNone/>
              <a:defRPr baseline="0">
                <a:solidFill>
                  <a:schemeClr val="tx1"/>
                </a:solidFill>
                <a:latin typeface="+mn-lt"/>
              </a:defRPr>
            </a:lvl1pPr>
          </a:lstStyle>
          <a:p>
            <a:r>
              <a:rPr lang="en-US" dirty="0"/>
              <a:t>Click icon to add picture</a:t>
            </a:r>
          </a:p>
        </p:txBody>
      </p:sp>
      <p:sp>
        <p:nvSpPr>
          <p:cNvPr id="2" name="Title 1"/>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3126114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Title &amp; 2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32203" y="1024137"/>
            <a:ext cx="6059797" cy="5480643"/>
          </a:xfrm>
        </p:spPr>
        <p:txBody>
          <a:bodyPr anchor="ctr"/>
          <a:lstStyle>
            <a:lvl1pPr marL="0" indent="0" algn="ctr">
              <a:buNone/>
              <a:defRPr>
                <a:solidFill>
                  <a:schemeClr val="tx1"/>
                </a:solidFill>
                <a:latin typeface="+mn-lt"/>
              </a:defRPr>
            </a:lvl1pPr>
          </a:lstStyle>
          <a:p>
            <a:r>
              <a:rPr lang="en-US" dirty="0"/>
              <a:t>Click icon to add picture</a:t>
            </a:r>
          </a:p>
        </p:txBody>
      </p:sp>
      <p:sp>
        <p:nvSpPr>
          <p:cNvPr id="7" name="Picture Placeholder 3"/>
          <p:cNvSpPr>
            <a:spLocks noGrp="1"/>
          </p:cNvSpPr>
          <p:nvPr>
            <p:ph type="pic" sz="quarter" idx="12"/>
          </p:nvPr>
        </p:nvSpPr>
        <p:spPr>
          <a:xfrm>
            <a:off x="3047" y="1024137"/>
            <a:ext cx="6081233" cy="5480643"/>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2" name="Title 11"/>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9" name="Text Placeholder 33"/>
          <p:cNvSpPr>
            <a:spLocks noGrp="1"/>
          </p:cNvSpPr>
          <p:nvPr>
            <p:ph type="body" sz="quarter" idx="18" hasCustomPrompt="1"/>
          </p:nvPr>
        </p:nvSpPr>
        <p:spPr>
          <a:xfrm>
            <a:off x="-9548"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387496"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498774" y="5015592"/>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86203" y="1024137"/>
            <a:ext cx="45719" cy="5480643"/>
          </a:xfrm>
          <a:solidFill>
            <a:schemeClr val="tx2">
              <a:lumMod val="75000"/>
            </a:schemeClr>
          </a:solidFill>
        </p:spPr>
        <p:txBody>
          <a:bodyPr/>
          <a:lstStyle>
            <a:lvl1pPr marL="0" indent="0">
              <a:buNone/>
              <a:defRPr/>
            </a:lvl1pPr>
          </a:lstStyle>
          <a:p>
            <a:pPr lvl="0"/>
            <a:r>
              <a:rPr lang="en-US" dirty="0"/>
              <a:t> </a:t>
            </a:r>
          </a:p>
        </p:txBody>
      </p:sp>
      <p:sp>
        <p:nvSpPr>
          <p:cNvPr id="20" name="Text Placeholder 2"/>
          <p:cNvSpPr>
            <a:spLocks noGrp="1"/>
          </p:cNvSpPr>
          <p:nvPr>
            <p:ph type="body" sz="quarter" idx="21" hasCustomPrompt="1"/>
          </p:nvPr>
        </p:nvSpPr>
        <p:spPr>
          <a:xfrm rot="5400000">
            <a:off x="6074664" y="-5093199"/>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94964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Light Blu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a:noFill/>
        </p:spPr>
        <p:txBody>
          <a:bodyPr>
            <a:spAutoFit/>
          </a:bodyPr>
          <a:lstStyle>
            <a:lvl1pPr algn="l">
              <a:lnSpc>
                <a:spcPct val="80000"/>
              </a:lnSpc>
              <a:defRPr sz="480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141402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1024128"/>
            <a:ext cx="4042250"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5" name="Picture Placeholder 25"/>
          <p:cNvSpPr>
            <a:spLocks noGrp="1"/>
          </p:cNvSpPr>
          <p:nvPr>
            <p:ph type="pic" sz="quarter" idx="14"/>
          </p:nvPr>
        </p:nvSpPr>
        <p:spPr>
          <a:xfrm>
            <a:off x="8159299" y="1024128"/>
            <a:ext cx="4032702"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6" name="Picture Placeholder 6"/>
          <p:cNvSpPr>
            <a:spLocks noGrp="1"/>
          </p:cNvSpPr>
          <p:nvPr>
            <p:ph type="pic" sz="quarter" idx="13"/>
          </p:nvPr>
        </p:nvSpPr>
        <p:spPr>
          <a:xfrm>
            <a:off x="4078854" y="1024128"/>
            <a:ext cx="4034293"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2" name="Title 11"/>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16" name="Text Placeholder 33"/>
          <p:cNvSpPr>
            <a:spLocks noGrp="1"/>
          </p:cNvSpPr>
          <p:nvPr>
            <p:ph type="body" sz="quarter" idx="18" hasCustomPrompt="1"/>
          </p:nvPr>
        </p:nvSpPr>
        <p:spPr>
          <a:xfrm>
            <a:off x="-9548"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4254709" y="5011670"/>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bwMode="gray">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1" y="1024128"/>
            <a:ext cx="45719" cy="5480652"/>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6" y="1024128"/>
            <a:ext cx="47866" cy="5480652"/>
          </a:xfrm>
          <a:solidFill>
            <a:schemeClr val="tx2">
              <a:lumMod val="75000"/>
            </a:schemeClr>
          </a:solidFill>
        </p:spPr>
        <p:txBody>
          <a:bodyPr/>
          <a:lstStyle>
            <a:lvl1pPr marL="0" indent="0">
              <a:buNone/>
              <a:defRPr baseline="0"/>
            </a:lvl1pPr>
          </a:lstStyle>
          <a:p>
            <a:pPr lvl="0"/>
            <a:r>
              <a:rPr lang="en-US" dirty="0"/>
              <a:t> </a:t>
            </a:r>
          </a:p>
        </p:txBody>
      </p:sp>
      <p:sp>
        <p:nvSpPr>
          <p:cNvPr id="20" name="Text Placeholder 2"/>
          <p:cNvSpPr>
            <a:spLocks noGrp="1"/>
          </p:cNvSpPr>
          <p:nvPr>
            <p:ph type="body" sz="quarter" idx="21" hasCustomPrompt="1"/>
          </p:nvPr>
        </p:nvSpPr>
        <p:spPr>
          <a:xfrm rot="5400000">
            <a:off x="6074664" y="-5093208"/>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953915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Full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9548" y="1"/>
            <a:ext cx="12201549" cy="6858000"/>
          </a:xfrm>
        </p:spPr>
        <p:txBody>
          <a:bodyPr anchor="ctr"/>
          <a:lstStyle>
            <a:lvl1pPr marL="0" indent="0" algn="ctr">
              <a:buFontTx/>
              <a:buNone/>
              <a:defRPr baseline="0">
                <a:solidFill>
                  <a:schemeClr val="tx1"/>
                </a:solidFill>
                <a:latin typeface="+mn-lt"/>
              </a:defRPr>
            </a:lvl1pPr>
          </a:lstStyle>
          <a:p>
            <a:r>
              <a:rPr lang="en-US" dirty="0"/>
              <a:t>Click icon to add picture</a:t>
            </a:r>
          </a:p>
        </p:txBody>
      </p:sp>
      <p:sp>
        <p:nvSpPr>
          <p:cNvPr id="5" name="Text Placeholder 33"/>
          <p:cNvSpPr>
            <a:spLocks noGrp="1"/>
          </p:cNvSpPr>
          <p:nvPr>
            <p:ph type="body" sz="quarter" idx="18" hasCustomPrompt="1"/>
          </p:nvPr>
        </p:nvSpPr>
        <p:spPr>
          <a:xfrm>
            <a:off x="-9548" y="5033360"/>
            <a:ext cx="12201549" cy="902866"/>
          </a:xfrm>
          <a:solidFill>
            <a:srgbClr val="000000">
              <a:alpha val="90000"/>
            </a:srgbClr>
          </a:solidFill>
        </p:spPr>
        <p:txBody>
          <a:bodyPr anchor="ctr"/>
          <a:lstStyle>
            <a:lvl1pPr marL="0" indent="0" algn="ctr">
              <a:buNone/>
              <a:defRPr/>
            </a:lvl1pPr>
          </a:lstStyle>
          <a:p>
            <a:pPr lvl="0"/>
            <a:r>
              <a:rPr lang="en-US" dirty="0"/>
              <a:t> </a:t>
            </a:r>
          </a:p>
        </p:txBody>
      </p:sp>
      <p:sp>
        <p:nvSpPr>
          <p:cNvPr id="6" name="Text Placeholder 29"/>
          <p:cNvSpPr>
            <a:spLocks noGrp="1"/>
          </p:cNvSpPr>
          <p:nvPr>
            <p:ph type="body" sz="quarter" idx="16" hasCustomPrompt="1"/>
          </p:nvPr>
        </p:nvSpPr>
        <p:spPr bwMode="gray">
          <a:xfrm>
            <a:off x="293192" y="5239526"/>
            <a:ext cx="11605619" cy="490537"/>
          </a:xfrm>
        </p:spPr>
        <p:txBody>
          <a:bodyPr anchor="ctr">
            <a:normAutofit/>
          </a:bodyPr>
          <a:lstStyle>
            <a:lvl1pPr marL="0" indent="0" algn="ctr">
              <a:lnSpc>
                <a:spcPct val="90000"/>
              </a:lnSpc>
              <a:buNone/>
              <a:defRPr sz="3200" baseline="0">
                <a:solidFill>
                  <a:schemeClr val="bg1"/>
                </a:solidFill>
                <a:latin typeface="+mn-lt"/>
              </a:defRPr>
            </a:lvl1pPr>
          </a:lstStyle>
          <a:p>
            <a:pPr lvl="0"/>
            <a:r>
              <a:rPr lang="en-US" dirty="0"/>
              <a:t>Click to add text</a:t>
            </a:r>
          </a:p>
        </p:txBody>
      </p:sp>
    </p:spTree>
    <p:extLst>
      <p:ext uri="{BB962C8B-B14F-4D97-AF65-F5344CB8AC3E}">
        <p14:creationId xmlns:p14="http://schemas.microsoft.com/office/powerpoint/2010/main" val="392717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Two Full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18859" y="0"/>
            <a:ext cx="6073141" cy="6857999"/>
          </a:xfrm>
        </p:spPr>
        <p:txBody>
          <a:bodyPr anchor="ctr"/>
          <a:lstStyle>
            <a:lvl1pPr marL="0" indent="0" algn="ctr">
              <a:buNone/>
              <a:defRPr>
                <a:solidFill>
                  <a:schemeClr val="tx1"/>
                </a:solidFill>
                <a:latin typeface="+mn-lt"/>
              </a:defRPr>
            </a:lvl1pPr>
          </a:lstStyle>
          <a:p>
            <a:r>
              <a:rPr lang="en-US" dirty="0"/>
              <a:t>Click icon to add picture</a:t>
            </a:r>
          </a:p>
        </p:txBody>
      </p:sp>
      <p:sp>
        <p:nvSpPr>
          <p:cNvPr id="7" name="Picture Placeholder 3"/>
          <p:cNvSpPr>
            <a:spLocks noGrp="1"/>
          </p:cNvSpPr>
          <p:nvPr>
            <p:ph type="pic" sz="quarter" idx="12"/>
          </p:nvPr>
        </p:nvSpPr>
        <p:spPr>
          <a:xfrm>
            <a:off x="1" y="1"/>
            <a:ext cx="6073140"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9" name="Text Placeholder 33"/>
          <p:cNvSpPr>
            <a:spLocks noGrp="1"/>
          </p:cNvSpPr>
          <p:nvPr>
            <p:ph type="body" sz="quarter" idx="18" hasCustomPrompt="1"/>
          </p:nvPr>
        </p:nvSpPr>
        <p:spPr>
          <a:xfrm>
            <a:off x="-9548"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387496"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498774" y="5015592"/>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73141" y="0"/>
            <a:ext cx="45719" cy="6858000"/>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511395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Three Full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0"/>
            <a:ext cx="4042250"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5" name="Picture Placeholder 25"/>
          <p:cNvSpPr>
            <a:spLocks noGrp="1"/>
          </p:cNvSpPr>
          <p:nvPr>
            <p:ph type="pic" sz="quarter" idx="14"/>
          </p:nvPr>
        </p:nvSpPr>
        <p:spPr>
          <a:xfrm>
            <a:off x="8159299" y="0"/>
            <a:ext cx="4032702"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6" name="Picture Placeholder 6"/>
          <p:cNvSpPr>
            <a:spLocks noGrp="1"/>
          </p:cNvSpPr>
          <p:nvPr>
            <p:ph type="pic" sz="quarter" idx="13"/>
          </p:nvPr>
        </p:nvSpPr>
        <p:spPr>
          <a:xfrm>
            <a:off x="4078854" y="0"/>
            <a:ext cx="4034293"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6" name="Text Placeholder 33"/>
          <p:cNvSpPr>
            <a:spLocks noGrp="1"/>
          </p:cNvSpPr>
          <p:nvPr>
            <p:ph type="body" sz="quarter" idx="18" hasCustomPrompt="1"/>
          </p:nvPr>
        </p:nvSpPr>
        <p:spPr>
          <a:xfrm>
            <a:off x="-9548"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4254709" y="5011670"/>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bwMode="gray">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0" y="0"/>
            <a:ext cx="45720" cy="6858000"/>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6" y="0"/>
            <a:ext cx="45720" cy="6858000"/>
          </a:xfrm>
          <a:solidFill>
            <a:schemeClr val="tx2">
              <a:lumMod val="75000"/>
            </a:schemeClr>
          </a:solidFill>
        </p:spPr>
        <p:txBody>
          <a:bodyPr/>
          <a:lstStyle>
            <a:lvl1pPr marL="0" indent="0">
              <a:buNone/>
              <a:defRPr baseline="0"/>
            </a:lvl1pPr>
          </a:lstStyle>
          <a:p>
            <a:pPr lvl="0"/>
            <a:r>
              <a:rPr lang="en-US" dirty="0"/>
              <a:t> </a:t>
            </a:r>
          </a:p>
        </p:txBody>
      </p:sp>
    </p:spTree>
    <p:extLst>
      <p:ext uri="{BB962C8B-B14F-4D97-AF65-F5344CB8AC3E}">
        <p14:creationId xmlns:p14="http://schemas.microsoft.com/office/powerpoint/2010/main" val="399150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p:cSld name="Green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bg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32741278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p:cSld name="Title Slide with Half Image">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r="50225"/>
          <a:stretch/>
        </p:blipFill>
        <p:spPr>
          <a:xfrm>
            <a:off x="2467" y="-1"/>
            <a:ext cx="6066101" cy="6858000"/>
          </a:xfrm>
          <a:prstGeom prst="rect">
            <a:avLst/>
          </a:prstGeom>
        </p:spPr>
      </p:pic>
      <p:sp>
        <p:nvSpPr>
          <p:cNvPr id="6" name="Picture Placeholder 5"/>
          <p:cNvSpPr>
            <a:spLocks noGrp="1"/>
          </p:cNvSpPr>
          <p:nvPr>
            <p:ph type="pic" sz="quarter" idx="13" hasCustomPrompt="1"/>
          </p:nvPr>
        </p:nvSpPr>
        <p:spPr>
          <a:xfrm>
            <a:off x="6123432" y="0"/>
            <a:ext cx="6068567" cy="6858000"/>
          </a:xfrm>
        </p:spPr>
        <p:txBody>
          <a:bodyPr anchor="ctr"/>
          <a:lstStyle>
            <a:lvl1pPr marL="0" indent="0" algn="ctr">
              <a:buNone/>
              <a:defRPr/>
            </a:lvl1pPr>
          </a:lstStyle>
          <a:p>
            <a:r>
              <a:rPr lang="en-US" dirty="0"/>
              <a:t>Insert Photo Here</a:t>
            </a:r>
          </a:p>
        </p:txBody>
      </p:sp>
      <p:sp>
        <p:nvSpPr>
          <p:cNvPr id="2" name="Title 1"/>
          <p:cNvSpPr>
            <a:spLocks noGrp="1"/>
          </p:cNvSpPr>
          <p:nvPr>
            <p:ph type="ctrTitle" hasCustomPrompt="1"/>
          </p:nvPr>
        </p:nvSpPr>
        <p:spPr bwMode="gray">
          <a:xfrm>
            <a:off x="427964" y="2738406"/>
            <a:ext cx="5417220" cy="1077218"/>
          </a:xfrm>
        </p:spPr>
        <p:txBody>
          <a:bodyPr wrap="square" tIns="91440" anchor="ctr" anchorCtr="0">
            <a:spAutoFit/>
          </a:bodyPr>
          <a:lstStyle>
            <a:lvl1pPr>
              <a:lnSpc>
                <a:spcPct val="80000"/>
              </a:lnSpc>
              <a:defRPr sz="4000" b="0" cap="all" baseline="0">
                <a:solidFill>
                  <a:schemeClr val="bg1"/>
                </a:solidFill>
                <a:effectLst/>
                <a:latin typeface="+mn-lt"/>
              </a:defRPr>
            </a:lvl1pPr>
          </a:lstStyle>
          <a:p>
            <a:r>
              <a:rPr lang="en-US" dirty="0"/>
              <a:t>Click to Add Presentation Title</a:t>
            </a:r>
          </a:p>
        </p:txBody>
      </p:sp>
      <p:sp>
        <p:nvSpPr>
          <p:cNvPr id="3" name="Subtitle 2"/>
          <p:cNvSpPr>
            <a:spLocks noGrp="1"/>
          </p:cNvSpPr>
          <p:nvPr>
            <p:ph type="subTitle" idx="1" hasCustomPrompt="1"/>
          </p:nvPr>
        </p:nvSpPr>
        <p:spPr bwMode="gray">
          <a:xfrm>
            <a:off x="427965" y="5450090"/>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965" y="5761656"/>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965" y="6249404"/>
            <a:ext cx="5424946" cy="193899"/>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2" name="Rectangle 11"/>
          <p:cNvSpPr/>
          <p:nvPr userDrawn="1"/>
        </p:nvSpPr>
        <p:spPr bwMode="gray">
          <a:xfrm>
            <a:off x="6068568" y="0"/>
            <a:ext cx="548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7964" y="422412"/>
            <a:ext cx="1538859" cy="597682"/>
          </a:xfrm>
          <a:prstGeom prst="rect">
            <a:avLst/>
          </a:prstGeom>
        </p:spPr>
      </p:pic>
    </p:spTree>
    <p:extLst>
      <p:ext uri="{BB962C8B-B14F-4D97-AF65-F5344CB8AC3E}">
        <p14:creationId xmlns:p14="http://schemas.microsoft.com/office/powerpoint/2010/main" val="25557134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Title Slide with Full Imag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0" y="0"/>
            <a:ext cx="12192000" cy="6858000"/>
          </a:xfrm>
        </p:spPr>
        <p:txBody>
          <a:bodyPr anchor="ctr"/>
          <a:lstStyle>
            <a:lvl1pPr marL="0" indent="0" algn="ctr">
              <a:buNone/>
              <a:defRPr/>
            </a:lvl1pPr>
          </a:lstStyle>
          <a:p>
            <a:r>
              <a:rPr lang="en-US" dirty="0"/>
              <a:t>Click icon to add picture</a:t>
            </a:r>
          </a:p>
        </p:txBody>
      </p:sp>
      <p:sp>
        <p:nvSpPr>
          <p:cNvPr id="5" name="Text Placeholder 4"/>
          <p:cNvSpPr>
            <a:spLocks noGrp="1"/>
          </p:cNvSpPr>
          <p:nvPr>
            <p:ph type="body" sz="quarter" idx="17" hasCustomPrompt="1"/>
          </p:nvPr>
        </p:nvSpPr>
        <p:spPr>
          <a:xfrm>
            <a:off x="1" y="3474002"/>
            <a:ext cx="6105804" cy="2774398"/>
          </a:xfrm>
          <a:solidFill>
            <a:srgbClr val="000000">
              <a:alpha val="70000"/>
            </a:srgbClr>
          </a:solidFill>
        </p:spPr>
        <p:txBody>
          <a:bodyPr/>
          <a:lstStyle>
            <a:lvl1pPr marL="0" indent="0">
              <a:buNone/>
              <a:defRPr/>
            </a:lvl1pPr>
            <a:lvl2pPr marL="541501" indent="0">
              <a:buNone/>
              <a:defRPr/>
            </a:lvl2pPr>
            <a:lvl3pPr marL="1086776" indent="0">
              <a:buNone/>
              <a:defRPr/>
            </a:lvl3pPr>
            <a:lvl4pPr marL="1630163" indent="0">
              <a:buNone/>
              <a:defRPr/>
            </a:lvl4pPr>
            <a:lvl5pPr marL="2173551" indent="0">
              <a:buNone/>
              <a:defRPr/>
            </a:lvl5pPr>
          </a:lstStyle>
          <a:p>
            <a:pPr lvl="0"/>
            <a:r>
              <a:rPr lang="en-US" dirty="0"/>
              <a:t> </a:t>
            </a:r>
          </a:p>
        </p:txBody>
      </p:sp>
      <p:sp>
        <p:nvSpPr>
          <p:cNvPr id="2" name="Title 1"/>
          <p:cNvSpPr>
            <a:spLocks noGrp="1"/>
          </p:cNvSpPr>
          <p:nvPr>
            <p:ph type="ctrTitle" hasCustomPrompt="1"/>
          </p:nvPr>
        </p:nvSpPr>
        <p:spPr bwMode="gray">
          <a:xfrm>
            <a:off x="256906" y="3759912"/>
            <a:ext cx="5686317" cy="886397"/>
          </a:xfrm>
        </p:spPr>
        <p:txBody>
          <a:bodyPr wrap="square" anchor="ctr" anchorCtr="0">
            <a:spAutoFit/>
          </a:bodyPr>
          <a:lstStyle>
            <a:lvl1pPr algn="l">
              <a:lnSpc>
                <a:spcPct val="80000"/>
              </a:lnSpc>
              <a:defRPr sz="3600" b="0" i="0" cap="all" baseline="0">
                <a:solidFill>
                  <a:schemeClr val="bg1"/>
                </a:solidFill>
                <a:effectLst/>
                <a:latin typeface="+mj-lt"/>
                <a:ea typeface="DIN Pro Black" charset="0"/>
                <a:cs typeface="DIN Pro Black" charset="0"/>
              </a:defRPr>
            </a:lvl1pPr>
          </a:lstStyle>
          <a:p>
            <a:r>
              <a:rPr lang="en-US" dirty="0"/>
              <a:t>Click to Add Presentation Title</a:t>
            </a:r>
          </a:p>
        </p:txBody>
      </p:sp>
      <p:sp>
        <p:nvSpPr>
          <p:cNvPr id="3" name="Subtitle 2"/>
          <p:cNvSpPr>
            <a:spLocks noGrp="1"/>
          </p:cNvSpPr>
          <p:nvPr>
            <p:ph type="subTitle" idx="1" hasCustomPrompt="1"/>
          </p:nvPr>
        </p:nvSpPr>
        <p:spPr bwMode="gray">
          <a:xfrm>
            <a:off x="256906" y="5001756"/>
            <a:ext cx="5686317" cy="246221"/>
          </a:xfrm>
        </p:spPr>
        <p:txBody>
          <a:bodyPr wrap="square" anchor="b">
            <a:spAutoFit/>
          </a:bodyPr>
          <a:lstStyle>
            <a:lvl1pPr marL="0" indent="0" algn="l">
              <a:lnSpc>
                <a:spcPct val="80000"/>
              </a:lnSpc>
              <a:spcBef>
                <a:spcPts val="0"/>
              </a:spcBef>
              <a:spcAft>
                <a:spcPts val="800"/>
              </a:spcAft>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256906" y="5282543"/>
            <a:ext cx="5686317" cy="221599"/>
          </a:xfrm>
        </p:spPr>
        <p:txBody>
          <a:bodyPr wrap="square" anchor="t">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1" name="Text Placeholder 9"/>
          <p:cNvSpPr>
            <a:spLocks noGrp="1"/>
          </p:cNvSpPr>
          <p:nvPr>
            <p:ph type="body" sz="quarter" idx="13" hasCustomPrompt="1"/>
          </p:nvPr>
        </p:nvSpPr>
        <p:spPr bwMode="gray">
          <a:xfrm>
            <a:off x="256906" y="5793137"/>
            <a:ext cx="2242645" cy="193899"/>
          </a:xfrm>
        </p:spPr>
        <p:txBody>
          <a:bodyPr wrap="square">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2127776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Closing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86156" y="2493034"/>
            <a:ext cx="4819688" cy="1871932"/>
          </a:xfrm>
          <a:prstGeom prst="rect">
            <a:avLst/>
          </a:prstGeom>
        </p:spPr>
      </p:pic>
    </p:spTree>
    <p:extLst>
      <p:ext uri="{BB962C8B-B14F-4D97-AF65-F5344CB8AC3E}">
        <p14:creationId xmlns:p14="http://schemas.microsoft.com/office/powerpoint/2010/main" val="3343796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Accent Color Slide Options">
    <p:bg>
      <p:bgPr>
        <a:solidFill>
          <a:srgbClr val="000000"/>
        </a:solidFill>
        <a:effectLst/>
      </p:bgPr>
    </p:bg>
    <p:spTree>
      <p:nvGrpSpPr>
        <p:cNvPr id="1" name=""/>
        <p:cNvGrpSpPr/>
        <p:nvPr/>
      </p:nvGrpSpPr>
      <p:grpSpPr>
        <a:xfrm>
          <a:off x="0" y="0"/>
          <a:ext cx="0" cy="0"/>
          <a:chOff x="0" y="0"/>
          <a:chExt cx="0" cy="0"/>
        </a:xfrm>
      </p:grpSpPr>
      <p:sp>
        <p:nvSpPr>
          <p:cNvPr id="2" name="TextBox 1"/>
          <p:cNvSpPr txBox="1"/>
          <p:nvPr/>
        </p:nvSpPr>
        <p:spPr>
          <a:xfrm>
            <a:off x="858994" y="1505405"/>
            <a:ext cx="10474021" cy="3847207"/>
          </a:xfrm>
          <a:prstGeom prst="rect">
            <a:avLst/>
          </a:prstGeom>
          <a:noFill/>
        </p:spPr>
        <p:txBody>
          <a:bodyPr wrap="none" lIns="0" tIns="0" rIns="0" bIns="0" rtlCol="0" anchor="ctr">
            <a:spAutoFit/>
          </a:bodyPr>
          <a:lstStyle/>
          <a:p>
            <a:pPr algn="ctr"/>
            <a:r>
              <a:rPr lang="en-US" sz="12500" dirty="0">
                <a:solidFill>
                  <a:schemeClr val="bg1"/>
                </a:solidFill>
              </a:rPr>
              <a:t>Accent Color</a:t>
            </a:r>
            <a:br>
              <a:rPr lang="en-US" sz="12500" dirty="0">
                <a:solidFill>
                  <a:schemeClr val="bg1"/>
                </a:solidFill>
              </a:rPr>
            </a:br>
            <a:r>
              <a:rPr lang="en-US" sz="12500" dirty="0">
                <a:solidFill>
                  <a:schemeClr val="bg1"/>
                </a:solidFill>
              </a:rPr>
              <a:t>Slide Options</a:t>
            </a:r>
          </a:p>
        </p:txBody>
      </p:sp>
    </p:spTree>
    <p:extLst>
      <p:ext uri="{BB962C8B-B14F-4D97-AF65-F5344CB8AC3E}">
        <p14:creationId xmlns:p14="http://schemas.microsoft.com/office/powerpoint/2010/main" val="228691229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p:cSld name="Blue Block &amp;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60402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650" t="650"/>
          <a:stretch/>
        </p:blipFill>
        <p:spPr>
          <a:xfrm rot="10800000">
            <a:off x="1" y="0"/>
            <a:ext cx="2586914" cy="6857999"/>
          </a:xfrm>
          <a:prstGeom prst="rect">
            <a:avLst/>
          </a:pr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650" t="650"/>
          <a:stretch/>
        </p:blipFill>
        <p:spPr>
          <a:xfrm>
            <a:off x="9602618" y="0"/>
            <a:ext cx="2586914" cy="6857999"/>
          </a:xfrm>
          <a:prstGeom prst="rect">
            <a:avLst/>
          </a:prstGeom>
        </p:spPr>
      </p:pic>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2" name="Rectangle 1"/>
          <p:cNvSpPr/>
          <p:nvPr userDrawn="1"/>
        </p:nvSpPr>
        <p:spPr bwMode="gray">
          <a:xfrm>
            <a:off x="2585546" y="0"/>
            <a:ext cx="70209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itle 21"/>
          <p:cNvSpPr>
            <a:spLocks noGrp="1"/>
          </p:cNvSpPr>
          <p:nvPr>
            <p:ph type="title" hasCustomPrompt="1"/>
          </p:nvPr>
        </p:nvSpPr>
        <p:spPr>
          <a:xfrm>
            <a:off x="2984942" y="627503"/>
            <a:ext cx="6222120" cy="344710"/>
          </a:xfrm>
        </p:spPr>
        <p:txBody>
          <a:bodyPr wrap="square" anchor="ctr">
            <a:spAutoFit/>
          </a:bodyPr>
          <a:lstStyle>
            <a:lvl1pPr algn="l">
              <a:lnSpc>
                <a:spcPct val="80000"/>
              </a:lnSpc>
              <a:defRPr sz="2800">
                <a:solidFill>
                  <a:schemeClr val="bg2"/>
                </a:solidFill>
                <a:latin typeface="+mn-lt"/>
              </a:defRPr>
            </a:lvl1pPr>
          </a:lstStyle>
          <a:p>
            <a:r>
              <a:rPr lang="en-US" dirty="0"/>
              <a:t>Click to add agenda title</a:t>
            </a:r>
          </a:p>
        </p:txBody>
      </p:sp>
      <p:sp>
        <p:nvSpPr>
          <p:cNvPr id="20" name="Content Placeholder 3"/>
          <p:cNvSpPr>
            <a:spLocks noGrp="1"/>
          </p:cNvSpPr>
          <p:nvPr>
            <p:ph sz="half" idx="2" hasCustomPrompt="1"/>
          </p:nvPr>
        </p:nvSpPr>
        <p:spPr>
          <a:xfrm>
            <a:off x="2984942" y="1334813"/>
            <a:ext cx="6222120" cy="5145885"/>
          </a:xfrm>
        </p:spPr>
        <p:txBody>
          <a:bodyPr anchor="t">
            <a:normAutofit/>
          </a:bodyPr>
          <a:lstStyle>
            <a:lvl1pPr marL="457200" indent="-457200">
              <a:buClr>
                <a:schemeClr val="tx1"/>
              </a:buClr>
              <a:buFont typeface="+mj-lt"/>
              <a:buAutoNum type="arabicPeriod"/>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960261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Rectangle 12"/>
          <p:cNvSpPr/>
          <p:nvPr userDrawn="1"/>
        </p:nvSpPr>
        <p:spPr>
          <a:xfrm>
            <a:off x="2534520"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814913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Light Blu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590048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p:cSld name="Blu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146279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Blue Number Divider">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567442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p:cSld name="Light Blue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260944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Light Blu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a:noFill/>
        </p:spPr>
        <p:txBody>
          <a:bodyPr>
            <a:spAutoFit/>
          </a:bodyPr>
          <a:lstStyle>
            <a:lvl1pPr algn="l">
              <a:lnSpc>
                <a:spcPct val="80000"/>
              </a:lnSpc>
              <a:defRPr sz="480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667677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Light Blu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395697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p:cSld name="Orange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396456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p:cSld name="Orang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72656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Orang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867653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Gold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2552469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Gold Accent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10598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Orange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1700465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p:cSld name="Gold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5042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Black Background">
    <p:bg bwMode="black">
      <p:bgPr>
        <a:solidFill>
          <a:srgbClr val="000000"/>
        </a:solidFill>
        <a:effectLst/>
      </p:bgPr>
    </p:bg>
    <p:spTree>
      <p:nvGrpSpPr>
        <p:cNvPr id="1" name=""/>
        <p:cNvGrpSpPr/>
        <p:nvPr/>
      </p:nvGrpSpPr>
      <p:grpSpPr>
        <a:xfrm>
          <a:off x="0" y="0"/>
          <a:ext cx="0" cy="0"/>
          <a:chOff x="0" y="0"/>
          <a:chExt cx="0" cy="0"/>
        </a:xfrm>
      </p:grpSpPr>
      <p:sp>
        <p:nvSpPr>
          <p:cNvPr id="10"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8693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p:cSld name="Blank_DO NOT DELE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27260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52725" y="3123443"/>
            <a:ext cx="9576659" cy="609398"/>
          </a:xfrm>
        </p:spPr>
        <p:txBody>
          <a:bodyPr wrap="square" tIns="91440" anchor="ctr" anchorCtr="0">
            <a:spAutoFit/>
          </a:bodyPr>
          <a:lstStyle>
            <a:lvl1pPr>
              <a:lnSpc>
                <a:spcPct val="80000"/>
              </a:lnSpc>
              <a:defRPr sz="4200" b="0" cap="all" baseline="0">
                <a:solidFill>
                  <a:schemeClr val="bg1"/>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bwMode="gray">
          <a:xfrm>
            <a:off x="652727" y="4853647"/>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652727" y="5165213"/>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75600" y="3727"/>
            <a:ext cx="4216400" cy="6850545"/>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2727" y="482521"/>
            <a:ext cx="2050284" cy="1646577"/>
          </a:xfrm>
          <a:prstGeom prst="rect">
            <a:avLst/>
          </a:prstGeom>
        </p:spPr>
      </p:pic>
      <p:sp>
        <p:nvSpPr>
          <p:cNvPr id="12" name="TextBox 11"/>
          <p:cNvSpPr txBox="1"/>
          <p:nvPr userDrawn="1"/>
        </p:nvSpPr>
        <p:spPr>
          <a:xfrm>
            <a:off x="654044" y="6204552"/>
            <a:ext cx="1311256" cy="246221"/>
          </a:xfrm>
          <a:prstGeom prst="rect">
            <a:avLst/>
          </a:prstGeom>
          <a:noFill/>
        </p:spPr>
        <p:txBody>
          <a:bodyPr wrap="none" lIns="0" tIns="0" rIns="0" bIns="0" rtlCol="0">
            <a:spAutoFit/>
          </a:bodyPr>
          <a:lstStyle/>
          <a:p>
            <a:r>
              <a:rPr lang="en-US" sz="1600" kern="1200" dirty="0">
                <a:solidFill>
                  <a:schemeClr val="bg1"/>
                </a:solidFill>
                <a:effectLst/>
                <a:latin typeface="+mn-lt"/>
                <a:ea typeface="+mn-ea"/>
                <a:cs typeface="+mn-cs"/>
              </a:rPr>
              <a:t>liveworx.com</a:t>
            </a:r>
            <a:endParaRPr lang="en-US" sz="1600" dirty="0">
              <a:solidFill>
                <a:schemeClr val="bg1"/>
              </a:solidFill>
            </a:endParaRPr>
          </a:p>
        </p:txBody>
      </p:sp>
      <p:sp>
        <p:nvSpPr>
          <p:cNvPr id="14" name="TextBox 13"/>
          <p:cNvSpPr txBox="1"/>
          <p:nvPr userDrawn="1"/>
        </p:nvSpPr>
        <p:spPr>
          <a:xfrm>
            <a:off x="2294867" y="6219940"/>
            <a:ext cx="1368965" cy="215444"/>
          </a:xfrm>
          <a:prstGeom prst="rect">
            <a:avLst/>
          </a:prstGeom>
          <a:noFill/>
        </p:spPr>
        <p:txBody>
          <a:bodyPr wrap="none" lIns="0" tIns="0" rIns="0" bIns="0" rtlCol="0" anchor="ctr">
            <a:spAutoFit/>
          </a:bodyPr>
          <a:lstStyle/>
          <a:p>
            <a:r>
              <a:rPr lang="en-US" sz="1400" kern="1200" spc="300" dirty="0">
                <a:solidFill>
                  <a:schemeClr val="bg1"/>
                </a:solidFill>
                <a:effectLst/>
                <a:latin typeface="+mn-lt"/>
                <a:ea typeface="+mn-ea"/>
                <a:cs typeface="+mn-cs"/>
              </a:rPr>
              <a:t>#LIVEWORX</a:t>
            </a:r>
          </a:p>
        </p:txBody>
      </p:sp>
      <p:cxnSp>
        <p:nvCxnSpPr>
          <p:cNvPr id="15" name="Straight Connector 14"/>
          <p:cNvCxnSpPr/>
          <p:nvPr userDrawn="1"/>
        </p:nvCxnSpPr>
        <p:spPr>
          <a:xfrm>
            <a:off x="2130083" y="6113306"/>
            <a:ext cx="0" cy="428713"/>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1574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314.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95899" y="1380744"/>
            <a:ext cx="5568176" cy="5029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21144" y="1380744"/>
            <a:ext cx="5568176" cy="5029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43310022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5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95899" y="1380744"/>
            <a:ext cx="5568176" cy="5029200"/>
          </a:xfrm>
        </p:spPr>
        <p:txBody>
          <a:bodyPr/>
          <a:lstStyle>
            <a:lvl1pPr>
              <a:defRPr sz="2700"/>
            </a:lvl1pPr>
            <a:lvl2pPr>
              <a:defRPr sz="2400"/>
            </a:lvl2pPr>
            <a:lvl3pPr>
              <a:defRPr sz="2100"/>
            </a:lvl3pPr>
            <a:lvl4pPr>
              <a:defRPr sz="1900"/>
            </a:lvl4pPr>
            <a:lvl5pPr>
              <a:defRPr sz="19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21144" y="1380744"/>
            <a:ext cx="5568176" cy="5029200"/>
          </a:xfrm>
        </p:spPr>
        <p:txBody>
          <a:bodyPr/>
          <a:lstStyle>
            <a:lvl1pPr>
              <a:defRPr sz="2700"/>
            </a:lvl1pPr>
            <a:lvl2pPr>
              <a:defRPr sz="2400"/>
            </a:lvl2pPr>
            <a:lvl3pPr>
              <a:defRPr sz="2100"/>
            </a:lvl3pPr>
            <a:lvl4pPr>
              <a:defRPr sz="1900"/>
            </a:lvl4pPr>
            <a:lvl5pPr>
              <a:defRPr sz="19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400">
                <a:solidFill>
                  <a:schemeClr val="tx1"/>
                </a:solidFill>
                <a:latin typeface="Arial Narrow" pitchFamily="34" charset="0"/>
              </a:defRPr>
            </a:lvl1pPr>
            <a:lvl2pPr marL="608595" indent="0" algn="ctr">
              <a:buNone/>
              <a:defRPr>
                <a:solidFill>
                  <a:schemeClr val="tx1">
                    <a:tint val="75000"/>
                  </a:schemeClr>
                </a:solidFill>
              </a:defRPr>
            </a:lvl2pPr>
            <a:lvl3pPr marL="1217189" indent="0" algn="ctr">
              <a:buNone/>
              <a:defRPr>
                <a:solidFill>
                  <a:schemeClr val="tx1">
                    <a:tint val="75000"/>
                  </a:schemeClr>
                </a:solidFill>
              </a:defRPr>
            </a:lvl3pPr>
            <a:lvl4pPr marL="1825783" indent="0" algn="ctr">
              <a:buNone/>
              <a:defRPr>
                <a:solidFill>
                  <a:schemeClr val="tx1">
                    <a:tint val="75000"/>
                  </a:schemeClr>
                </a:solidFill>
              </a:defRPr>
            </a:lvl4pPr>
            <a:lvl5pPr marL="2434377" indent="0" algn="ctr">
              <a:buNone/>
              <a:defRPr>
                <a:solidFill>
                  <a:schemeClr val="tx1">
                    <a:tint val="75000"/>
                  </a:schemeClr>
                </a:solidFill>
              </a:defRPr>
            </a:lvl5pPr>
            <a:lvl6pPr marL="3042971" indent="0" algn="ctr">
              <a:buNone/>
              <a:defRPr>
                <a:solidFill>
                  <a:schemeClr val="tx1">
                    <a:tint val="75000"/>
                  </a:schemeClr>
                </a:solidFill>
              </a:defRPr>
            </a:lvl6pPr>
            <a:lvl7pPr marL="3651567" indent="0" algn="ctr">
              <a:buNone/>
              <a:defRPr>
                <a:solidFill>
                  <a:schemeClr val="tx1">
                    <a:tint val="75000"/>
                  </a:schemeClr>
                </a:solidFill>
              </a:defRPr>
            </a:lvl7pPr>
            <a:lvl8pPr marL="4260159" indent="0" algn="ctr">
              <a:buNone/>
              <a:defRPr>
                <a:solidFill>
                  <a:schemeClr val="tx1">
                    <a:tint val="75000"/>
                  </a:schemeClr>
                </a:solidFill>
              </a:defRPr>
            </a:lvl8pPr>
            <a:lvl9pPr marL="4868755" indent="0" algn="ctr">
              <a:buNone/>
              <a:defRPr>
                <a:solidFill>
                  <a:schemeClr val="tx1">
                    <a:tint val="75000"/>
                  </a:schemeClr>
                </a:solidFill>
              </a:defRPr>
            </a:lvl9pPr>
          </a:lstStyle>
          <a:p>
            <a:r>
              <a:rPr lang="en-US"/>
              <a:t>Click to edit Master subtitle style</a:t>
            </a:r>
          </a:p>
        </p:txBody>
      </p:sp>
      <p:sp>
        <p:nvSpPr>
          <p:cNvPr id="6"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900" b="1"/>
            </a:lvl1pPr>
          </a:lstStyle>
          <a:p>
            <a:endParaRPr lang="en-US" dirty="0">
              <a:solidFill>
                <a:srgbClr val="53565A"/>
              </a:solidFill>
            </a:endParaRPr>
          </a:p>
        </p:txBody>
      </p:sp>
    </p:spTree>
    <p:extLst>
      <p:ext uri="{BB962C8B-B14F-4D97-AF65-F5344CB8AC3E}">
        <p14:creationId xmlns:p14="http://schemas.microsoft.com/office/powerpoint/2010/main" val="260460966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cSld name="Blank_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00121371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cSld name="Blank_Image_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00153368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92613" y="1380744"/>
            <a:ext cx="11599650" cy="5029200"/>
          </a:xfrm>
        </p:spPr>
        <p:txBody>
          <a:bodyPr>
            <a:noAutofit/>
          </a:bodyPr>
          <a:lstStyle>
            <a:lvl1pPr marL="230094" indent="-230094">
              <a:spcBef>
                <a:spcPts val="1800"/>
              </a:spcBef>
              <a:buClr>
                <a:schemeClr val="bg2"/>
              </a:buClr>
              <a:defRPr sz="2000">
                <a:solidFill>
                  <a:schemeClr val="bg2"/>
                </a:solidFill>
              </a:defRPr>
            </a:lvl1pPr>
            <a:lvl2pPr marL="683935" indent="-228504">
              <a:spcBef>
                <a:spcPts val="0"/>
              </a:spcBef>
              <a:spcAft>
                <a:spcPts val="200"/>
              </a:spcAft>
              <a:defRPr sz="1900">
                <a:solidFill>
                  <a:srgbClr val="4C4D4F"/>
                </a:solidFill>
                <a:latin typeface="Arial Narrow" pitchFamily="34" charset="0"/>
              </a:defRPr>
            </a:lvl2pPr>
            <a:lvl3pPr marL="1142534" indent="-228504">
              <a:spcBef>
                <a:spcPts val="0"/>
              </a:spcBef>
              <a:spcAft>
                <a:spcPts val="200"/>
              </a:spcAft>
              <a:defRPr sz="1600">
                <a:solidFill>
                  <a:srgbClr val="4C4D4F"/>
                </a:solidFill>
                <a:latin typeface="Arial Narrow" pitchFamily="34" charset="0"/>
              </a:defRPr>
            </a:lvl3pPr>
            <a:lvl4pPr marL="1428169" indent="-228504">
              <a:defRPr sz="1500">
                <a:solidFill>
                  <a:srgbClr val="4C4D4F"/>
                </a:solidFill>
              </a:defRPr>
            </a:lvl4pPr>
            <a:lvl5pPr marL="1826470" indent="-228504">
              <a:defRPr sz="1500">
                <a:solidFill>
                  <a:srgbClr val="4C4D4F"/>
                </a:solidFill>
              </a:defRPr>
            </a:lvl5pPr>
          </a:lstStyle>
          <a:p>
            <a:pPr lvl="0"/>
            <a:r>
              <a:rPr lang="en-US"/>
              <a:t>Click to edit Master text styles</a:t>
            </a:r>
          </a:p>
          <a:p>
            <a:pPr lvl="1"/>
            <a:r>
              <a:rPr lang="en-US"/>
              <a:t>Second level</a:t>
            </a:r>
          </a:p>
          <a:p>
            <a:pPr lvl="2"/>
            <a:r>
              <a:rPr lang="en-US"/>
              <a:t>Third level</a:t>
            </a:r>
          </a:p>
        </p:txBody>
      </p:sp>
      <p:sp>
        <p:nvSpPr>
          <p:cNvPr id="8" name="Title 7"/>
          <p:cNvSpPr>
            <a:spLocks noGrp="1"/>
          </p:cNvSpPr>
          <p:nvPr>
            <p:ph type="title"/>
          </p:nvPr>
        </p:nvSpPr>
        <p:spPr/>
        <p:txBody>
          <a:bodyPr/>
          <a:lstStyle/>
          <a:p>
            <a:r>
              <a:rPr lang="en-US"/>
              <a:t>Click to edit Master title style</a:t>
            </a:r>
            <a:endParaRPr lang="en-US" dirty="0"/>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300">
                <a:solidFill>
                  <a:schemeClr val="tx1"/>
                </a:solidFill>
                <a:latin typeface="Arial Narrow" pitchFamily="34" charset="0"/>
              </a:defRPr>
            </a:lvl1pPr>
            <a:lvl2pPr marL="457014"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4" indent="0" algn="ctr">
              <a:buNone/>
              <a:defRPr>
                <a:solidFill>
                  <a:schemeClr val="tx1">
                    <a:tint val="75000"/>
                  </a:schemeClr>
                </a:solidFill>
              </a:defRPr>
            </a:lvl5pPr>
            <a:lvl6pPr marL="2285070" indent="0" algn="ctr">
              <a:buNone/>
              <a:defRPr>
                <a:solidFill>
                  <a:schemeClr val="tx1">
                    <a:tint val="75000"/>
                  </a:schemeClr>
                </a:solidFill>
              </a:defRPr>
            </a:lvl6pPr>
            <a:lvl7pPr marL="2742084" indent="0" algn="ctr">
              <a:buNone/>
              <a:defRPr>
                <a:solidFill>
                  <a:schemeClr val="tx1">
                    <a:tint val="75000"/>
                  </a:schemeClr>
                </a:solidFill>
              </a:defRPr>
            </a:lvl7pPr>
            <a:lvl8pPr marL="3199097" indent="0" algn="ctr">
              <a:buNone/>
              <a:defRPr>
                <a:solidFill>
                  <a:schemeClr val="tx1">
                    <a:tint val="75000"/>
                  </a:schemeClr>
                </a:solidFill>
              </a:defRPr>
            </a:lvl8pPr>
            <a:lvl9pPr marL="3656112"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dirty="0"/>
          </a:p>
        </p:txBody>
      </p:sp>
    </p:spTree>
    <p:extLst>
      <p:ext uri="{BB962C8B-B14F-4D97-AF65-F5344CB8AC3E}">
        <p14:creationId xmlns:p14="http://schemas.microsoft.com/office/powerpoint/2010/main" val="235328672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cSld name="Divider">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52"/>
            <a:ext cx="12192000" cy="6856894"/>
          </a:xfrm>
          <a:prstGeom prst="rect">
            <a:avLst/>
          </a:prstGeom>
        </p:spPr>
      </p:pic>
      <p:sp>
        <p:nvSpPr>
          <p:cNvPr id="22" name="Title 21"/>
          <p:cNvSpPr>
            <a:spLocks noGrp="1"/>
          </p:cNvSpPr>
          <p:nvPr>
            <p:ph type="title" hasCustomPrompt="1"/>
          </p:nvPr>
        </p:nvSpPr>
        <p:spPr bwMode="gray">
          <a:xfrm>
            <a:off x="413020" y="3133535"/>
            <a:ext cx="11365960" cy="590931"/>
          </a:xfrm>
          <a:noFill/>
        </p:spPr>
        <p:txBody>
          <a:bodyPr wrap="square" anchor="ctr">
            <a:spAutoFit/>
          </a:bodyPr>
          <a:lstStyle>
            <a:lvl1pPr algn="ctr">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22538" y="5244412"/>
            <a:ext cx="1650362" cy="1201332"/>
          </a:xfrm>
          <a:prstGeom prst="rect">
            <a:avLst/>
          </a:prstGeom>
        </p:spPr>
      </p:pic>
      <p:sp>
        <p:nvSpPr>
          <p:cNvPr id="12" name="TextBox 11"/>
          <p:cNvSpPr txBox="1"/>
          <p:nvPr userDrawn="1"/>
        </p:nvSpPr>
        <p:spPr>
          <a:xfrm>
            <a:off x="277550" y="6589057"/>
            <a:ext cx="1218282" cy="184666"/>
          </a:xfrm>
          <a:prstGeom prst="rect">
            <a:avLst/>
          </a:prstGeom>
          <a:noFill/>
        </p:spPr>
        <p:txBody>
          <a:bodyPr wrap="none" lIns="0" tIns="0" rIns="0" bIns="0" rtlCol="0">
            <a:spAutoFit/>
          </a:bodyPr>
          <a:lstStyle/>
          <a:p>
            <a:pPr algn="l"/>
            <a:r>
              <a:rPr lang="en-US" sz="1200" spc="300" dirty="0">
                <a:solidFill>
                  <a:schemeClr val="bg1"/>
                </a:solidFill>
              </a:rPr>
              <a:t>#LIVEWORX</a:t>
            </a:r>
          </a:p>
        </p:txBody>
      </p:sp>
    </p:spTree>
    <p:extLst>
      <p:ext uri="{BB962C8B-B14F-4D97-AF65-F5344CB8AC3E}">
        <p14:creationId xmlns:p14="http://schemas.microsoft.com/office/powerpoint/2010/main" val="27078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Orang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154212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B7DCEC-F3DB-44D5-AF50-7F0026FE46C2}"/>
              </a:ext>
            </a:extLst>
          </p:cNvPr>
          <p:cNvSpPr/>
          <p:nvPr userDrawn="1"/>
        </p:nvSpPr>
        <p:spPr>
          <a:xfrm>
            <a:off x="0" y="0"/>
            <a:ext cx="8385464" cy="6867144"/>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2245"/>
              <a:gd name="connsiteX1" fmla="*/ 8385464 w 8385464"/>
              <a:gd name="connsiteY1" fmla="*/ 0 h 6882245"/>
              <a:gd name="connsiteX2" fmla="*/ 6255328 w 8385464"/>
              <a:gd name="connsiteY2" fmla="*/ 5029200 h 6882245"/>
              <a:gd name="connsiteX3" fmla="*/ 6871856 w 8385464"/>
              <a:gd name="connsiteY3" fmla="*/ 6882245 h 6882245"/>
              <a:gd name="connsiteX4" fmla="*/ 0 w 8385464"/>
              <a:gd name="connsiteY4" fmla="*/ 6858000 h 6882245"/>
              <a:gd name="connsiteX5" fmla="*/ 0 w 8385464"/>
              <a:gd name="connsiteY5" fmla="*/ 0 h 6882245"/>
              <a:gd name="connsiteX0" fmla="*/ 0 w 8385464"/>
              <a:gd name="connsiteY0" fmla="*/ 0 h 6882245"/>
              <a:gd name="connsiteX1" fmla="*/ 8385464 w 8385464"/>
              <a:gd name="connsiteY1" fmla="*/ 0 h 6882245"/>
              <a:gd name="connsiteX2" fmla="*/ 6255328 w 8385464"/>
              <a:gd name="connsiteY2" fmla="*/ 5029200 h 6882245"/>
              <a:gd name="connsiteX3" fmla="*/ 6843503 w 8385464"/>
              <a:gd name="connsiteY3" fmla="*/ 6882245 h 6882245"/>
              <a:gd name="connsiteX4" fmla="*/ 0 w 8385464"/>
              <a:gd name="connsiteY4" fmla="*/ 6858000 h 6882245"/>
              <a:gd name="connsiteX5" fmla="*/ 0 w 8385464"/>
              <a:gd name="connsiteY5" fmla="*/ 0 h 6882245"/>
              <a:gd name="connsiteX0" fmla="*/ 0 w 8385464"/>
              <a:gd name="connsiteY0" fmla="*/ 0 h 6858000"/>
              <a:gd name="connsiteX1" fmla="*/ 8385464 w 8385464"/>
              <a:gd name="connsiteY1" fmla="*/ 0 h 6858000"/>
              <a:gd name="connsiteX2" fmla="*/ 6255328 w 8385464"/>
              <a:gd name="connsiteY2" fmla="*/ 5029200 h 6858000"/>
              <a:gd name="connsiteX3" fmla="*/ 6843503 w 8385464"/>
              <a:gd name="connsiteY3" fmla="*/ 6853891 h 6858000"/>
              <a:gd name="connsiteX4" fmla="*/ 0 w 8385464"/>
              <a:gd name="connsiteY4" fmla="*/ 6858000 h 6858000"/>
              <a:gd name="connsiteX5" fmla="*/ 0 w 838546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5464" h="6858000">
                <a:moveTo>
                  <a:pt x="0" y="0"/>
                </a:moveTo>
                <a:lnTo>
                  <a:pt x="8385464" y="0"/>
                </a:lnTo>
                <a:cubicBezTo>
                  <a:pt x="7879774" y="1572491"/>
                  <a:pt x="6951518" y="3158836"/>
                  <a:pt x="6255328" y="5029200"/>
                </a:cubicBezTo>
                <a:cubicBezTo>
                  <a:pt x="6698673" y="6345381"/>
                  <a:pt x="6317032" y="5402628"/>
                  <a:pt x="6843503" y="6853891"/>
                </a:cubicBezTo>
                <a:lnTo>
                  <a:pt x="0" y="6858000"/>
                </a:lnTo>
                <a:lnTo>
                  <a:pt x="0" y="0"/>
                </a:lnTo>
                <a:close/>
              </a:path>
            </a:pathLst>
          </a:custGeom>
          <a:solidFill>
            <a:srgbClr val="2E35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6" name="Picture 15">
            <a:extLst>
              <a:ext uri="{FF2B5EF4-FFF2-40B4-BE49-F238E27FC236}">
                <a16:creationId xmlns:a16="http://schemas.microsoft.com/office/drawing/2014/main" id="{13EB79B0-1C65-4824-AE7E-4624F1BE363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39046" y="4210541"/>
            <a:ext cx="3252063" cy="1265243"/>
          </a:xfrm>
          <a:prstGeom prst="rect">
            <a:avLst/>
          </a:prstGeom>
        </p:spPr>
      </p:pic>
      <p:grpSp>
        <p:nvGrpSpPr>
          <p:cNvPr id="17" name="Group 16">
            <a:extLst>
              <a:ext uri="{FF2B5EF4-FFF2-40B4-BE49-F238E27FC236}">
                <a16:creationId xmlns:a16="http://schemas.microsoft.com/office/drawing/2014/main" id="{2D99F2D6-A8E8-48C8-81DC-1B16354D0A70}"/>
              </a:ext>
            </a:extLst>
          </p:cNvPr>
          <p:cNvGrpSpPr/>
          <p:nvPr userDrawn="1"/>
        </p:nvGrpSpPr>
        <p:grpSpPr>
          <a:xfrm>
            <a:off x="4532198" y="-1714644"/>
            <a:ext cx="3827714" cy="9445752"/>
            <a:chOff x="4094048" y="-1695594"/>
            <a:chExt cx="3827714" cy="9445752"/>
          </a:xfrm>
        </p:grpSpPr>
        <p:sp>
          <p:nvSpPr>
            <p:cNvPr id="18" name="Freeform 4">
              <a:extLst>
                <a:ext uri="{FF2B5EF4-FFF2-40B4-BE49-F238E27FC236}">
                  <a16:creationId xmlns:a16="http://schemas.microsoft.com/office/drawing/2014/main" id="{EB2C8933-4D77-4DE0-A477-987E6E83C6AF}"/>
                </a:ext>
              </a:extLst>
            </p:cNvPr>
            <p:cNvSpPr/>
            <p:nvPr/>
          </p:nvSpPr>
          <p:spPr>
            <a:xfrm>
              <a:off x="4094048" y="4104058"/>
              <a:ext cx="2681459" cy="2788159"/>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Lst>
              <a:ahLst/>
              <a:cxnLst>
                <a:cxn ang="0">
                  <a:pos x="connsiteX0" y="connsiteY0"/>
                </a:cxn>
                <a:cxn ang="0">
                  <a:pos x="connsiteX1" y="connsiteY1"/>
                </a:cxn>
                <a:cxn ang="0">
                  <a:pos x="connsiteX2" y="connsiteY2"/>
                </a:cxn>
              </a:cxnLst>
              <a:rect l="l" t="t" r="r" b="b"/>
              <a:pathLst>
                <a:path w="1166989" h="1213426">
                  <a:moveTo>
                    <a:pt x="857693" y="0"/>
                  </a:moveTo>
                  <a:lnTo>
                    <a:pt x="1166989" y="1211531"/>
                  </a:lnTo>
                  <a:lnTo>
                    <a:pt x="0" y="1213426"/>
                  </a:lnTo>
                </a:path>
              </a:pathLst>
            </a:custGeom>
            <a:gradFill>
              <a:gsLst>
                <a:gs pos="2000">
                  <a:schemeClr val="bg2">
                    <a:lumMod val="50000"/>
                  </a:schemeClr>
                </a:gs>
                <a:gs pos="100000">
                  <a:schemeClr val="bg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Isosceles Triangle 3">
              <a:extLst>
                <a:ext uri="{FF2B5EF4-FFF2-40B4-BE49-F238E27FC236}">
                  <a16:creationId xmlns:a16="http://schemas.microsoft.com/office/drawing/2014/main" id="{4F4EF7A4-035D-4172-AF61-5D3483B2916C}"/>
                </a:ext>
              </a:extLst>
            </p:cNvPr>
            <p:cNvSpPr/>
            <p:nvPr/>
          </p:nvSpPr>
          <p:spPr>
            <a:xfrm rot="13120470">
              <a:off x="5797893" y="-1695594"/>
              <a:ext cx="2123869" cy="9445752"/>
            </a:xfrm>
            <a:custGeom>
              <a:avLst/>
              <a:gdLst>
                <a:gd name="connsiteX0" fmla="*/ 0 w 1349298"/>
                <a:gd name="connsiteY0" fmla="*/ 5885253 h 5885253"/>
                <a:gd name="connsiteX1" fmla="*/ 674649 w 1349298"/>
                <a:gd name="connsiteY1" fmla="*/ 0 h 5885253"/>
                <a:gd name="connsiteX2" fmla="*/ 1349298 w 1349298"/>
                <a:gd name="connsiteY2" fmla="*/ 5885253 h 5885253"/>
                <a:gd name="connsiteX3" fmla="*/ 0 w 1349298"/>
                <a:gd name="connsiteY3" fmla="*/ 5885253 h 5885253"/>
                <a:gd name="connsiteX0" fmla="*/ 0 w 1304760"/>
                <a:gd name="connsiteY0" fmla="*/ 5885253 h 5885253"/>
                <a:gd name="connsiteX1" fmla="*/ 674649 w 1304760"/>
                <a:gd name="connsiteY1" fmla="*/ 0 h 5885253"/>
                <a:gd name="connsiteX2" fmla="*/ 1304760 w 1304760"/>
                <a:gd name="connsiteY2" fmla="*/ 5698299 h 5885253"/>
                <a:gd name="connsiteX3" fmla="*/ 0 w 1304760"/>
                <a:gd name="connsiteY3" fmla="*/ 5885253 h 5885253"/>
                <a:gd name="connsiteX0" fmla="*/ 0 w 1386992"/>
                <a:gd name="connsiteY0" fmla="*/ 5829786 h 5829786"/>
                <a:gd name="connsiteX1" fmla="*/ 756881 w 1386992"/>
                <a:gd name="connsiteY1" fmla="*/ 0 h 5829786"/>
                <a:gd name="connsiteX2" fmla="*/ 1386992 w 1386992"/>
                <a:gd name="connsiteY2" fmla="*/ 5698299 h 5829786"/>
                <a:gd name="connsiteX3" fmla="*/ 0 w 1386992"/>
                <a:gd name="connsiteY3" fmla="*/ 5829786 h 5829786"/>
                <a:gd name="connsiteX0" fmla="*/ 0 w 1613616"/>
                <a:gd name="connsiteY0" fmla="*/ 5273942 h 5698299"/>
                <a:gd name="connsiteX1" fmla="*/ 983505 w 1613616"/>
                <a:gd name="connsiteY1" fmla="*/ 0 h 5698299"/>
                <a:gd name="connsiteX2" fmla="*/ 1613616 w 1613616"/>
                <a:gd name="connsiteY2" fmla="*/ 5698299 h 5698299"/>
                <a:gd name="connsiteX3" fmla="*/ 0 w 1613616"/>
                <a:gd name="connsiteY3" fmla="*/ 5273942 h 5698299"/>
                <a:gd name="connsiteX0" fmla="*/ 0 w 2111499"/>
                <a:gd name="connsiteY0" fmla="*/ 5273942 h 5273942"/>
                <a:gd name="connsiteX1" fmla="*/ 983505 w 2111499"/>
                <a:gd name="connsiteY1" fmla="*/ 0 h 5273942"/>
                <a:gd name="connsiteX2" fmla="*/ 2111499 w 2111499"/>
                <a:gd name="connsiteY2" fmla="*/ 4721711 h 5273942"/>
                <a:gd name="connsiteX3" fmla="*/ 0 w 2111499"/>
                <a:gd name="connsiteY3" fmla="*/ 5273942 h 5273942"/>
                <a:gd name="connsiteX0" fmla="*/ 0 w 2111499"/>
                <a:gd name="connsiteY0" fmla="*/ 4717306 h 4717306"/>
                <a:gd name="connsiteX1" fmla="*/ 932758 w 2111499"/>
                <a:gd name="connsiteY1" fmla="*/ 0 h 4717306"/>
                <a:gd name="connsiteX2" fmla="*/ 2111499 w 2111499"/>
                <a:gd name="connsiteY2" fmla="*/ 4165075 h 4717306"/>
                <a:gd name="connsiteX3" fmla="*/ 0 w 2111499"/>
                <a:gd name="connsiteY3" fmla="*/ 4717306 h 4717306"/>
                <a:gd name="connsiteX0" fmla="*/ 0 w 3931298"/>
                <a:gd name="connsiteY0" fmla="*/ 4717306 h 4717306"/>
                <a:gd name="connsiteX1" fmla="*/ 932758 w 3931298"/>
                <a:gd name="connsiteY1" fmla="*/ 0 h 4717306"/>
                <a:gd name="connsiteX2" fmla="*/ 3931298 w 3931298"/>
                <a:gd name="connsiteY2" fmla="*/ 4480286 h 4717306"/>
                <a:gd name="connsiteX3" fmla="*/ 0 w 3931298"/>
                <a:gd name="connsiteY3" fmla="*/ 4717306 h 4717306"/>
                <a:gd name="connsiteX0" fmla="*/ 35679 w 2998540"/>
                <a:gd name="connsiteY0" fmla="*/ 5024381 h 5024381"/>
                <a:gd name="connsiteX1" fmla="*/ 0 w 2998540"/>
                <a:gd name="connsiteY1" fmla="*/ 0 h 5024381"/>
                <a:gd name="connsiteX2" fmla="*/ 2998540 w 2998540"/>
                <a:gd name="connsiteY2" fmla="*/ 4480286 h 5024381"/>
                <a:gd name="connsiteX3" fmla="*/ 35679 w 2998540"/>
                <a:gd name="connsiteY3" fmla="*/ 5024381 h 5024381"/>
                <a:gd name="connsiteX0" fmla="*/ 0 w 3359513"/>
                <a:gd name="connsiteY0" fmla="*/ 4923649 h 4923649"/>
                <a:gd name="connsiteX1" fmla="*/ 360973 w 3359513"/>
                <a:gd name="connsiteY1" fmla="*/ 0 h 4923649"/>
                <a:gd name="connsiteX2" fmla="*/ 3359513 w 3359513"/>
                <a:gd name="connsiteY2" fmla="*/ 4480286 h 4923649"/>
                <a:gd name="connsiteX3" fmla="*/ 0 w 3359513"/>
                <a:gd name="connsiteY3" fmla="*/ 4923649 h 4923649"/>
                <a:gd name="connsiteX0" fmla="*/ 0 w 3359513"/>
                <a:gd name="connsiteY0" fmla="*/ 4137435 h 4137435"/>
                <a:gd name="connsiteX1" fmla="*/ 1823306 w 3359513"/>
                <a:gd name="connsiteY1" fmla="*/ 0 h 4137435"/>
                <a:gd name="connsiteX2" fmla="*/ 3359513 w 3359513"/>
                <a:gd name="connsiteY2" fmla="*/ 3694072 h 4137435"/>
                <a:gd name="connsiteX3" fmla="*/ 0 w 3359513"/>
                <a:gd name="connsiteY3" fmla="*/ 4137435 h 4137435"/>
                <a:gd name="connsiteX0" fmla="*/ 0 w 3163954"/>
                <a:gd name="connsiteY0" fmla="*/ 4137435 h 4137435"/>
                <a:gd name="connsiteX1" fmla="*/ 1823306 w 3163954"/>
                <a:gd name="connsiteY1" fmla="*/ 0 h 4137435"/>
                <a:gd name="connsiteX2" fmla="*/ 3163954 w 3163954"/>
                <a:gd name="connsiteY2" fmla="*/ 3451242 h 4137435"/>
                <a:gd name="connsiteX3" fmla="*/ 0 w 3163954"/>
                <a:gd name="connsiteY3" fmla="*/ 4137435 h 4137435"/>
                <a:gd name="connsiteX0" fmla="*/ 0 w 2066613"/>
                <a:gd name="connsiteY0" fmla="*/ 4130703 h 4130703"/>
                <a:gd name="connsiteX1" fmla="*/ 725965 w 2066613"/>
                <a:gd name="connsiteY1" fmla="*/ 0 h 4130703"/>
                <a:gd name="connsiteX2" fmla="*/ 2066613 w 2066613"/>
                <a:gd name="connsiteY2" fmla="*/ 3451242 h 4130703"/>
                <a:gd name="connsiteX3" fmla="*/ 0 w 2066613"/>
                <a:gd name="connsiteY3" fmla="*/ 4130703 h 4130703"/>
                <a:gd name="connsiteX0" fmla="*/ 0 w 2119185"/>
                <a:gd name="connsiteY0" fmla="*/ 4203399 h 4203399"/>
                <a:gd name="connsiteX1" fmla="*/ 778537 w 2119185"/>
                <a:gd name="connsiteY1" fmla="*/ 0 h 4203399"/>
                <a:gd name="connsiteX2" fmla="*/ 2119185 w 2119185"/>
                <a:gd name="connsiteY2" fmla="*/ 3451242 h 4203399"/>
                <a:gd name="connsiteX3" fmla="*/ 0 w 2119185"/>
                <a:gd name="connsiteY3" fmla="*/ 4203399 h 4203399"/>
                <a:gd name="connsiteX0" fmla="*/ 0 w 2119185"/>
                <a:gd name="connsiteY0" fmla="*/ 4216619 h 4216619"/>
                <a:gd name="connsiteX1" fmla="*/ 816110 w 2119185"/>
                <a:gd name="connsiteY1" fmla="*/ 0 h 4216619"/>
                <a:gd name="connsiteX2" fmla="*/ 2119185 w 2119185"/>
                <a:gd name="connsiteY2" fmla="*/ 3464462 h 4216619"/>
                <a:gd name="connsiteX3" fmla="*/ 0 w 2119185"/>
                <a:gd name="connsiteY3" fmla="*/ 4216619 h 4216619"/>
                <a:gd name="connsiteX0" fmla="*/ 0 w 2119185"/>
                <a:gd name="connsiteY0" fmla="*/ 4184713 h 4184713"/>
                <a:gd name="connsiteX1" fmla="*/ 797400 w 2119185"/>
                <a:gd name="connsiteY1" fmla="*/ 0 h 4184713"/>
                <a:gd name="connsiteX2" fmla="*/ 2119185 w 2119185"/>
                <a:gd name="connsiteY2" fmla="*/ 3432556 h 4184713"/>
                <a:gd name="connsiteX3" fmla="*/ 0 w 2119185"/>
                <a:gd name="connsiteY3" fmla="*/ 4184713 h 4184713"/>
                <a:gd name="connsiteX0" fmla="*/ 0 w 2119185"/>
                <a:gd name="connsiteY0" fmla="*/ 4163102 h 4163102"/>
                <a:gd name="connsiteX1" fmla="*/ 807948 w 2119185"/>
                <a:gd name="connsiteY1" fmla="*/ 0 h 4163102"/>
                <a:gd name="connsiteX2" fmla="*/ 2119185 w 2119185"/>
                <a:gd name="connsiteY2" fmla="*/ 3410945 h 4163102"/>
                <a:gd name="connsiteX3" fmla="*/ 0 w 2119185"/>
                <a:gd name="connsiteY3" fmla="*/ 4163102 h 4163102"/>
                <a:gd name="connsiteX0" fmla="*/ 0 w 2123869"/>
                <a:gd name="connsiteY0" fmla="*/ 4163102 h 4163102"/>
                <a:gd name="connsiteX1" fmla="*/ 807948 w 2123869"/>
                <a:gd name="connsiteY1" fmla="*/ 0 h 4163102"/>
                <a:gd name="connsiteX2" fmla="*/ 2123869 w 2123869"/>
                <a:gd name="connsiteY2" fmla="*/ 3413517 h 4163102"/>
                <a:gd name="connsiteX3" fmla="*/ 0 w 2123869"/>
                <a:gd name="connsiteY3" fmla="*/ 4163102 h 4163102"/>
              </a:gdLst>
              <a:ahLst/>
              <a:cxnLst>
                <a:cxn ang="0">
                  <a:pos x="connsiteX0" y="connsiteY0"/>
                </a:cxn>
                <a:cxn ang="0">
                  <a:pos x="connsiteX1" y="connsiteY1"/>
                </a:cxn>
                <a:cxn ang="0">
                  <a:pos x="connsiteX2" y="connsiteY2"/>
                </a:cxn>
                <a:cxn ang="0">
                  <a:pos x="connsiteX3" y="connsiteY3"/>
                </a:cxn>
              </a:cxnLst>
              <a:rect l="l" t="t" r="r" b="b"/>
              <a:pathLst>
                <a:path w="2123869" h="4163102">
                  <a:moveTo>
                    <a:pt x="0" y="4163102"/>
                  </a:moveTo>
                  <a:lnTo>
                    <a:pt x="807948" y="0"/>
                  </a:lnTo>
                  <a:lnTo>
                    <a:pt x="2123869" y="3413517"/>
                  </a:lnTo>
                  <a:lnTo>
                    <a:pt x="0" y="4163102"/>
                  </a:lnTo>
                  <a:close/>
                </a:path>
              </a:pathLst>
            </a:custGeom>
            <a:gradFill>
              <a:gsLst>
                <a:gs pos="2000">
                  <a:schemeClr val="bg2">
                    <a:lumMod val="75000"/>
                  </a:schemeClr>
                </a:gs>
                <a:gs pos="100000">
                  <a:schemeClr val="bg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2" name="Title 1"/>
          <p:cNvSpPr>
            <a:spLocks noGrp="1"/>
          </p:cNvSpPr>
          <p:nvPr>
            <p:ph type="ctrTitle" hasCustomPrompt="1"/>
          </p:nvPr>
        </p:nvSpPr>
        <p:spPr bwMode="ltGray">
          <a:xfrm>
            <a:off x="427701" y="1463040"/>
            <a:ext cx="5669280" cy="1935933"/>
          </a:xfrm>
        </p:spPr>
        <p:txBody>
          <a:bodyPr wrap="square" tIns="91440" anchor="ctr" anchorCtr="0">
            <a:noAutofit/>
          </a:bodyPr>
          <a:lstStyle>
            <a:lvl1pPr>
              <a:lnSpc>
                <a:spcPct val="80000"/>
              </a:lnSpc>
              <a:defRPr sz="5400" b="0" cap="all" baseline="0">
                <a:solidFill>
                  <a:schemeClr val="bg2"/>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bwMode="gray">
          <a:xfrm>
            <a:off x="427702" y="4962602"/>
            <a:ext cx="4754880" cy="276999"/>
          </a:xfrm>
        </p:spPr>
        <p:txBody>
          <a:bodyPr wrap="square" anchor="b">
            <a:no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702" y="5274168"/>
            <a:ext cx="4572000" cy="221599"/>
          </a:xfrm>
        </p:spPr>
        <p:txBody>
          <a:bodyPr>
            <a:noAutofit/>
          </a:bodyPr>
          <a:lstStyle>
            <a:lvl1pPr marL="0" indent="0" algn="l">
              <a:spcBef>
                <a:spcPts val="0"/>
              </a:spcBef>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702" y="6268953"/>
            <a:ext cx="3749040" cy="193899"/>
          </a:xfrm>
        </p:spPr>
        <p:txBody>
          <a:bodyPr anchor="b" anchorCtr="0">
            <a:noAutofit/>
          </a:bodyPr>
          <a:lstStyle>
            <a:lvl1pPr marL="0" indent="0" algn="l">
              <a:spcBef>
                <a:spcPts val="0"/>
              </a:spcBef>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14302912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7579" y="1222375"/>
            <a:ext cx="10881360" cy="4956048"/>
          </a:xfrm>
        </p:spPr>
        <p:txBody>
          <a:bodyPr>
            <a:noAutofit/>
          </a:bodyPr>
          <a:lstStyle>
            <a:lvl1pPr marL="273582" indent="-273582">
              <a:lnSpc>
                <a:spcPct val="90000"/>
              </a:lnSpc>
              <a:spcBef>
                <a:spcPts val="1800"/>
              </a:spcBef>
              <a:buClr>
                <a:schemeClr val="tx1"/>
              </a:buClr>
              <a:defRPr sz="2400" b="0">
                <a:solidFill>
                  <a:schemeClr val="tx1"/>
                </a:solidFill>
                <a:latin typeface="+mn-lt"/>
              </a:defRPr>
            </a:lvl1pPr>
            <a:lvl2pPr marL="658368" indent="-271694">
              <a:lnSpc>
                <a:spcPct val="90000"/>
              </a:lnSpc>
              <a:spcBef>
                <a:spcPts val="400"/>
              </a:spcBef>
              <a:spcAft>
                <a:spcPts val="0"/>
              </a:spcAft>
              <a:defRPr sz="2000" b="0">
                <a:solidFill>
                  <a:schemeClr val="tx1"/>
                </a:solidFill>
                <a:latin typeface="+mn-lt"/>
              </a:defRPr>
            </a:lvl2pPr>
            <a:lvl3pPr marL="914400" indent="-210312">
              <a:lnSpc>
                <a:spcPct val="90000"/>
              </a:lnSpc>
              <a:spcBef>
                <a:spcPts val="200"/>
              </a:spcBef>
              <a:spcAft>
                <a:spcPts val="0"/>
              </a:spcAft>
              <a:defRPr sz="1800" b="0">
                <a:solidFill>
                  <a:schemeClr val="tx1"/>
                </a:solidFill>
                <a:latin typeface="+mn-lt"/>
              </a:defRPr>
            </a:lvl3pPr>
            <a:lvl4pPr marL="1197864" indent="-210312">
              <a:lnSpc>
                <a:spcPct val="90000"/>
              </a:lnSpc>
              <a:defRPr sz="1600" b="0">
                <a:solidFill>
                  <a:schemeClr val="tx1"/>
                </a:solidFill>
                <a:latin typeface="+mn-lt"/>
              </a:defRPr>
            </a:lvl4pPr>
            <a:lvl5pPr marL="1444752" indent="-182880">
              <a:lnSpc>
                <a:spcPct val="90000"/>
              </a:lnSpc>
              <a:defRPr sz="1400" b="0" baseline="0">
                <a:solidFill>
                  <a:schemeClr val="tx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a:xfrm>
            <a:off x="411480" y="348860"/>
            <a:ext cx="10259568" cy="344710"/>
          </a:xfrm>
        </p:spPr>
        <p:txBody>
          <a:bodyPr vert="horz" lIns="0" tIns="0" rIns="0" bIns="0" rtlCol="0" anchor="ctr" anchorCtr="0">
            <a:noAutofit/>
          </a:bodyPr>
          <a:lstStyle>
            <a:lvl1pPr>
              <a:defRPr lang="en-US" sz="3200" dirty="0"/>
            </a:lvl1pPr>
          </a:lstStyle>
          <a:p>
            <a:pPr lvl="0"/>
            <a:r>
              <a:rPr lang="en-US" dirty="0"/>
              <a:t>Click to add title</a:t>
            </a:r>
          </a:p>
        </p:txBody>
      </p:sp>
    </p:spTree>
    <p:extLst>
      <p:ext uri="{BB962C8B-B14F-4D97-AF65-F5344CB8AC3E}">
        <p14:creationId xmlns:p14="http://schemas.microsoft.com/office/powerpoint/2010/main" val="1584558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 w Client Logo">
    <p:bg>
      <p:bgRef idx="1001">
        <a:schemeClr val="bg1"/>
      </p:bgRef>
    </p:bg>
    <p:spTree>
      <p:nvGrpSpPr>
        <p:cNvPr id="1" name=""/>
        <p:cNvGrpSpPr/>
        <p:nvPr/>
      </p:nvGrpSpPr>
      <p:grpSpPr>
        <a:xfrm>
          <a:off x="0" y="0"/>
          <a:ext cx="0" cy="0"/>
          <a:chOff x="0" y="0"/>
          <a:chExt cx="0" cy="0"/>
        </a:xfrm>
      </p:grpSpPr>
      <p:sp>
        <p:nvSpPr>
          <p:cNvPr id="13" name="Rectangle 4">
            <a:extLst>
              <a:ext uri="{FF2B5EF4-FFF2-40B4-BE49-F238E27FC236}">
                <a16:creationId xmlns:a16="http://schemas.microsoft.com/office/drawing/2014/main" id="{CAE554B7-E337-4E78-B477-48942E8B731A}"/>
              </a:ext>
            </a:extLst>
          </p:cNvPr>
          <p:cNvSpPr/>
          <p:nvPr userDrawn="1"/>
        </p:nvSpPr>
        <p:spPr>
          <a:xfrm>
            <a:off x="0" y="0"/>
            <a:ext cx="8385464" cy="6867144"/>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73933"/>
              <a:gd name="connsiteX1" fmla="*/ 8385464 w 8385464"/>
              <a:gd name="connsiteY1" fmla="*/ 0 h 6873933"/>
              <a:gd name="connsiteX2" fmla="*/ 6255328 w 8385464"/>
              <a:gd name="connsiteY2" fmla="*/ 5029200 h 6873933"/>
              <a:gd name="connsiteX3" fmla="*/ 6878783 w 8385464"/>
              <a:gd name="connsiteY3" fmla="*/ 6873933 h 6873933"/>
              <a:gd name="connsiteX4" fmla="*/ 0 w 8385464"/>
              <a:gd name="connsiteY4" fmla="*/ 6858000 h 6873933"/>
              <a:gd name="connsiteX5" fmla="*/ 0 w 8385464"/>
              <a:gd name="connsiteY5" fmla="*/ 0 h 6873933"/>
              <a:gd name="connsiteX0" fmla="*/ 0 w 8385464"/>
              <a:gd name="connsiteY0" fmla="*/ 0 h 6859756"/>
              <a:gd name="connsiteX1" fmla="*/ 8385464 w 8385464"/>
              <a:gd name="connsiteY1" fmla="*/ 0 h 6859756"/>
              <a:gd name="connsiteX2" fmla="*/ 6255328 w 8385464"/>
              <a:gd name="connsiteY2" fmla="*/ 5029200 h 6859756"/>
              <a:gd name="connsiteX3" fmla="*/ 6850430 w 8385464"/>
              <a:gd name="connsiteY3" fmla="*/ 6859756 h 6859756"/>
              <a:gd name="connsiteX4" fmla="*/ 0 w 8385464"/>
              <a:gd name="connsiteY4" fmla="*/ 6858000 h 6859756"/>
              <a:gd name="connsiteX5" fmla="*/ 0 w 8385464"/>
              <a:gd name="connsiteY5" fmla="*/ 0 h 685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5464" h="6859756">
                <a:moveTo>
                  <a:pt x="0" y="0"/>
                </a:moveTo>
                <a:lnTo>
                  <a:pt x="8385464" y="0"/>
                </a:lnTo>
                <a:cubicBezTo>
                  <a:pt x="7879774" y="1572491"/>
                  <a:pt x="6951518" y="3158836"/>
                  <a:pt x="6255328" y="5029200"/>
                </a:cubicBezTo>
                <a:cubicBezTo>
                  <a:pt x="6698673" y="6345381"/>
                  <a:pt x="6323959" y="5408493"/>
                  <a:pt x="6850430" y="6859756"/>
                </a:cubicBezTo>
                <a:lnTo>
                  <a:pt x="0" y="6858000"/>
                </a:lnTo>
                <a:lnTo>
                  <a:pt x="0" y="0"/>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ight Triangle 3">
            <a:extLst>
              <a:ext uri="{FF2B5EF4-FFF2-40B4-BE49-F238E27FC236}">
                <a16:creationId xmlns:a16="http://schemas.microsoft.com/office/drawing/2014/main" id="{D048BFA1-9840-47F2-88B0-9356A47BA57D}"/>
              </a:ext>
            </a:extLst>
          </p:cNvPr>
          <p:cNvSpPr/>
          <p:nvPr userDrawn="1"/>
        </p:nvSpPr>
        <p:spPr>
          <a:xfrm flipH="1">
            <a:off x="5182058" y="4244657"/>
            <a:ext cx="1505899" cy="2626242"/>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Lst>
            <a:ahLst/>
            <a:cxnLst>
              <a:cxn ang="0">
                <a:pos x="connsiteX0" y="connsiteY0"/>
              </a:cxn>
              <a:cxn ang="0">
                <a:pos x="connsiteX1" y="connsiteY1"/>
              </a:cxn>
              <a:cxn ang="0">
                <a:pos x="connsiteX2" y="connsiteY2"/>
              </a:cxn>
              <a:cxn ang="0">
                <a:pos x="connsiteX3" y="connsiteY3"/>
              </a:cxn>
            </a:cxnLst>
            <a:rect l="l" t="t" r="r" b="b"/>
            <a:pathLst>
              <a:path w="1505899" h="2626242">
                <a:moveTo>
                  <a:pt x="350874" y="2626242"/>
                </a:moveTo>
                <a:lnTo>
                  <a:pt x="0" y="0"/>
                </a:lnTo>
                <a:lnTo>
                  <a:pt x="1505899" y="2626242"/>
                </a:lnTo>
                <a:lnTo>
                  <a:pt x="350874" y="2626242"/>
                </a:lnTo>
                <a:close/>
              </a:path>
            </a:pathLst>
          </a:custGeom>
          <a:gradFill>
            <a:gsLst>
              <a:gs pos="2000">
                <a:srgbClr val="62B53F"/>
              </a:gs>
              <a:gs pos="52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Right Triangle 3">
            <a:extLst>
              <a:ext uri="{FF2B5EF4-FFF2-40B4-BE49-F238E27FC236}">
                <a16:creationId xmlns:a16="http://schemas.microsoft.com/office/drawing/2014/main" id="{05EA0488-6DF6-4EA9-B352-83FC6A3A09EC}"/>
              </a:ext>
            </a:extLst>
          </p:cNvPr>
          <p:cNvSpPr/>
          <p:nvPr userDrawn="1"/>
        </p:nvSpPr>
        <p:spPr>
          <a:xfrm>
            <a:off x="6009662" y="3819354"/>
            <a:ext cx="963639" cy="305154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Lst>
            <a:ahLst/>
            <a:cxnLst>
              <a:cxn ang="0">
                <a:pos x="connsiteX0" y="connsiteY0"/>
              </a:cxn>
              <a:cxn ang="0">
                <a:pos x="connsiteX1" y="connsiteY1"/>
              </a:cxn>
              <a:cxn ang="0">
                <a:pos x="connsiteX2" y="connsiteY2"/>
              </a:cxn>
              <a:cxn ang="0">
                <a:pos x="connsiteX3" y="connsiteY3"/>
              </a:cxn>
            </a:cxnLst>
            <a:rect l="l" t="t" r="r" b="b"/>
            <a:pathLst>
              <a:path w="963639" h="3051545">
                <a:moveTo>
                  <a:pt x="0" y="3051545"/>
                </a:moveTo>
                <a:lnTo>
                  <a:pt x="754912" y="0"/>
                </a:lnTo>
                <a:lnTo>
                  <a:pt x="963639" y="3051545"/>
                </a:lnTo>
                <a:lnTo>
                  <a:pt x="0" y="3051545"/>
                </a:lnTo>
                <a:close/>
              </a:path>
            </a:pathLst>
          </a:custGeom>
          <a:gradFill>
            <a:gsLst>
              <a:gs pos="27000">
                <a:srgbClr val="5EAC3E"/>
              </a:gs>
              <a:gs pos="64000">
                <a:srgbClr val="67BD4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Right Triangle 3">
            <a:extLst>
              <a:ext uri="{FF2B5EF4-FFF2-40B4-BE49-F238E27FC236}">
                <a16:creationId xmlns:a16="http://schemas.microsoft.com/office/drawing/2014/main" id="{3F7BA2F8-1EC4-4C88-BB12-9EB40316DCA2}"/>
              </a:ext>
            </a:extLst>
          </p:cNvPr>
          <p:cNvSpPr/>
          <p:nvPr userDrawn="1"/>
        </p:nvSpPr>
        <p:spPr>
          <a:xfrm rot="12173926">
            <a:off x="7077301" y="-433026"/>
            <a:ext cx="1014731" cy="5982297"/>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 name="connsiteX0" fmla="*/ 0 w 1014731"/>
              <a:gd name="connsiteY0" fmla="*/ 3477101 h 3477101"/>
              <a:gd name="connsiteX1" fmla="*/ 806004 w 1014731"/>
              <a:gd name="connsiteY1" fmla="*/ 0 h 3477101"/>
              <a:gd name="connsiteX2" fmla="*/ 1014731 w 1014731"/>
              <a:gd name="connsiteY2" fmla="*/ 3051545 h 3477101"/>
              <a:gd name="connsiteX3" fmla="*/ 0 w 1014731"/>
              <a:gd name="connsiteY3" fmla="*/ 3477101 h 3477101"/>
              <a:gd name="connsiteX0" fmla="*/ 0 w 1014731"/>
              <a:gd name="connsiteY0" fmla="*/ 5974885 h 5974885"/>
              <a:gd name="connsiteX1" fmla="*/ 789755 w 1014731"/>
              <a:gd name="connsiteY1" fmla="*/ 0 h 5974885"/>
              <a:gd name="connsiteX2" fmla="*/ 1014731 w 1014731"/>
              <a:gd name="connsiteY2" fmla="*/ 5549329 h 5974885"/>
              <a:gd name="connsiteX3" fmla="*/ 0 w 1014731"/>
              <a:gd name="connsiteY3" fmla="*/ 5974885 h 5974885"/>
              <a:gd name="connsiteX0" fmla="*/ 0 w 1014731"/>
              <a:gd name="connsiteY0" fmla="*/ 5982297 h 5982297"/>
              <a:gd name="connsiteX1" fmla="*/ 807304 w 1014731"/>
              <a:gd name="connsiteY1" fmla="*/ 0 h 5982297"/>
              <a:gd name="connsiteX2" fmla="*/ 1014731 w 1014731"/>
              <a:gd name="connsiteY2" fmla="*/ 5556741 h 5982297"/>
              <a:gd name="connsiteX3" fmla="*/ 0 w 1014731"/>
              <a:gd name="connsiteY3" fmla="*/ 5982297 h 5982297"/>
            </a:gdLst>
            <a:ahLst/>
            <a:cxnLst>
              <a:cxn ang="0">
                <a:pos x="connsiteX0" y="connsiteY0"/>
              </a:cxn>
              <a:cxn ang="0">
                <a:pos x="connsiteX1" y="connsiteY1"/>
              </a:cxn>
              <a:cxn ang="0">
                <a:pos x="connsiteX2" y="connsiteY2"/>
              </a:cxn>
              <a:cxn ang="0">
                <a:pos x="connsiteX3" y="connsiteY3"/>
              </a:cxn>
            </a:cxnLst>
            <a:rect l="l" t="t" r="r" b="b"/>
            <a:pathLst>
              <a:path w="1014731" h="5982297">
                <a:moveTo>
                  <a:pt x="0" y="5982297"/>
                </a:moveTo>
                <a:lnTo>
                  <a:pt x="807304" y="0"/>
                </a:lnTo>
                <a:lnTo>
                  <a:pt x="1014731" y="5556741"/>
                </a:lnTo>
                <a:lnTo>
                  <a:pt x="0" y="5982297"/>
                </a:lnTo>
                <a:close/>
              </a:path>
            </a:pathLst>
          </a:custGeom>
          <a:gradFill>
            <a:gsLst>
              <a:gs pos="34000">
                <a:schemeClr val="bg2"/>
              </a:gs>
              <a:gs pos="100000">
                <a:srgbClr val="5BA23C"/>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p:cNvSpPr>
            <a:spLocks noGrp="1"/>
          </p:cNvSpPr>
          <p:nvPr>
            <p:ph type="ctrTitle" hasCustomPrompt="1"/>
          </p:nvPr>
        </p:nvSpPr>
        <p:spPr bwMode="ltGray">
          <a:xfrm>
            <a:off x="427964" y="2128789"/>
            <a:ext cx="5760720" cy="2086725"/>
          </a:xfrm>
        </p:spPr>
        <p:txBody>
          <a:bodyPr wrap="square" tIns="91440" anchor="ctr" anchorCtr="0">
            <a:noAutofit/>
          </a:bodyPr>
          <a:lstStyle>
            <a:lvl1pPr>
              <a:lnSpc>
                <a:spcPct val="80000"/>
              </a:lnSpc>
              <a:defRPr sz="5400" b="0" cap="all" baseline="0">
                <a:solidFill>
                  <a:schemeClr val="bg2"/>
                </a:solidFill>
                <a:effectLst/>
                <a:latin typeface="+mn-lt"/>
              </a:defRPr>
            </a:lvl1pPr>
          </a:lstStyle>
          <a:p>
            <a:r>
              <a:rPr lang="en-US" dirty="0"/>
              <a:t>Click to Add Presentation Title</a:t>
            </a:r>
          </a:p>
        </p:txBody>
      </p:sp>
      <p:sp>
        <p:nvSpPr>
          <p:cNvPr id="3" name="Subtitle 2"/>
          <p:cNvSpPr>
            <a:spLocks noGrp="1"/>
          </p:cNvSpPr>
          <p:nvPr>
            <p:ph type="subTitle" idx="1" hasCustomPrompt="1"/>
          </p:nvPr>
        </p:nvSpPr>
        <p:spPr bwMode="gray">
          <a:xfrm>
            <a:off x="427965" y="4961946"/>
            <a:ext cx="4937760" cy="276999"/>
          </a:xfrm>
        </p:spPr>
        <p:txBody>
          <a:bodyPr wrap="square" anchor="b">
            <a:no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965" y="5275940"/>
            <a:ext cx="4937760" cy="221599"/>
          </a:xfrm>
        </p:spPr>
        <p:txBody>
          <a:bodyPr>
            <a:noAutofit/>
          </a:bodyPr>
          <a:lstStyle>
            <a:lvl1pPr marL="0" indent="0" algn="l">
              <a:spcBef>
                <a:spcPts val="0"/>
              </a:spcBef>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965" y="6263052"/>
            <a:ext cx="4572000" cy="193899"/>
          </a:xfrm>
        </p:spPr>
        <p:txBody>
          <a:bodyPr anchor="b" anchorCtr="0">
            <a:noAutofit/>
          </a:bodyPr>
          <a:lstStyle>
            <a:lvl1pPr marL="0" indent="0" algn="l">
              <a:spcBef>
                <a:spcPts val="0"/>
              </a:spcBef>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6" name="Content Placeholder 5">
            <a:extLst>
              <a:ext uri="{FF2B5EF4-FFF2-40B4-BE49-F238E27FC236}">
                <a16:creationId xmlns:a16="http://schemas.microsoft.com/office/drawing/2014/main" id="{18B4A39F-25EE-4457-8E27-D06C5F09B708}"/>
              </a:ext>
            </a:extLst>
          </p:cNvPr>
          <p:cNvSpPr>
            <a:spLocks noGrp="1"/>
          </p:cNvSpPr>
          <p:nvPr>
            <p:ph sz="quarter" idx="13" hasCustomPrompt="1"/>
          </p:nvPr>
        </p:nvSpPr>
        <p:spPr>
          <a:xfrm>
            <a:off x="7430114" y="3256546"/>
            <a:ext cx="4310701" cy="1882441"/>
          </a:xfrm>
        </p:spPr>
        <p:txBody>
          <a:bodyPr anchor="b" anchorCtr="0"/>
          <a:lstStyle>
            <a:lvl1pPr marL="0" indent="0" algn="ctr">
              <a:buNone/>
              <a:defRPr sz="1600"/>
            </a:lvl1pPr>
          </a:lstStyle>
          <a:p>
            <a:pPr lvl="0"/>
            <a:r>
              <a:rPr lang="en-US"/>
              <a:t>Click on insert picture icon to insert logo</a:t>
            </a:r>
          </a:p>
        </p:txBody>
      </p:sp>
      <p:pic>
        <p:nvPicPr>
          <p:cNvPr id="12" name="Picture 11">
            <a:extLst>
              <a:ext uri="{FF2B5EF4-FFF2-40B4-BE49-F238E27FC236}">
                <a16:creationId xmlns:a16="http://schemas.microsoft.com/office/drawing/2014/main" id="{C0EAA543-3DF8-4DD0-BCAA-E95DA54D93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0941" y="538947"/>
            <a:ext cx="2111973" cy="820275"/>
          </a:xfrm>
          <a:prstGeom prst="rect">
            <a:avLst/>
          </a:prstGeom>
        </p:spPr>
      </p:pic>
    </p:spTree>
    <p:extLst>
      <p:ext uri="{BB962C8B-B14F-4D97-AF65-F5344CB8AC3E}">
        <p14:creationId xmlns:p14="http://schemas.microsoft.com/office/powerpoint/2010/main" val="3725008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Title Slide w Imag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2406316" y="0"/>
            <a:ext cx="9803732" cy="6865374"/>
          </a:xfrm>
          <a:custGeom>
            <a:avLst/>
            <a:gdLst>
              <a:gd name="connsiteX0" fmla="*/ 0 w 12192000"/>
              <a:gd name="connsiteY0" fmla="*/ 6858000 h 6858000"/>
              <a:gd name="connsiteX1" fmla="*/ 1714500 w 12192000"/>
              <a:gd name="connsiteY1" fmla="*/ 0 h 6858000"/>
              <a:gd name="connsiteX2" fmla="*/ 12192000 w 12192000"/>
              <a:gd name="connsiteY2" fmla="*/ 0 h 6858000"/>
              <a:gd name="connsiteX3" fmla="*/ 10477500 w 12192000"/>
              <a:gd name="connsiteY3" fmla="*/ 6858000 h 6858000"/>
              <a:gd name="connsiteX4" fmla="*/ 0 w 12192000"/>
              <a:gd name="connsiteY4" fmla="*/ 6858000 h 6858000"/>
              <a:gd name="connsiteX0" fmla="*/ 0 w 12192000"/>
              <a:gd name="connsiteY0" fmla="*/ 6874042 h 6874042"/>
              <a:gd name="connsiteX1" fmla="*/ 4184985 w 12192000"/>
              <a:gd name="connsiteY1" fmla="*/ 0 h 6874042"/>
              <a:gd name="connsiteX2" fmla="*/ 12192000 w 12192000"/>
              <a:gd name="connsiteY2" fmla="*/ 16042 h 6874042"/>
              <a:gd name="connsiteX3" fmla="*/ 10477500 w 12192000"/>
              <a:gd name="connsiteY3" fmla="*/ 6874042 h 6874042"/>
              <a:gd name="connsiteX4" fmla="*/ 0 w 12192000"/>
              <a:gd name="connsiteY4" fmla="*/ 6874042 h 6874042"/>
              <a:gd name="connsiteX0" fmla="*/ 0 w 12192000"/>
              <a:gd name="connsiteY0" fmla="*/ 6874042 h 6874042"/>
              <a:gd name="connsiteX1" fmla="*/ 3705726 w 12192000"/>
              <a:gd name="connsiteY1" fmla="*/ 818147 h 6874042"/>
              <a:gd name="connsiteX2" fmla="*/ 4184985 w 12192000"/>
              <a:gd name="connsiteY2" fmla="*/ 0 h 6874042"/>
              <a:gd name="connsiteX3" fmla="*/ 12192000 w 12192000"/>
              <a:gd name="connsiteY3" fmla="*/ 16042 h 6874042"/>
              <a:gd name="connsiteX4" fmla="*/ 10477500 w 12192000"/>
              <a:gd name="connsiteY4" fmla="*/ 6874042 h 6874042"/>
              <a:gd name="connsiteX5" fmla="*/ 0 w 12192000"/>
              <a:gd name="connsiteY5" fmla="*/ 6874042 h 6874042"/>
              <a:gd name="connsiteX0" fmla="*/ 0 w 12192000"/>
              <a:gd name="connsiteY0" fmla="*/ 6874042 h 6874042"/>
              <a:gd name="connsiteX1" fmla="*/ 2422358 w 12192000"/>
              <a:gd name="connsiteY1" fmla="*/ 4251158 h 6874042"/>
              <a:gd name="connsiteX2" fmla="*/ 4184985 w 12192000"/>
              <a:gd name="connsiteY2" fmla="*/ 0 h 6874042"/>
              <a:gd name="connsiteX3" fmla="*/ 12192000 w 12192000"/>
              <a:gd name="connsiteY3" fmla="*/ 16042 h 6874042"/>
              <a:gd name="connsiteX4" fmla="*/ 10477500 w 12192000"/>
              <a:gd name="connsiteY4" fmla="*/ 6874042 h 6874042"/>
              <a:gd name="connsiteX5" fmla="*/ 0 w 12192000"/>
              <a:gd name="connsiteY5" fmla="*/ 6874042 h 6874042"/>
              <a:gd name="connsiteX0" fmla="*/ 0 w 12192000"/>
              <a:gd name="connsiteY0" fmla="*/ 6858000 h 6858000"/>
              <a:gd name="connsiteX1" fmla="*/ 2422358 w 12192000"/>
              <a:gd name="connsiteY1" fmla="*/ 4235116 h 6858000"/>
              <a:gd name="connsiteX2" fmla="*/ 4810627 w 12192000"/>
              <a:gd name="connsiteY2" fmla="*/ 0 h 6858000"/>
              <a:gd name="connsiteX3" fmla="*/ 12192000 w 12192000"/>
              <a:gd name="connsiteY3" fmla="*/ 0 h 6858000"/>
              <a:gd name="connsiteX4" fmla="*/ 10477500 w 12192000"/>
              <a:gd name="connsiteY4" fmla="*/ 6858000 h 6858000"/>
              <a:gd name="connsiteX5" fmla="*/ 0 w 12192000"/>
              <a:gd name="connsiteY5" fmla="*/ 6858000 h 6858000"/>
              <a:gd name="connsiteX0" fmla="*/ 0 w 12192000"/>
              <a:gd name="connsiteY0" fmla="*/ 6858000 h 6858000"/>
              <a:gd name="connsiteX1" fmla="*/ 2406315 w 12192000"/>
              <a:gd name="connsiteY1" fmla="*/ 4106779 h 6858000"/>
              <a:gd name="connsiteX2" fmla="*/ 4810627 w 12192000"/>
              <a:gd name="connsiteY2" fmla="*/ 0 h 6858000"/>
              <a:gd name="connsiteX3" fmla="*/ 12192000 w 12192000"/>
              <a:gd name="connsiteY3" fmla="*/ 0 h 6858000"/>
              <a:gd name="connsiteX4" fmla="*/ 10477500 w 12192000"/>
              <a:gd name="connsiteY4" fmla="*/ 6858000 h 6858000"/>
              <a:gd name="connsiteX5" fmla="*/ 0 w 12192000"/>
              <a:gd name="connsiteY5" fmla="*/ 6858000 h 6858000"/>
              <a:gd name="connsiteX0" fmla="*/ 224590 w 9785685"/>
              <a:gd name="connsiteY0" fmla="*/ 6858000 h 6858000"/>
              <a:gd name="connsiteX1" fmla="*/ 0 w 9785685"/>
              <a:gd name="connsiteY1" fmla="*/ 4106779 h 6858000"/>
              <a:gd name="connsiteX2" fmla="*/ 2404312 w 9785685"/>
              <a:gd name="connsiteY2" fmla="*/ 0 h 6858000"/>
              <a:gd name="connsiteX3" fmla="*/ 9785685 w 9785685"/>
              <a:gd name="connsiteY3" fmla="*/ 0 h 6858000"/>
              <a:gd name="connsiteX4" fmla="*/ 8071185 w 9785685"/>
              <a:gd name="connsiteY4" fmla="*/ 6858000 h 6858000"/>
              <a:gd name="connsiteX5" fmla="*/ 224590 w 9785685"/>
              <a:gd name="connsiteY5" fmla="*/ 6858000 h 6858000"/>
              <a:gd name="connsiteX0" fmla="*/ 224590 w 9803732"/>
              <a:gd name="connsiteY0" fmla="*/ 6858000 h 6858000"/>
              <a:gd name="connsiteX1" fmla="*/ 0 w 9803732"/>
              <a:gd name="connsiteY1" fmla="*/ 4106779 h 6858000"/>
              <a:gd name="connsiteX2" fmla="*/ 2404312 w 9803732"/>
              <a:gd name="connsiteY2" fmla="*/ 0 h 6858000"/>
              <a:gd name="connsiteX3" fmla="*/ 9785685 w 9803732"/>
              <a:gd name="connsiteY3" fmla="*/ 0 h 6858000"/>
              <a:gd name="connsiteX4" fmla="*/ 9803732 w 9803732"/>
              <a:gd name="connsiteY4" fmla="*/ 6858000 h 6858000"/>
              <a:gd name="connsiteX5" fmla="*/ 224590 w 9803732"/>
              <a:gd name="connsiteY5" fmla="*/ 6858000 h 6858000"/>
              <a:gd name="connsiteX0" fmla="*/ 197295 w 9803732"/>
              <a:gd name="connsiteY0" fmla="*/ 6858000 h 6858000"/>
              <a:gd name="connsiteX1" fmla="*/ 0 w 9803732"/>
              <a:gd name="connsiteY1" fmla="*/ 4106779 h 6858000"/>
              <a:gd name="connsiteX2" fmla="*/ 2404312 w 9803732"/>
              <a:gd name="connsiteY2" fmla="*/ 0 h 6858000"/>
              <a:gd name="connsiteX3" fmla="*/ 9785685 w 9803732"/>
              <a:gd name="connsiteY3" fmla="*/ 0 h 6858000"/>
              <a:gd name="connsiteX4" fmla="*/ 9803732 w 9803732"/>
              <a:gd name="connsiteY4" fmla="*/ 6858000 h 6858000"/>
              <a:gd name="connsiteX5" fmla="*/ 197295 w 9803732"/>
              <a:gd name="connsiteY5" fmla="*/ 6858000 h 6858000"/>
              <a:gd name="connsiteX0" fmla="*/ 197295 w 9803732"/>
              <a:gd name="connsiteY0" fmla="*/ 6865374 h 6865374"/>
              <a:gd name="connsiteX1" fmla="*/ 0 w 9803732"/>
              <a:gd name="connsiteY1" fmla="*/ 4106779 h 6865374"/>
              <a:gd name="connsiteX2" fmla="*/ 2404312 w 9803732"/>
              <a:gd name="connsiteY2" fmla="*/ 0 h 6865374"/>
              <a:gd name="connsiteX3" fmla="*/ 9785685 w 9803732"/>
              <a:gd name="connsiteY3" fmla="*/ 0 h 6865374"/>
              <a:gd name="connsiteX4" fmla="*/ 9803732 w 9803732"/>
              <a:gd name="connsiteY4" fmla="*/ 6858000 h 6865374"/>
              <a:gd name="connsiteX5" fmla="*/ 197295 w 9803732"/>
              <a:gd name="connsiteY5" fmla="*/ 6865374 h 686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03732" h="6865374">
                <a:moveTo>
                  <a:pt x="197295" y="6865374"/>
                </a:moveTo>
                <a:lnTo>
                  <a:pt x="0" y="4106779"/>
                </a:lnTo>
                <a:lnTo>
                  <a:pt x="2404312" y="0"/>
                </a:lnTo>
                <a:lnTo>
                  <a:pt x="9785685" y="0"/>
                </a:lnTo>
                <a:cubicBezTo>
                  <a:pt x="9791701" y="2286000"/>
                  <a:pt x="9797716" y="4572000"/>
                  <a:pt x="9803732" y="6858000"/>
                </a:cubicBezTo>
                <a:lnTo>
                  <a:pt x="197295" y="6865374"/>
                </a:lnTo>
                <a:close/>
              </a:path>
            </a:pathLst>
          </a:custGeom>
          <a:noFill/>
        </p:spPr>
        <p:txBody>
          <a:bodyPr anchor="ctr"/>
          <a:lstStyle>
            <a:lvl1pPr marL="0" indent="0" algn="ctr">
              <a:buNone/>
              <a:defRPr/>
            </a:lvl1pPr>
          </a:lstStyle>
          <a:p>
            <a:r>
              <a:rPr lang="en-US"/>
              <a:t>Click icon to add picture</a:t>
            </a:r>
            <a:endParaRPr lang="en-US" dirty="0"/>
          </a:p>
        </p:txBody>
      </p:sp>
      <p:grpSp>
        <p:nvGrpSpPr>
          <p:cNvPr id="5" name="Group 4">
            <a:extLst>
              <a:ext uri="{FF2B5EF4-FFF2-40B4-BE49-F238E27FC236}">
                <a16:creationId xmlns:a16="http://schemas.microsoft.com/office/drawing/2014/main" id="{BFD6E0B0-89DB-42DE-9D50-C072DC4DCA4F}"/>
              </a:ext>
            </a:extLst>
          </p:cNvPr>
          <p:cNvGrpSpPr/>
          <p:nvPr userDrawn="1"/>
        </p:nvGrpSpPr>
        <p:grpSpPr>
          <a:xfrm>
            <a:off x="1" y="-442088"/>
            <a:ext cx="3898232" cy="7312120"/>
            <a:chOff x="1" y="-442088"/>
            <a:chExt cx="3898232" cy="7312120"/>
          </a:xfrm>
        </p:grpSpPr>
        <p:grpSp>
          <p:nvGrpSpPr>
            <p:cNvPr id="4" name="Group 3">
              <a:extLst>
                <a:ext uri="{FF2B5EF4-FFF2-40B4-BE49-F238E27FC236}">
                  <a16:creationId xmlns:a16="http://schemas.microsoft.com/office/drawing/2014/main" id="{B8DAD46A-C267-4F1E-9B70-7548D58BC129}"/>
                </a:ext>
              </a:extLst>
            </p:cNvPr>
            <p:cNvGrpSpPr/>
            <p:nvPr userDrawn="1"/>
          </p:nvGrpSpPr>
          <p:grpSpPr>
            <a:xfrm>
              <a:off x="1" y="-12032"/>
              <a:ext cx="3898232" cy="6882064"/>
              <a:chOff x="1" y="-12032"/>
              <a:chExt cx="3898232" cy="6882064"/>
            </a:xfrm>
          </p:grpSpPr>
          <p:sp>
            <p:nvSpPr>
              <p:cNvPr id="10" name="Rectangle 4">
                <a:extLst>
                  <a:ext uri="{FF2B5EF4-FFF2-40B4-BE49-F238E27FC236}">
                    <a16:creationId xmlns:a16="http://schemas.microsoft.com/office/drawing/2014/main" id="{0A292985-5E5C-4C2B-95EA-E7AFEDDBDBAF}"/>
                  </a:ext>
                </a:extLst>
              </p:cNvPr>
              <p:cNvSpPr/>
              <p:nvPr userDrawn="1"/>
            </p:nvSpPr>
            <p:spPr>
              <a:xfrm>
                <a:off x="1" y="-12032"/>
                <a:ext cx="3898232" cy="6877142"/>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43698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877142"/>
                  <a:gd name="connsiteX1" fmla="*/ 11367745 w 11367745"/>
                  <a:gd name="connsiteY1" fmla="*/ 0 h 6877142"/>
                  <a:gd name="connsiteX2" fmla="*/ 6255328 w 11367745"/>
                  <a:gd name="connsiteY2" fmla="*/ 5041232 h 6877142"/>
                  <a:gd name="connsiteX3" fmla="*/ 6808614 w 11367745"/>
                  <a:gd name="connsiteY3" fmla="*/ 6877142 h 6877142"/>
                  <a:gd name="connsiteX4" fmla="*/ 0 w 11367745"/>
                  <a:gd name="connsiteY4" fmla="*/ 6870032 h 6877142"/>
                  <a:gd name="connsiteX5" fmla="*/ 0 w 11367745"/>
                  <a:gd name="connsiteY5" fmla="*/ 12032 h 6877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67745" h="6877142">
                    <a:moveTo>
                      <a:pt x="0" y="12032"/>
                    </a:moveTo>
                    <a:lnTo>
                      <a:pt x="11367745" y="0"/>
                    </a:lnTo>
                    <a:cubicBezTo>
                      <a:pt x="9493718" y="1572491"/>
                      <a:pt x="6951519" y="3543847"/>
                      <a:pt x="6255328" y="5041232"/>
                    </a:cubicBezTo>
                    <a:cubicBezTo>
                      <a:pt x="6698673" y="6357413"/>
                      <a:pt x="6282143" y="5425879"/>
                      <a:pt x="6808614" y="6877142"/>
                    </a:cubicBezTo>
                    <a:lnTo>
                      <a:pt x="0" y="6870032"/>
                    </a:lnTo>
                    <a:lnTo>
                      <a:pt x="0" y="12032"/>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Right Triangle 3">
                <a:extLst>
                  <a:ext uri="{FF2B5EF4-FFF2-40B4-BE49-F238E27FC236}">
                    <a16:creationId xmlns:a16="http://schemas.microsoft.com/office/drawing/2014/main" id="{2DB7A5CE-51EF-49C1-B94D-157D5342D4EF}"/>
                  </a:ext>
                </a:extLst>
              </p:cNvPr>
              <p:cNvSpPr/>
              <p:nvPr userDrawn="1"/>
            </p:nvSpPr>
            <p:spPr>
              <a:xfrm flipH="1">
                <a:off x="819916" y="4242391"/>
                <a:ext cx="1505899" cy="2626242"/>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Lst>
                <a:ahLst/>
                <a:cxnLst>
                  <a:cxn ang="0">
                    <a:pos x="connsiteX0" y="connsiteY0"/>
                  </a:cxn>
                  <a:cxn ang="0">
                    <a:pos x="connsiteX1" y="connsiteY1"/>
                  </a:cxn>
                  <a:cxn ang="0">
                    <a:pos x="connsiteX2" y="connsiteY2"/>
                  </a:cxn>
                  <a:cxn ang="0">
                    <a:pos x="connsiteX3" y="connsiteY3"/>
                  </a:cxn>
                </a:cxnLst>
                <a:rect l="l" t="t" r="r" b="b"/>
                <a:pathLst>
                  <a:path w="1505899" h="2626242">
                    <a:moveTo>
                      <a:pt x="350874" y="2626242"/>
                    </a:moveTo>
                    <a:lnTo>
                      <a:pt x="0" y="0"/>
                    </a:lnTo>
                    <a:lnTo>
                      <a:pt x="1505899" y="2626242"/>
                    </a:lnTo>
                    <a:lnTo>
                      <a:pt x="350874" y="2626242"/>
                    </a:lnTo>
                    <a:close/>
                  </a:path>
                </a:pathLst>
              </a:custGeom>
              <a:gradFill>
                <a:gsLst>
                  <a:gs pos="2000">
                    <a:srgbClr val="62B53F"/>
                  </a:gs>
                  <a:gs pos="52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Right Triangle 3">
                <a:extLst>
                  <a:ext uri="{FF2B5EF4-FFF2-40B4-BE49-F238E27FC236}">
                    <a16:creationId xmlns:a16="http://schemas.microsoft.com/office/drawing/2014/main" id="{BA4F80DB-7291-4740-A430-98D3FB012211}"/>
                  </a:ext>
                </a:extLst>
              </p:cNvPr>
              <p:cNvSpPr/>
              <p:nvPr userDrawn="1"/>
            </p:nvSpPr>
            <p:spPr>
              <a:xfrm>
                <a:off x="1636887" y="3818487"/>
                <a:ext cx="963639" cy="305154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Lst>
                <a:ahLst/>
                <a:cxnLst>
                  <a:cxn ang="0">
                    <a:pos x="connsiteX0" y="connsiteY0"/>
                  </a:cxn>
                  <a:cxn ang="0">
                    <a:pos x="connsiteX1" y="connsiteY1"/>
                  </a:cxn>
                  <a:cxn ang="0">
                    <a:pos x="connsiteX2" y="connsiteY2"/>
                  </a:cxn>
                  <a:cxn ang="0">
                    <a:pos x="connsiteX3" y="connsiteY3"/>
                  </a:cxn>
                </a:cxnLst>
                <a:rect l="l" t="t" r="r" b="b"/>
                <a:pathLst>
                  <a:path w="963639" h="3051545">
                    <a:moveTo>
                      <a:pt x="0" y="3051545"/>
                    </a:moveTo>
                    <a:lnTo>
                      <a:pt x="754912" y="0"/>
                    </a:lnTo>
                    <a:lnTo>
                      <a:pt x="963639" y="3051545"/>
                    </a:lnTo>
                    <a:lnTo>
                      <a:pt x="0" y="3051545"/>
                    </a:lnTo>
                    <a:close/>
                  </a:path>
                </a:pathLst>
              </a:custGeom>
              <a:gradFill>
                <a:gsLst>
                  <a:gs pos="27000">
                    <a:srgbClr val="5EAC3E"/>
                  </a:gs>
                  <a:gs pos="64000">
                    <a:srgbClr val="67BD4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5" name="Picture 14">
                <a:extLst>
                  <a:ext uri="{FF2B5EF4-FFF2-40B4-BE49-F238E27FC236}">
                    <a16:creationId xmlns:a16="http://schemas.microsoft.com/office/drawing/2014/main" id="{7950B3B0-8A92-4C5E-B968-43BD35D2627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133" y="946483"/>
                <a:ext cx="2111973" cy="820275"/>
              </a:xfrm>
              <a:prstGeom prst="rect">
                <a:avLst/>
              </a:prstGeom>
            </p:spPr>
          </p:pic>
        </p:grpSp>
        <p:sp>
          <p:nvSpPr>
            <p:cNvPr id="17" name="Right Triangle 3">
              <a:extLst>
                <a:ext uri="{FF2B5EF4-FFF2-40B4-BE49-F238E27FC236}">
                  <a16:creationId xmlns:a16="http://schemas.microsoft.com/office/drawing/2014/main" id="{E2F14F70-9C54-43E1-82EA-D6E12FE88A86}"/>
                </a:ext>
              </a:extLst>
            </p:cNvPr>
            <p:cNvSpPr/>
            <p:nvPr userDrawn="1"/>
          </p:nvSpPr>
          <p:spPr>
            <a:xfrm rot="12173926">
              <a:off x="2705968" y="-442088"/>
              <a:ext cx="1014731" cy="597488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 name="connsiteX0" fmla="*/ 0 w 1014731"/>
                <a:gd name="connsiteY0" fmla="*/ 3477101 h 3477101"/>
                <a:gd name="connsiteX1" fmla="*/ 806004 w 1014731"/>
                <a:gd name="connsiteY1" fmla="*/ 0 h 3477101"/>
                <a:gd name="connsiteX2" fmla="*/ 1014731 w 1014731"/>
                <a:gd name="connsiteY2" fmla="*/ 3051545 h 3477101"/>
                <a:gd name="connsiteX3" fmla="*/ 0 w 1014731"/>
                <a:gd name="connsiteY3" fmla="*/ 3477101 h 3477101"/>
                <a:gd name="connsiteX0" fmla="*/ 0 w 1014731"/>
                <a:gd name="connsiteY0" fmla="*/ 5974885 h 5974885"/>
                <a:gd name="connsiteX1" fmla="*/ 789755 w 1014731"/>
                <a:gd name="connsiteY1" fmla="*/ 0 h 5974885"/>
                <a:gd name="connsiteX2" fmla="*/ 1014731 w 1014731"/>
                <a:gd name="connsiteY2" fmla="*/ 5549329 h 5974885"/>
                <a:gd name="connsiteX3" fmla="*/ 0 w 1014731"/>
                <a:gd name="connsiteY3" fmla="*/ 5974885 h 5974885"/>
              </a:gdLst>
              <a:ahLst/>
              <a:cxnLst>
                <a:cxn ang="0">
                  <a:pos x="connsiteX0" y="connsiteY0"/>
                </a:cxn>
                <a:cxn ang="0">
                  <a:pos x="connsiteX1" y="connsiteY1"/>
                </a:cxn>
                <a:cxn ang="0">
                  <a:pos x="connsiteX2" y="connsiteY2"/>
                </a:cxn>
                <a:cxn ang="0">
                  <a:pos x="connsiteX3" y="connsiteY3"/>
                </a:cxn>
              </a:cxnLst>
              <a:rect l="l" t="t" r="r" b="b"/>
              <a:pathLst>
                <a:path w="1014731" h="5974885">
                  <a:moveTo>
                    <a:pt x="0" y="5974885"/>
                  </a:moveTo>
                  <a:lnTo>
                    <a:pt x="789755" y="0"/>
                  </a:lnTo>
                  <a:lnTo>
                    <a:pt x="1014731" y="5549329"/>
                  </a:lnTo>
                  <a:lnTo>
                    <a:pt x="0" y="5974885"/>
                  </a:lnTo>
                  <a:close/>
                </a:path>
              </a:pathLst>
            </a:custGeom>
            <a:gradFill>
              <a:gsLst>
                <a:gs pos="34000">
                  <a:schemeClr val="bg2"/>
                </a:gs>
                <a:gs pos="100000">
                  <a:srgbClr val="5BA23C"/>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9" name="Text Placeholder 4"/>
          <p:cNvSpPr>
            <a:spLocks noGrp="1"/>
          </p:cNvSpPr>
          <p:nvPr>
            <p:ph type="body" sz="quarter" idx="17" hasCustomPrompt="1"/>
          </p:nvPr>
        </p:nvSpPr>
        <p:spPr>
          <a:xfrm rot="16200000">
            <a:off x="5710902" y="360708"/>
            <a:ext cx="3197491" cy="9808237"/>
          </a:xfrm>
          <a:custGeom>
            <a:avLst/>
            <a:gdLst>
              <a:gd name="connsiteX0" fmla="*/ 0 w 3293259"/>
              <a:gd name="connsiteY0" fmla="*/ 12192000 h 12192000"/>
              <a:gd name="connsiteX1" fmla="*/ 823315 w 3293259"/>
              <a:gd name="connsiteY1" fmla="*/ 0 h 12192000"/>
              <a:gd name="connsiteX2" fmla="*/ 3293259 w 3293259"/>
              <a:gd name="connsiteY2" fmla="*/ 0 h 12192000"/>
              <a:gd name="connsiteX3" fmla="*/ 2469944 w 3293259"/>
              <a:gd name="connsiteY3" fmla="*/ 12192000 h 12192000"/>
              <a:gd name="connsiteX4" fmla="*/ 0 w 3293259"/>
              <a:gd name="connsiteY4" fmla="*/ 12192000 h 12192000"/>
              <a:gd name="connsiteX0" fmla="*/ 0 w 3180964"/>
              <a:gd name="connsiteY0" fmla="*/ 12192000 h 12192000"/>
              <a:gd name="connsiteX1" fmla="*/ 823315 w 3180964"/>
              <a:gd name="connsiteY1" fmla="*/ 0 h 12192000"/>
              <a:gd name="connsiteX2" fmla="*/ 3180964 w 3180964"/>
              <a:gd name="connsiteY2" fmla="*/ 2727158 h 12192000"/>
              <a:gd name="connsiteX3" fmla="*/ 2469944 w 3180964"/>
              <a:gd name="connsiteY3" fmla="*/ 12192000 h 12192000"/>
              <a:gd name="connsiteX4" fmla="*/ 0 w 3180964"/>
              <a:gd name="connsiteY4" fmla="*/ 12192000 h 12192000"/>
              <a:gd name="connsiteX0" fmla="*/ 0 w 3180964"/>
              <a:gd name="connsiteY0" fmla="*/ 12192000 h 12192000"/>
              <a:gd name="connsiteX1" fmla="*/ 823315 w 3180964"/>
              <a:gd name="connsiteY1" fmla="*/ 0 h 12192000"/>
              <a:gd name="connsiteX2" fmla="*/ 1845459 w 3180964"/>
              <a:gd name="connsiteY2" fmla="*/ 1155032 h 12192000"/>
              <a:gd name="connsiteX3" fmla="*/ 3180964 w 3180964"/>
              <a:gd name="connsiteY3" fmla="*/ 2727158 h 12192000"/>
              <a:gd name="connsiteX4" fmla="*/ 2469944 w 3180964"/>
              <a:gd name="connsiteY4" fmla="*/ 12192000 h 12192000"/>
              <a:gd name="connsiteX5" fmla="*/ 0 w 3180964"/>
              <a:gd name="connsiteY5" fmla="*/ 12192000 h 12192000"/>
              <a:gd name="connsiteX0" fmla="*/ 0 w 3180964"/>
              <a:gd name="connsiteY0" fmla="*/ 12192000 h 12192000"/>
              <a:gd name="connsiteX1" fmla="*/ 823315 w 3180964"/>
              <a:gd name="connsiteY1" fmla="*/ 0 h 12192000"/>
              <a:gd name="connsiteX2" fmla="*/ 2743817 w 3180964"/>
              <a:gd name="connsiteY2" fmla="*/ 2358190 h 12192000"/>
              <a:gd name="connsiteX3" fmla="*/ 3180964 w 3180964"/>
              <a:gd name="connsiteY3" fmla="*/ 2727158 h 12192000"/>
              <a:gd name="connsiteX4" fmla="*/ 2469944 w 3180964"/>
              <a:gd name="connsiteY4" fmla="*/ 12192000 h 12192000"/>
              <a:gd name="connsiteX5" fmla="*/ 0 w 3180964"/>
              <a:gd name="connsiteY5" fmla="*/ 12192000 h 12192000"/>
              <a:gd name="connsiteX0" fmla="*/ 26917 w 3207881"/>
              <a:gd name="connsiteY0" fmla="*/ 9833810 h 9833810"/>
              <a:gd name="connsiteX1" fmla="*/ 0 w 3207881"/>
              <a:gd name="connsiteY1" fmla="*/ 240631 h 9833810"/>
              <a:gd name="connsiteX2" fmla="*/ 2770734 w 3207881"/>
              <a:gd name="connsiteY2" fmla="*/ 0 h 9833810"/>
              <a:gd name="connsiteX3" fmla="*/ 3207881 w 3207881"/>
              <a:gd name="connsiteY3" fmla="*/ 368968 h 9833810"/>
              <a:gd name="connsiteX4" fmla="*/ 2496861 w 3207881"/>
              <a:gd name="connsiteY4" fmla="*/ 9833810 h 9833810"/>
              <a:gd name="connsiteX5" fmla="*/ 26917 w 3207881"/>
              <a:gd name="connsiteY5" fmla="*/ 9833810 h 9833810"/>
              <a:gd name="connsiteX0" fmla="*/ 26917 w 3218756"/>
              <a:gd name="connsiteY0" fmla="*/ 9833810 h 9833810"/>
              <a:gd name="connsiteX1" fmla="*/ 0 w 3218756"/>
              <a:gd name="connsiteY1" fmla="*/ 240631 h 9833810"/>
              <a:gd name="connsiteX2" fmla="*/ 2770734 w 3218756"/>
              <a:gd name="connsiteY2" fmla="*/ 0 h 9833810"/>
              <a:gd name="connsiteX3" fmla="*/ 3207881 w 3218756"/>
              <a:gd name="connsiteY3" fmla="*/ 368968 h 9833810"/>
              <a:gd name="connsiteX4" fmla="*/ 3218756 w 3218756"/>
              <a:gd name="connsiteY4" fmla="*/ 9801729 h 9833810"/>
              <a:gd name="connsiteX5" fmla="*/ 26917 w 3218756"/>
              <a:gd name="connsiteY5" fmla="*/ 9833810 h 9833810"/>
              <a:gd name="connsiteX0" fmla="*/ 26917 w 3218756"/>
              <a:gd name="connsiteY0" fmla="*/ 9833810 h 9833810"/>
              <a:gd name="connsiteX1" fmla="*/ 0 w 3218756"/>
              <a:gd name="connsiteY1" fmla="*/ 240631 h 9833810"/>
              <a:gd name="connsiteX2" fmla="*/ 2770734 w 3218756"/>
              <a:gd name="connsiteY2" fmla="*/ 0 h 9833810"/>
              <a:gd name="connsiteX3" fmla="*/ 3207881 w 3218756"/>
              <a:gd name="connsiteY3" fmla="*/ 304800 h 9833810"/>
              <a:gd name="connsiteX4" fmla="*/ 3218756 w 3218756"/>
              <a:gd name="connsiteY4" fmla="*/ 9801729 h 9833810"/>
              <a:gd name="connsiteX5" fmla="*/ 26917 w 3218756"/>
              <a:gd name="connsiteY5" fmla="*/ 9833810 h 9833810"/>
              <a:gd name="connsiteX0" fmla="*/ 26917 w 3218756"/>
              <a:gd name="connsiteY0" fmla="*/ 9769641 h 9769641"/>
              <a:gd name="connsiteX1" fmla="*/ 0 w 3218756"/>
              <a:gd name="connsiteY1" fmla="*/ 176462 h 9769641"/>
              <a:gd name="connsiteX2" fmla="*/ 2738650 w 3218756"/>
              <a:gd name="connsiteY2" fmla="*/ 0 h 9769641"/>
              <a:gd name="connsiteX3" fmla="*/ 3207881 w 3218756"/>
              <a:gd name="connsiteY3" fmla="*/ 240631 h 9769641"/>
              <a:gd name="connsiteX4" fmla="*/ 3218756 w 3218756"/>
              <a:gd name="connsiteY4" fmla="*/ 9737560 h 9769641"/>
              <a:gd name="connsiteX5" fmla="*/ 26917 w 3218756"/>
              <a:gd name="connsiteY5" fmla="*/ 9769641 h 9769641"/>
              <a:gd name="connsiteX0" fmla="*/ 26917 w 3218756"/>
              <a:gd name="connsiteY0" fmla="*/ 9780861 h 9780861"/>
              <a:gd name="connsiteX1" fmla="*/ 0 w 3218756"/>
              <a:gd name="connsiteY1" fmla="*/ 187682 h 9780861"/>
              <a:gd name="connsiteX2" fmla="*/ 2772309 w 3218756"/>
              <a:gd name="connsiteY2" fmla="*/ 0 h 9780861"/>
              <a:gd name="connsiteX3" fmla="*/ 3207881 w 3218756"/>
              <a:gd name="connsiteY3" fmla="*/ 251851 h 9780861"/>
              <a:gd name="connsiteX4" fmla="*/ 3218756 w 3218756"/>
              <a:gd name="connsiteY4" fmla="*/ 9748780 h 9780861"/>
              <a:gd name="connsiteX5" fmla="*/ 26917 w 3218756"/>
              <a:gd name="connsiteY5" fmla="*/ 9780861 h 9780861"/>
              <a:gd name="connsiteX0" fmla="*/ 5652 w 3197491"/>
              <a:gd name="connsiteY0" fmla="*/ 9780861 h 9780861"/>
              <a:gd name="connsiteX1" fmla="*/ 0 w 3197491"/>
              <a:gd name="connsiteY1" fmla="*/ 187685 h 9780861"/>
              <a:gd name="connsiteX2" fmla="*/ 2751044 w 3197491"/>
              <a:gd name="connsiteY2" fmla="*/ 0 h 9780861"/>
              <a:gd name="connsiteX3" fmla="*/ 3186616 w 3197491"/>
              <a:gd name="connsiteY3" fmla="*/ 251851 h 9780861"/>
              <a:gd name="connsiteX4" fmla="*/ 3197491 w 3197491"/>
              <a:gd name="connsiteY4" fmla="*/ 9748780 h 9780861"/>
              <a:gd name="connsiteX5" fmla="*/ 5652 w 3197491"/>
              <a:gd name="connsiteY5" fmla="*/ 9780861 h 9780861"/>
              <a:gd name="connsiteX0" fmla="*/ 11262 w 3203101"/>
              <a:gd name="connsiteY0" fmla="*/ 9780861 h 9780861"/>
              <a:gd name="connsiteX1" fmla="*/ 0 w 3203101"/>
              <a:gd name="connsiteY1" fmla="*/ 215734 h 9780861"/>
              <a:gd name="connsiteX2" fmla="*/ 2756654 w 3203101"/>
              <a:gd name="connsiteY2" fmla="*/ 0 h 9780861"/>
              <a:gd name="connsiteX3" fmla="*/ 3192226 w 3203101"/>
              <a:gd name="connsiteY3" fmla="*/ 251851 h 9780861"/>
              <a:gd name="connsiteX4" fmla="*/ 3203101 w 3203101"/>
              <a:gd name="connsiteY4" fmla="*/ 9748780 h 9780861"/>
              <a:gd name="connsiteX5" fmla="*/ 11262 w 3203101"/>
              <a:gd name="connsiteY5" fmla="*/ 9780861 h 9780861"/>
              <a:gd name="connsiteX0" fmla="*/ 11262 w 3203101"/>
              <a:gd name="connsiteY0" fmla="*/ 9780861 h 9780861"/>
              <a:gd name="connsiteX1" fmla="*/ 0 w 3203101"/>
              <a:gd name="connsiteY1" fmla="*/ 198905 h 9780861"/>
              <a:gd name="connsiteX2" fmla="*/ 2756654 w 3203101"/>
              <a:gd name="connsiteY2" fmla="*/ 0 h 9780861"/>
              <a:gd name="connsiteX3" fmla="*/ 3192226 w 3203101"/>
              <a:gd name="connsiteY3" fmla="*/ 251851 h 9780861"/>
              <a:gd name="connsiteX4" fmla="*/ 3203101 w 3203101"/>
              <a:gd name="connsiteY4" fmla="*/ 9748780 h 9780861"/>
              <a:gd name="connsiteX5" fmla="*/ 11262 w 3203101"/>
              <a:gd name="connsiteY5" fmla="*/ 9780861 h 9780861"/>
              <a:gd name="connsiteX0" fmla="*/ 11262 w 3203101"/>
              <a:gd name="connsiteY0" fmla="*/ 9780861 h 9780861"/>
              <a:gd name="connsiteX1" fmla="*/ 0 w 3203101"/>
              <a:gd name="connsiteY1" fmla="*/ 198905 h 9780861"/>
              <a:gd name="connsiteX2" fmla="*/ 2756654 w 3203101"/>
              <a:gd name="connsiteY2" fmla="*/ 0 h 9780861"/>
              <a:gd name="connsiteX3" fmla="*/ 3192226 w 3203101"/>
              <a:gd name="connsiteY3" fmla="*/ 251851 h 9780861"/>
              <a:gd name="connsiteX4" fmla="*/ 3203101 w 3203101"/>
              <a:gd name="connsiteY4" fmla="*/ 9748780 h 9780861"/>
              <a:gd name="connsiteX5" fmla="*/ 11262 w 3203101"/>
              <a:gd name="connsiteY5" fmla="*/ 9780861 h 9780861"/>
              <a:gd name="connsiteX0" fmla="*/ 5652 w 3197491"/>
              <a:gd name="connsiteY0" fmla="*/ 9780861 h 9780861"/>
              <a:gd name="connsiteX1" fmla="*/ 0 w 3197491"/>
              <a:gd name="connsiteY1" fmla="*/ 176466 h 9780861"/>
              <a:gd name="connsiteX2" fmla="*/ 2751044 w 3197491"/>
              <a:gd name="connsiteY2" fmla="*/ 0 h 9780861"/>
              <a:gd name="connsiteX3" fmla="*/ 3186616 w 3197491"/>
              <a:gd name="connsiteY3" fmla="*/ 251851 h 9780861"/>
              <a:gd name="connsiteX4" fmla="*/ 3197491 w 3197491"/>
              <a:gd name="connsiteY4" fmla="*/ 9748780 h 9780861"/>
              <a:gd name="connsiteX5" fmla="*/ 5652 w 3197491"/>
              <a:gd name="connsiteY5" fmla="*/ 9780861 h 9780861"/>
              <a:gd name="connsiteX0" fmla="*/ 5652 w 3197491"/>
              <a:gd name="connsiteY0" fmla="*/ 9786471 h 9786471"/>
              <a:gd name="connsiteX1" fmla="*/ 0 w 3197491"/>
              <a:gd name="connsiteY1" fmla="*/ 182076 h 9786471"/>
              <a:gd name="connsiteX2" fmla="*/ 2756654 w 3197491"/>
              <a:gd name="connsiteY2" fmla="*/ 0 h 9786471"/>
              <a:gd name="connsiteX3" fmla="*/ 3186616 w 3197491"/>
              <a:gd name="connsiteY3" fmla="*/ 257461 h 9786471"/>
              <a:gd name="connsiteX4" fmla="*/ 3197491 w 3197491"/>
              <a:gd name="connsiteY4" fmla="*/ 9754390 h 9786471"/>
              <a:gd name="connsiteX5" fmla="*/ 5652 w 3197491"/>
              <a:gd name="connsiteY5" fmla="*/ 9786471 h 9786471"/>
              <a:gd name="connsiteX0" fmla="*/ 5652 w 3197491"/>
              <a:gd name="connsiteY0" fmla="*/ 9786471 h 9786471"/>
              <a:gd name="connsiteX1" fmla="*/ 0 w 3197491"/>
              <a:gd name="connsiteY1" fmla="*/ 170044 h 9786471"/>
              <a:gd name="connsiteX2" fmla="*/ 2756654 w 3197491"/>
              <a:gd name="connsiteY2" fmla="*/ 0 h 9786471"/>
              <a:gd name="connsiteX3" fmla="*/ 3186616 w 3197491"/>
              <a:gd name="connsiteY3" fmla="*/ 257461 h 9786471"/>
              <a:gd name="connsiteX4" fmla="*/ 3197491 w 3197491"/>
              <a:gd name="connsiteY4" fmla="*/ 9754390 h 9786471"/>
              <a:gd name="connsiteX5" fmla="*/ 5652 w 3197491"/>
              <a:gd name="connsiteY5" fmla="*/ 9786471 h 9786471"/>
              <a:gd name="connsiteX0" fmla="*/ 5652 w 3197491"/>
              <a:gd name="connsiteY0" fmla="*/ 9786471 h 9786471"/>
              <a:gd name="connsiteX1" fmla="*/ 0 w 3197491"/>
              <a:gd name="connsiteY1" fmla="*/ 194107 h 9786471"/>
              <a:gd name="connsiteX2" fmla="*/ 2756654 w 3197491"/>
              <a:gd name="connsiteY2" fmla="*/ 0 h 9786471"/>
              <a:gd name="connsiteX3" fmla="*/ 3186616 w 3197491"/>
              <a:gd name="connsiteY3" fmla="*/ 257461 h 9786471"/>
              <a:gd name="connsiteX4" fmla="*/ 3197491 w 3197491"/>
              <a:gd name="connsiteY4" fmla="*/ 9754390 h 9786471"/>
              <a:gd name="connsiteX5" fmla="*/ 5652 w 3197491"/>
              <a:gd name="connsiteY5" fmla="*/ 9786471 h 9786471"/>
              <a:gd name="connsiteX0" fmla="*/ 5652 w 3197491"/>
              <a:gd name="connsiteY0" fmla="*/ 9786471 h 9790182"/>
              <a:gd name="connsiteX1" fmla="*/ 0 w 3197491"/>
              <a:gd name="connsiteY1" fmla="*/ 194107 h 9790182"/>
              <a:gd name="connsiteX2" fmla="*/ 2756654 w 3197491"/>
              <a:gd name="connsiteY2" fmla="*/ 0 h 9790182"/>
              <a:gd name="connsiteX3" fmla="*/ 3186616 w 3197491"/>
              <a:gd name="connsiteY3" fmla="*/ 257461 h 9790182"/>
              <a:gd name="connsiteX4" fmla="*/ 3197491 w 3197491"/>
              <a:gd name="connsiteY4" fmla="*/ 9790182 h 9790182"/>
              <a:gd name="connsiteX5" fmla="*/ 5652 w 3197491"/>
              <a:gd name="connsiteY5" fmla="*/ 9786471 h 979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97491" h="9790182">
                <a:moveTo>
                  <a:pt x="5652" y="9786471"/>
                </a:moveTo>
                <a:cubicBezTo>
                  <a:pt x="-3320" y="6588745"/>
                  <a:pt x="8972" y="3391833"/>
                  <a:pt x="0" y="194107"/>
                </a:cubicBezTo>
                <a:lnTo>
                  <a:pt x="2756654" y="0"/>
                </a:lnTo>
                <a:lnTo>
                  <a:pt x="3186616" y="257461"/>
                </a:lnTo>
                <a:lnTo>
                  <a:pt x="3197491" y="9790182"/>
                </a:lnTo>
                <a:lnTo>
                  <a:pt x="5652" y="9786471"/>
                </a:lnTo>
                <a:close/>
              </a:path>
            </a:pathLst>
          </a:custGeom>
          <a:gradFill flip="none" rotWithShape="1">
            <a:gsLst>
              <a:gs pos="98030">
                <a:schemeClr val="bg1">
                  <a:alpha val="0"/>
                </a:schemeClr>
              </a:gs>
              <a:gs pos="80000">
                <a:srgbClr val="FFFFFF">
                  <a:alpha val="47000"/>
                </a:srgbClr>
              </a:gs>
              <a:gs pos="45000">
                <a:schemeClr val="bg1"/>
              </a:gs>
            </a:gsLst>
            <a:lin ang="21594000" scaled="0"/>
            <a:tileRect/>
          </a:gradFill>
          <a:ln w="19050">
            <a:noFill/>
          </a:ln>
        </p:spPr>
        <p:txBody>
          <a:bodyPr rot="0" spcFirstLastPara="0" vertOverflow="overflow" horzOverflow="overflow" vert="horz" wrap="square" lIns="454941" tIns="37851" rIns="75702" bIns="72790" numCol="1" spcCol="0" rtlCol="0" fromWordArt="0" anchor="b" anchorCtr="0" forceAA="0" compatLnSpc="1">
            <a:prstTxWarp prst="textNoShape">
              <a:avLst/>
            </a:prstTxWarp>
            <a:noAutofit/>
          </a:bodyPr>
          <a:lstStyle>
            <a:lvl1pPr marL="0" indent="0">
              <a:buNone/>
              <a:defRPr lang="en-US" dirty="0"/>
            </a:lvl1pPr>
          </a:lstStyle>
          <a:p>
            <a:pPr lvl="0">
              <a:buClr>
                <a:schemeClr val="bg1"/>
              </a:buClr>
            </a:pPr>
            <a:r>
              <a:rPr lang="en-US"/>
              <a:t>  </a:t>
            </a:r>
            <a:endParaRPr lang="en-US" dirty="0"/>
          </a:p>
        </p:txBody>
      </p:sp>
      <p:sp>
        <p:nvSpPr>
          <p:cNvPr id="2" name="Title 1"/>
          <p:cNvSpPr>
            <a:spLocks noGrp="1"/>
          </p:cNvSpPr>
          <p:nvPr>
            <p:ph type="ctrTitle" hasCustomPrompt="1"/>
          </p:nvPr>
        </p:nvSpPr>
        <p:spPr bwMode="gray">
          <a:xfrm>
            <a:off x="2877338" y="4429621"/>
            <a:ext cx="5504500" cy="2262007"/>
          </a:xfrm>
        </p:spPr>
        <p:txBody>
          <a:bodyPr wrap="square" anchor="b" anchorCtr="0">
            <a:noAutofit/>
          </a:bodyPr>
          <a:lstStyle>
            <a:lvl1pPr algn="l">
              <a:lnSpc>
                <a:spcPct val="80000"/>
              </a:lnSpc>
              <a:defRPr sz="4800" b="0" i="0" cap="all" baseline="0">
                <a:solidFill>
                  <a:schemeClr val="tx1"/>
                </a:solidFill>
                <a:effectLst/>
                <a:latin typeface="+mj-lt"/>
                <a:ea typeface="DIN Pro Black" charset="0"/>
                <a:cs typeface="DIN Pro Black" charset="0"/>
              </a:defRPr>
            </a:lvl1pPr>
          </a:lstStyle>
          <a:p>
            <a:r>
              <a:rPr lang="en-US" dirty="0"/>
              <a:t>Click </a:t>
            </a:r>
            <a:r>
              <a:rPr lang="en-US"/>
              <a:t>to Add </a:t>
            </a:r>
            <a:r>
              <a:rPr lang="en-US" dirty="0"/>
              <a:t>Title</a:t>
            </a:r>
          </a:p>
        </p:txBody>
      </p:sp>
      <p:sp>
        <p:nvSpPr>
          <p:cNvPr id="3" name="Subtitle 2"/>
          <p:cNvSpPr>
            <a:spLocks noGrp="1"/>
          </p:cNvSpPr>
          <p:nvPr>
            <p:ph type="subTitle" idx="1" hasCustomPrompt="1"/>
          </p:nvPr>
        </p:nvSpPr>
        <p:spPr bwMode="gray">
          <a:xfrm>
            <a:off x="8964063" y="5611024"/>
            <a:ext cx="2926080" cy="246221"/>
          </a:xfrm>
        </p:spPr>
        <p:txBody>
          <a:bodyPr wrap="square" anchor="b">
            <a:noAutofit/>
          </a:bodyPr>
          <a:lstStyle>
            <a:lvl1pPr marL="0" indent="0" algn="ctr">
              <a:lnSpc>
                <a:spcPct val="80000"/>
              </a:lnSpc>
              <a:spcBef>
                <a:spcPts val="0"/>
              </a:spcBef>
              <a:spcAft>
                <a:spcPts val="0"/>
              </a:spcAft>
              <a:buNone/>
              <a:defRPr sz="1700" b="0">
                <a:solidFill>
                  <a:schemeClr val="tx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 Presenter’s Name</a:t>
            </a:r>
          </a:p>
        </p:txBody>
      </p:sp>
      <p:sp>
        <p:nvSpPr>
          <p:cNvPr id="8" name="Text Placeholder 7"/>
          <p:cNvSpPr>
            <a:spLocks noGrp="1"/>
          </p:cNvSpPr>
          <p:nvPr>
            <p:ph type="body" sz="quarter" idx="10" hasCustomPrompt="1"/>
          </p:nvPr>
        </p:nvSpPr>
        <p:spPr bwMode="gray">
          <a:xfrm>
            <a:off x="8964063" y="5891811"/>
            <a:ext cx="2926080" cy="221599"/>
          </a:xfrm>
        </p:spPr>
        <p:txBody>
          <a:bodyPr wrap="square" anchor="t">
            <a:noAutofit/>
          </a:bodyPr>
          <a:lstStyle>
            <a:lvl1pPr marL="0" indent="0" algn="ctr">
              <a:spcBef>
                <a:spcPts val="0"/>
              </a:spcBef>
              <a:buNone/>
              <a:defRPr sz="1500">
                <a:solidFill>
                  <a:schemeClr val="tx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Add Presenter’s Title</a:t>
            </a:r>
          </a:p>
        </p:txBody>
      </p:sp>
      <p:sp>
        <p:nvSpPr>
          <p:cNvPr id="11" name="Text Placeholder 9"/>
          <p:cNvSpPr>
            <a:spLocks noGrp="1"/>
          </p:cNvSpPr>
          <p:nvPr>
            <p:ph type="body" sz="quarter" idx="13" hasCustomPrompt="1"/>
          </p:nvPr>
        </p:nvSpPr>
        <p:spPr bwMode="gray">
          <a:xfrm>
            <a:off x="9192663" y="6271411"/>
            <a:ext cx="2468880" cy="193899"/>
          </a:xfrm>
        </p:spPr>
        <p:txBody>
          <a:bodyPr wrap="square" anchor="t" anchorCtr="0">
            <a:noAutofit/>
          </a:bodyPr>
          <a:lstStyle>
            <a:lvl1pPr marL="0" indent="0" algn="ctr">
              <a:spcBef>
                <a:spcPts val="0"/>
              </a:spcBef>
              <a:buFontTx/>
              <a:buNone/>
              <a:defRPr sz="1400">
                <a:solidFill>
                  <a:schemeClr val="tx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6" name="Text Placeholder 10">
            <a:extLst>
              <a:ext uri="{FF2B5EF4-FFF2-40B4-BE49-F238E27FC236}">
                <a16:creationId xmlns:a16="http://schemas.microsoft.com/office/drawing/2014/main" id="{CDD86703-6F1E-40F2-8E18-356D4E92C5B3}"/>
              </a:ext>
            </a:extLst>
          </p:cNvPr>
          <p:cNvSpPr>
            <a:spLocks noGrp="1"/>
          </p:cNvSpPr>
          <p:nvPr>
            <p:ph type="body" sz="quarter" idx="20" hasCustomPrompt="1"/>
          </p:nvPr>
        </p:nvSpPr>
        <p:spPr>
          <a:xfrm rot="5400000">
            <a:off x="10388268" y="4150992"/>
            <a:ext cx="18288" cy="2743200"/>
          </a:xfrm>
          <a:solidFill>
            <a:schemeClr val="bg2"/>
          </a:solidFill>
          <a:ln>
            <a:noFill/>
          </a:ln>
        </p:spPr>
        <p:txBody>
          <a:bodyPr/>
          <a:lstStyle>
            <a:lvl1pPr marL="0" indent="0">
              <a:buNone/>
              <a:defRPr baseline="0"/>
            </a:lvl1pPr>
          </a:lstStyle>
          <a:p>
            <a:pPr lvl="0"/>
            <a:r>
              <a:rPr lang="en-US" dirty="0"/>
              <a:t> </a:t>
            </a:r>
          </a:p>
        </p:txBody>
      </p:sp>
      <p:sp>
        <p:nvSpPr>
          <p:cNvPr id="30" name="Text Placeholder 29">
            <a:extLst>
              <a:ext uri="{FF2B5EF4-FFF2-40B4-BE49-F238E27FC236}">
                <a16:creationId xmlns:a16="http://schemas.microsoft.com/office/drawing/2014/main" id="{3A6755E2-68D0-4887-A72E-4FEB2FC898DC}"/>
              </a:ext>
            </a:extLst>
          </p:cNvPr>
          <p:cNvSpPr>
            <a:spLocks noGrp="1"/>
          </p:cNvSpPr>
          <p:nvPr>
            <p:ph type="body" sz="quarter" idx="21" hasCustomPrompt="1"/>
          </p:nvPr>
        </p:nvSpPr>
        <p:spPr>
          <a:xfrm>
            <a:off x="9026525" y="6557190"/>
            <a:ext cx="2743200" cy="18288"/>
          </a:xfrm>
          <a:solidFill>
            <a:schemeClr val="bg2"/>
          </a:solidFill>
        </p:spPr>
        <p:txBody>
          <a:bodyPr/>
          <a:lstStyle>
            <a:lvl1pPr marL="0" indent="0">
              <a:buFontTx/>
              <a:buNone/>
              <a:defRPr sz="500"/>
            </a:lvl1pPr>
          </a:lstStyle>
          <a:p>
            <a:pPr lvl="0"/>
            <a:r>
              <a:rPr lang="en-US" dirty="0"/>
              <a:t> </a:t>
            </a:r>
          </a:p>
        </p:txBody>
      </p:sp>
    </p:spTree>
    <p:extLst>
      <p:ext uri="{BB962C8B-B14F-4D97-AF65-F5344CB8AC3E}">
        <p14:creationId xmlns:p14="http://schemas.microsoft.com/office/powerpoint/2010/main" val="2380947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D274482-5A7A-42E8-A55B-2B79C89DF7CD}"/>
              </a:ext>
            </a:extLst>
          </p:cNvPr>
          <p:cNvGrpSpPr/>
          <p:nvPr userDrawn="1"/>
        </p:nvGrpSpPr>
        <p:grpSpPr>
          <a:xfrm>
            <a:off x="1" y="-442088"/>
            <a:ext cx="3898232" cy="7312120"/>
            <a:chOff x="1" y="-442088"/>
            <a:chExt cx="3898232" cy="7312120"/>
          </a:xfrm>
        </p:grpSpPr>
        <p:sp>
          <p:nvSpPr>
            <p:cNvPr id="26" name="Rectangle 4">
              <a:extLst>
                <a:ext uri="{FF2B5EF4-FFF2-40B4-BE49-F238E27FC236}">
                  <a16:creationId xmlns:a16="http://schemas.microsoft.com/office/drawing/2014/main" id="{C7FF789E-486F-4C2E-9D16-5E35C8FB8787}"/>
                </a:ext>
              </a:extLst>
            </p:cNvPr>
            <p:cNvSpPr/>
            <p:nvPr userDrawn="1"/>
          </p:nvSpPr>
          <p:spPr>
            <a:xfrm>
              <a:off x="1" y="-12032"/>
              <a:ext cx="3898232" cy="6877142"/>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43698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877142"/>
                <a:gd name="connsiteX1" fmla="*/ 11367745 w 11367745"/>
                <a:gd name="connsiteY1" fmla="*/ 0 h 6877142"/>
                <a:gd name="connsiteX2" fmla="*/ 6255328 w 11367745"/>
                <a:gd name="connsiteY2" fmla="*/ 5041232 h 6877142"/>
                <a:gd name="connsiteX3" fmla="*/ 6808614 w 11367745"/>
                <a:gd name="connsiteY3" fmla="*/ 6877142 h 6877142"/>
                <a:gd name="connsiteX4" fmla="*/ 0 w 11367745"/>
                <a:gd name="connsiteY4" fmla="*/ 6870032 h 6877142"/>
                <a:gd name="connsiteX5" fmla="*/ 0 w 11367745"/>
                <a:gd name="connsiteY5" fmla="*/ 12032 h 6877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67745" h="6877142">
                  <a:moveTo>
                    <a:pt x="0" y="12032"/>
                  </a:moveTo>
                  <a:lnTo>
                    <a:pt x="11367745" y="0"/>
                  </a:lnTo>
                  <a:cubicBezTo>
                    <a:pt x="9493718" y="1572491"/>
                    <a:pt x="6951519" y="3543847"/>
                    <a:pt x="6255328" y="5041232"/>
                  </a:cubicBezTo>
                  <a:cubicBezTo>
                    <a:pt x="6698673" y="6357413"/>
                    <a:pt x="6282143" y="5425879"/>
                    <a:pt x="6808614" y="6877142"/>
                  </a:cubicBezTo>
                  <a:lnTo>
                    <a:pt x="0" y="6870032"/>
                  </a:lnTo>
                  <a:lnTo>
                    <a:pt x="0" y="12032"/>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5" name="Group 14">
              <a:extLst>
                <a:ext uri="{FF2B5EF4-FFF2-40B4-BE49-F238E27FC236}">
                  <a16:creationId xmlns:a16="http://schemas.microsoft.com/office/drawing/2014/main" id="{305DDAA3-EE5F-4DE5-A70D-7AF0BF397FDF}"/>
                </a:ext>
              </a:extLst>
            </p:cNvPr>
            <p:cNvGrpSpPr/>
            <p:nvPr userDrawn="1"/>
          </p:nvGrpSpPr>
          <p:grpSpPr>
            <a:xfrm>
              <a:off x="819916" y="-442088"/>
              <a:ext cx="2900783" cy="7312120"/>
              <a:chOff x="5192691" y="-436277"/>
              <a:chExt cx="2900783" cy="7312120"/>
            </a:xfrm>
          </p:grpSpPr>
          <p:sp>
            <p:nvSpPr>
              <p:cNvPr id="17" name="Right Triangle 3">
                <a:extLst>
                  <a:ext uri="{FF2B5EF4-FFF2-40B4-BE49-F238E27FC236}">
                    <a16:creationId xmlns:a16="http://schemas.microsoft.com/office/drawing/2014/main" id="{D96C8D74-86E3-410B-B30E-AC2092CF0437}"/>
                  </a:ext>
                </a:extLst>
              </p:cNvPr>
              <p:cNvSpPr/>
              <p:nvPr userDrawn="1"/>
            </p:nvSpPr>
            <p:spPr>
              <a:xfrm flipH="1">
                <a:off x="5192691" y="4248202"/>
                <a:ext cx="1505899" cy="2626242"/>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Lst>
                <a:ahLst/>
                <a:cxnLst>
                  <a:cxn ang="0">
                    <a:pos x="connsiteX0" y="connsiteY0"/>
                  </a:cxn>
                  <a:cxn ang="0">
                    <a:pos x="connsiteX1" y="connsiteY1"/>
                  </a:cxn>
                  <a:cxn ang="0">
                    <a:pos x="connsiteX2" y="connsiteY2"/>
                  </a:cxn>
                  <a:cxn ang="0">
                    <a:pos x="connsiteX3" y="connsiteY3"/>
                  </a:cxn>
                </a:cxnLst>
                <a:rect l="l" t="t" r="r" b="b"/>
                <a:pathLst>
                  <a:path w="1505899" h="2626242">
                    <a:moveTo>
                      <a:pt x="350874" y="2626242"/>
                    </a:moveTo>
                    <a:lnTo>
                      <a:pt x="0" y="0"/>
                    </a:lnTo>
                    <a:lnTo>
                      <a:pt x="1505899" y="2626242"/>
                    </a:lnTo>
                    <a:lnTo>
                      <a:pt x="350874" y="2626242"/>
                    </a:lnTo>
                    <a:close/>
                  </a:path>
                </a:pathLst>
              </a:custGeom>
              <a:gradFill>
                <a:gsLst>
                  <a:gs pos="2000">
                    <a:srgbClr val="62B53F"/>
                  </a:gs>
                  <a:gs pos="52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ight Triangle 3">
                <a:extLst>
                  <a:ext uri="{FF2B5EF4-FFF2-40B4-BE49-F238E27FC236}">
                    <a16:creationId xmlns:a16="http://schemas.microsoft.com/office/drawing/2014/main" id="{661AD5E9-89E6-47DA-8230-48C561B96C44}"/>
                  </a:ext>
                </a:extLst>
              </p:cNvPr>
              <p:cNvSpPr/>
              <p:nvPr userDrawn="1"/>
            </p:nvSpPr>
            <p:spPr>
              <a:xfrm>
                <a:off x="6009662" y="3824298"/>
                <a:ext cx="963639" cy="305154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Lst>
                <a:ahLst/>
                <a:cxnLst>
                  <a:cxn ang="0">
                    <a:pos x="connsiteX0" y="connsiteY0"/>
                  </a:cxn>
                  <a:cxn ang="0">
                    <a:pos x="connsiteX1" y="connsiteY1"/>
                  </a:cxn>
                  <a:cxn ang="0">
                    <a:pos x="connsiteX2" y="connsiteY2"/>
                  </a:cxn>
                  <a:cxn ang="0">
                    <a:pos x="connsiteX3" y="connsiteY3"/>
                  </a:cxn>
                </a:cxnLst>
                <a:rect l="l" t="t" r="r" b="b"/>
                <a:pathLst>
                  <a:path w="963639" h="3051545">
                    <a:moveTo>
                      <a:pt x="0" y="3051545"/>
                    </a:moveTo>
                    <a:lnTo>
                      <a:pt x="754912" y="0"/>
                    </a:lnTo>
                    <a:lnTo>
                      <a:pt x="963639" y="3051545"/>
                    </a:lnTo>
                    <a:lnTo>
                      <a:pt x="0" y="3051545"/>
                    </a:lnTo>
                    <a:close/>
                  </a:path>
                </a:pathLst>
              </a:custGeom>
              <a:gradFill>
                <a:gsLst>
                  <a:gs pos="27000">
                    <a:srgbClr val="5EAC3E"/>
                  </a:gs>
                  <a:gs pos="64000">
                    <a:srgbClr val="67BD4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Right Triangle 3">
                <a:extLst>
                  <a:ext uri="{FF2B5EF4-FFF2-40B4-BE49-F238E27FC236}">
                    <a16:creationId xmlns:a16="http://schemas.microsoft.com/office/drawing/2014/main" id="{A7348C05-05B2-4D8B-8B2A-370D98103528}"/>
                  </a:ext>
                </a:extLst>
              </p:cNvPr>
              <p:cNvSpPr/>
              <p:nvPr userDrawn="1"/>
            </p:nvSpPr>
            <p:spPr>
              <a:xfrm rot="12173926">
                <a:off x="7078743" y="-436277"/>
                <a:ext cx="1014731" cy="597488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 name="connsiteX0" fmla="*/ 0 w 1014731"/>
                  <a:gd name="connsiteY0" fmla="*/ 3477101 h 3477101"/>
                  <a:gd name="connsiteX1" fmla="*/ 806004 w 1014731"/>
                  <a:gd name="connsiteY1" fmla="*/ 0 h 3477101"/>
                  <a:gd name="connsiteX2" fmla="*/ 1014731 w 1014731"/>
                  <a:gd name="connsiteY2" fmla="*/ 3051545 h 3477101"/>
                  <a:gd name="connsiteX3" fmla="*/ 0 w 1014731"/>
                  <a:gd name="connsiteY3" fmla="*/ 3477101 h 3477101"/>
                  <a:gd name="connsiteX0" fmla="*/ 0 w 1014731"/>
                  <a:gd name="connsiteY0" fmla="*/ 5974885 h 5974885"/>
                  <a:gd name="connsiteX1" fmla="*/ 789755 w 1014731"/>
                  <a:gd name="connsiteY1" fmla="*/ 0 h 5974885"/>
                  <a:gd name="connsiteX2" fmla="*/ 1014731 w 1014731"/>
                  <a:gd name="connsiteY2" fmla="*/ 5549329 h 5974885"/>
                  <a:gd name="connsiteX3" fmla="*/ 0 w 1014731"/>
                  <a:gd name="connsiteY3" fmla="*/ 5974885 h 5974885"/>
                </a:gdLst>
                <a:ahLst/>
                <a:cxnLst>
                  <a:cxn ang="0">
                    <a:pos x="connsiteX0" y="connsiteY0"/>
                  </a:cxn>
                  <a:cxn ang="0">
                    <a:pos x="connsiteX1" y="connsiteY1"/>
                  </a:cxn>
                  <a:cxn ang="0">
                    <a:pos x="connsiteX2" y="connsiteY2"/>
                  </a:cxn>
                  <a:cxn ang="0">
                    <a:pos x="connsiteX3" y="connsiteY3"/>
                  </a:cxn>
                </a:cxnLst>
                <a:rect l="l" t="t" r="r" b="b"/>
                <a:pathLst>
                  <a:path w="1014731" h="5974885">
                    <a:moveTo>
                      <a:pt x="0" y="5974885"/>
                    </a:moveTo>
                    <a:lnTo>
                      <a:pt x="789755" y="0"/>
                    </a:lnTo>
                    <a:lnTo>
                      <a:pt x="1014731" y="5549329"/>
                    </a:lnTo>
                    <a:lnTo>
                      <a:pt x="0" y="5974885"/>
                    </a:lnTo>
                    <a:close/>
                  </a:path>
                </a:pathLst>
              </a:custGeom>
              <a:gradFill>
                <a:gsLst>
                  <a:gs pos="34000">
                    <a:schemeClr val="bg2"/>
                  </a:gs>
                  <a:gs pos="100000">
                    <a:srgbClr val="5BA23C"/>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20" name="Content Placeholder 3"/>
          <p:cNvSpPr>
            <a:spLocks noGrp="1"/>
          </p:cNvSpPr>
          <p:nvPr>
            <p:ph sz="half" idx="2" hasCustomPrompt="1"/>
          </p:nvPr>
        </p:nvSpPr>
        <p:spPr>
          <a:xfrm>
            <a:off x="4710223" y="980745"/>
            <a:ext cx="6113720" cy="5451953"/>
          </a:xfrm>
        </p:spPr>
        <p:txBody>
          <a:bodyPr anchor="ctr" anchorCtr="0">
            <a:noAutofit/>
          </a:bodyPr>
          <a:lstStyle>
            <a:lvl1pPr marL="274320" indent="-274320">
              <a:buClr>
                <a:schemeClr val="tx1"/>
              </a:buClr>
              <a:buFont typeface="Arial" panose="020B0604020202020204" pitchFamily="34" charset="0"/>
              <a:buChar char="•"/>
              <a:defRPr sz="2400">
                <a:solidFill>
                  <a:schemeClr val="tx1"/>
                </a:solidFill>
              </a:defRPr>
            </a:lvl1pPr>
            <a:lvl2pPr marL="658368" indent="-271463">
              <a:buClr>
                <a:schemeClr val="tx1">
                  <a:lumMod val="75000"/>
                </a:schemeClr>
              </a:buClr>
              <a:defRPr sz="2000">
                <a:solidFill>
                  <a:schemeClr val="tx1"/>
                </a:solidFill>
              </a:defRPr>
            </a:lvl2pPr>
            <a:lvl3pPr marL="914400" indent="-209550">
              <a:buClr>
                <a:schemeClr val="tx1">
                  <a:lumMod val="75000"/>
                </a:schemeClr>
              </a:buClr>
              <a:defRPr sz="1800">
                <a:solidFill>
                  <a:schemeClr val="tx1"/>
                </a:solidFill>
              </a:defRPr>
            </a:lvl3pPr>
            <a:lvl4pPr marL="1197864" indent="-209550">
              <a:buClr>
                <a:schemeClr val="tx1">
                  <a:lumMod val="75000"/>
                </a:schemeClr>
              </a:buClr>
              <a:defRPr sz="1600" baseline="0">
                <a:solidFill>
                  <a:schemeClr val="tx1"/>
                </a:solidFill>
              </a:defRPr>
            </a:lvl4pPr>
            <a:lvl5pPr marL="1444752" indent="-182563">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3" name="Picture 22">
            <a:extLst>
              <a:ext uri="{FF2B5EF4-FFF2-40B4-BE49-F238E27FC236}">
                <a16:creationId xmlns:a16="http://schemas.microsoft.com/office/drawing/2014/main" id="{2890FC30-8DCC-413A-AA0E-582DE83381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22" name="Rectangle 6">
            <a:extLst>
              <a:ext uri="{FF2B5EF4-FFF2-40B4-BE49-F238E27FC236}">
                <a16:creationId xmlns:a16="http://schemas.microsoft.com/office/drawing/2014/main" id="{6379CB8E-4EC2-4950-8A37-A893B5EE8695}"/>
              </a:ext>
            </a:extLst>
          </p:cNvPr>
          <p:cNvSpPr txBox="1">
            <a:spLocks noChangeArrowheads="1"/>
          </p:cNvSpPr>
          <p:nvPr userDrawn="1"/>
        </p:nvSpPr>
        <p:spPr bwMode="auto">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sp>
        <p:nvSpPr>
          <p:cNvPr id="12" name="TextBox 11">
            <a:extLst>
              <a:ext uri="{FF2B5EF4-FFF2-40B4-BE49-F238E27FC236}">
                <a16:creationId xmlns:a16="http://schemas.microsoft.com/office/drawing/2014/main" id="{6A5E9822-25BA-4A9B-997C-17913F255ED0}"/>
              </a:ext>
            </a:extLst>
          </p:cNvPr>
          <p:cNvSpPr txBox="1"/>
          <p:nvPr userDrawn="1"/>
        </p:nvSpPr>
        <p:spPr bwMode="white">
          <a:xfrm>
            <a:off x="515532" y="2105269"/>
            <a:ext cx="1810284" cy="435935"/>
          </a:xfrm>
          <a:prstGeom prst="rect">
            <a:avLst/>
          </a:prstGeom>
        </p:spPr>
        <p:txBody>
          <a:bodyPr vert="horz" wrap="square" lIns="91440" tIns="91440" rIns="91440" bIns="91440" rtlCol="0">
            <a:noAutofit/>
          </a:bodyPr>
          <a:lstStyle/>
          <a:p>
            <a:pPr algn="ctr"/>
            <a:r>
              <a:rPr lang="en-US" sz="2400" spc="300" dirty="0">
                <a:solidFill>
                  <a:schemeClr val="bg1"/>
                </a:solidFill>
              </a:rPr>
              <a:t>AGENDA</a:t>
            </a:r>
          </a:p>
        </p:txBody>
      </p:sp>
      <p:pic>
        <p:nvPicPr>
          <p:cNvPr id="13" name="Graphic 12">
            <a:extLst>
              <a:ext uri="{FF2B5EF4-FFF2-40B4-BE49-F238E27FC236}">
                <a16:creationId xmlns:a16="http://schemas.microsoft.com/office/drawing/2014/main" id="{A1946747-AE9D-4CCE-8150-606B07C8A20A}"/>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75" y="558761"/>
            <a:ext cx="2445418" cy="1558618"/>
          </a:xfrm>
          <a:prstGeom prst="rect">
            <a:avLst/>
          </a:prstGeom>
        </p:spPr>
      </p:pic>
    </p:spTree>
    <p:extLst>
      <p:ext uri="{BB962C8B-B14F-4D97-AF65-F5344CB8AC3E}">
        <p14:creationId xmlns:p14="http://schemas.microsoft.com/office/powerpoint/2010/main" val="230721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22" name="Title 21"/>
          <p:cNvSpPr>
            <a:spLocks noGrp="1"/>
          </p:cNvSpPr>
          <p:nvPr>
            <p:ph type="title" hasCustomPrompt="1"/>
          </p:nvPr>
        </p:nvSpPr>
        <p:spPr bwMode="gray">
          <a:xfrm>
            <a:off x="1577978" y="3820267"/>
            <a:ext cx="8162668" cy="812889"/>
          </a:xfrm>
        </p:spPr>
        <p:txBody>
          <a:bodyPr anchor="ctr" anchorCtr="0"/>
          <a:lstStyle>
            <a:lvl1pPr algn="l">
              <a:defRPr lang="en-US" sz="5400" dirty="0">
                <a:solidFill>
                  <a:schemeClr val="bg2"/>
                </a:solidFill>
              </a:defRPr>
            </a:lvl1pPr>
          </a:lstStyle>
          <a:p>
            <a:pPr marL="0" lvl="0">
              <a:lnSpc>
                <a:spcPct val="90000"/>
              </a:lnSpc>
              <a:spcBef>
                <a:spcPts val="1200"/>
              </a:spcBef>
            </a:pPr>
            <a:r>
              <a:rPr lang="en-US" dirty="0"/>
              <a:t>Click to </a:t>
            </a:r>
            <a:r>
              <a:rPr lang="en-US"/>
              <a:t>add title</a:t>
            </a:r>
            <a:endParaRPr lang="en-US" dirty="0"/>
          </a:p>
        </p:txBody>
      </p:sp>
      <p:grpSp>
        <p:nvGrpSpPr>
          <p:cNvPr id="2" name="Group 1">
            <a:extLst>
              <a:ext uri="{FF2B5EF4-FFF2-40B4-BE49-F238E27FC236}">
                <a16:creationId xmlns:a16="http://schemas.microsoft.com/office/drawing/2014/main" id="{A5FB7C47-AE33-4786-B8B7-7ECE41E10698}"/>
              </a:ext>
            </a:extLst>
          </p:cNvPr>
          <p:cNvGrpSpPr/>
          <p:nvPr userDrawn="1"/>
        </p:nvGrpSpPr>
        <p:grpSpPr>
          <a:xfrm>
            <a:off x="9260732" y="1084521"/>
            <a:ext cx="2966710" cy="5794744"/>
            <a:chOff x="9260732" y="1084521"/>
            <a:chExt cx="2966710" cy="5794744"/>
          </a:xfrm>
        </p:grpSpPr>
        <p:sp>
          <p:nvSpPr>
            <p:cNvPr id="18" name="Freeform: Shape 17">
              <a:extLst>
                <a:ext uri="{FF2B5EF4-FFF2-40B4-BE49-F238E27FC236}">
                  <a16:creationId xmlns:a16="http://schemas.microsoft.com/office/drawing/2014/main" id="{265F1314-BF98-4A68-8138-2CB07DB72EEB}"/>
                </a:ext>
              </a:extLst>
            </p:cNvPr>
            <p:cNvSpPr/>
            <p:nvPr userDrawn="1"/>
          </p:nvSpPr>
          <p:spPr>
            <a:xfrm>
              <a:off x="10758656" y="1088910"/>
              <a:ext cx="1445441" cy="5774567"/>
            </a:xfrm>
            <a:custGeom>
              <a:avLst/>
              <a:gdLst>
                <a:gd name="connsiteX0" fmla="*/ 1424763 w 1456660"/>
                <a:gd name="connsiteY0" fmla="*/ 2604977 h 5794744"/>
                <a:gd name="connsiteX1" fmla="*/ 1456660 w 1456660"/>
                <a:gd name="connsiteY1" fmla="*/ 0 h 5794744"/>
                <a:gd name="connsiteX2" fmla="*/ 0 w 1456660"/>
                <a:gd name="connsiteY2" fmla="*/ 5794744 h 5794744"/>
                <a:gd name="connsiteX3" fmla="*/ 148856 w 1456660"/>
                <a:gd name="connsiteY3" fmla="*/ 5773479 h 5794744"/>
                <a:gd name="connsiteX4" fmla="*/ 1424763 w 1456660"/>
                <a:gd name="connsiteY4" fmla="*/ 2604977 h 5794744"/>
                <a:gd name="connsiteX0" fmla="*/ 1424763 w 1456660"/>
                <a:gd name="connsiteY0" fmla="*/ 2604977 h 5777982"/>
                <a:gd name="connsiteX1" fmla="*/ 1456660 w 1456660"/>
                <a:gd name="connsiteY1" fmla="*/ 0 h 5777982"/>
                <a:gd name="connsiteX2" fmla="*/ 0 w 1456660"/>
                <a:gd name="connsiteY2" fmla="*/ 5777982 h 5777982"/>
                <a:gd name="connsiteX3" fmla="*/ 148856 w 1456660"/>
                <a:gd name="connsiteY3" fmla="*/ 5773479 h 5777982"/>
                <a:gd name="connsiteX4" fmla="*/ 1424763 w 1456660"/>
                <a:gd name="connsiteY4" fmla="*/ 2604977 h 5777982"/>
                <a:gd name="connsiteX0" fmla="*/ 1424763 w 1434221"/>
                <a:gd name="connsiteY0" fmla="*/ 2593803 h 5766808"/>
                <a:gd name="connsiteX1" fmla="*/ 1434221 w 1434221"/>
                <a:gd name="connsiteY1" fmla="*/ 0 h 5766808"/>
                <a:gd name="connsiteX2" fmla="*/ 0 w 1434221"/>
                <a:gd name="connsiteY2" fmla="*/ 5766808 h 5766808"/>
                <a:gd name="connsiteX3" fmla="*/ 148856 w 1434221"/>
                <a:gd name="connsiteY3" fmla="*/ 5762305 h 5766808"/>
                <a:gd name="connsiteX4" fmla="*/ 1424763 w 1434221"/>
                <a:gd name="connsiteY4" fmla="*/ 2593803 h 5766808"/>
                <a:gd name="connsiteX0" fmla="*/ 1435983 w 1445441"/>
                <a:gd name="connsiteY0" fmla="*/ 2593803 h 5762305"/>
                <a:gd name="connsiteX1" fmla="*/ 1445441 w 1445441"/>
                <a:gd name="connsiteY1" fmla="*/ 0 h 5762305"/>
                <a:gd name="connsiteX2" fmla="*/ 0 w 1445441"/>
                <a:gd name="connsiteY2" fmla="*/ 5750047 h 5762305"/>
                <a:gd name="connsiteX3" fmla="*/ 160076 w 1445441"/>
                <a:gd name="connsiteY3" fmla="*/ 5762305 h 5762305"/>
                <a:gd name="connsiteX4" fmla="*/ 1435983 w 1445441"/>
                <a:gd name="connsiteY4" fmla="*/ 2593803 h 5762305"/>
                <a:gd name="connsiteX0" fmla="*/ 1435983 w 1445441"/>
                <a:gd name="connsiteY0" fmla="*/ 2593803 h 5751132"/>
                <a:gd name="connsiteX1" fmla="*/ 1445441 w 1445441"/>
                <a:gd name="connsiteY1" fmla="*/ 0 h 5751132"/>
                <a:gd name="connsiteX2" fmla="*/ 0 w 1445441"/>
                <a:gd name="connsiteY2" fmla="*/ 5750047 h 5751132"/>
                <a:gd name="connsiteX3" fmla="*/ 160076 w 1445441"/>
                <a:gd name="connsiteY3" fmla="*/ 5751132 h 5751132"/>
                <a:gd name="connsiteX4" fmla="*/ 1435983 w 1445441"/>
                <a:gd name="connsiteY4" fmla="*/ 2593803 h 5751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5441" h="5751132">
                  <a:moveTo>
                    <a:pt x="1435983" y="2593803"/>
                  </a:moveTo>
                  <a:cubicBezTo>
                    <a:pt x="1439136" y="1729202"/>
                    <a:pt x="1442288" y="864601"/>
                    <a:pt x="1445441" y="0"/>
                  </a:cubicBezTo>
                  <a:lnTo>
                    <a:pt x="0" y="5750047"/>
                  </a:lnTo>
                  <a:lnTo>
                    <a:pt x="160076" y="5751132"/>
                  </a:lnTo>
                  <a:lnTo>
                    <a:pt x="1435983" y="2593803"/>
                  </a:lnTo>
                  <a:close/>
                </a:path>
              </a:pathLst>
            </a:custGeom>
            <a:gradFill>
              <a:gsLst>
                <a:gs pos="34000">
                  <a:schemeClr val="bg2"/>
                </a:gs>
                <a:gs pos="68000">
                  <a:srgbClr val="5BA23C"/>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Freeform: Shape 18">
              <a:extLst>
                <a:ext uri="{FF2B5EF4-FFF2-40B4-BE49-F238E27FC236}">
                  <a16:creationId xmlns:a16="http://schemas.microsoft.com/office/drawing/2014/main" id="{521E371F-1A59-474E-B95B-89195D83A3E8}"/>
                </a:ext>
              </a:extLst>
            </p:cNvPr>
            <p:cNvSpPr/>
            <p:nvPr userDrawn="1"/>
          </p:nvSpPr>
          <p:spPr>
            <a:xfrm>
              <a:off x="10019490" y="3789410"/>
              <a:ext cx="1556426" cy="3083668"/>
            </a:xfrm>
            <a:custGeom>
              <a:avLst/>
              <a:gdLst>
                <a:gd name="connsiteX0" fmla="*/ 749030 w 1556426"/>
                <a:gd name="connsiteY0" fmla="*/ 3073940 h 3083668"/>
                <a:gd name="connsiteX1" fmla="*/ 0 w 1556426"/>
                <a:gd name="connsiteY1" fmla="*/ 3083668 h 3083668"/>
                <a:gd name="connsiteX2" fmla="*/ 1556426 w 1556426"/>
                <a:gd name="connsiteY2" fmla="*/ 0 h 3083668"/>
                <a:gd name="connsiteX3" fmla="*/ 749030 w 1556426"/>
                <a:gd name="connsiteY3" fmla="*/ 3073940 h 3083668"/>
                <a:gd name="connsiteX0" fmla="*/ 749030 w 1556426"/>
                <a:gd name="connsiteY0" fmla="*/ 3073940 h 3083668"/>
                <a:gd name="connsiteX1" fmla="*/ 0 w 1556426"/>
                <a:gd name="connsiteY1" fmla="*/ 3083668 h 3083668"/>
                <a:gd name="connsiteX2" fmla="*/ 1556426 w 1556426"/>
                <a:gd name="connsiteY2" fmla="*/ 0 h 3083668"/>
                <a:gd name="connsiteX3" fmla="*/ 749030 w 1556426"/>
                <a:gd name="connsiteY3" fmla="*/ 3073940 h 3083668"/>
                <a:gd name="connsiteX0" fmla="*/ 740065 w 1556426"/>
                <a:gd name="connsiteY0" fmla="*/ 3073940 h 3083668"/>
                <a:gd name="connsiteX1" fmla="*/ 0 w 1556426"/>
                <a:gd name="connsiteY1" fmla="*/ 3083668 h 3083668"/>
                <a:gd name="connsiteX2" fmla="*/ 1556426 w 1556426"/>
                <a:gd name="connsiteY2" fmla="*/ 0 h 3083668"/>
                <a:gd name="connsiteX3" fmla="*/ 740065 w 1556426"/>
                <a:gd name="connsiteY3" fmla="*/ 3073940 h 3083668"/>
              </a:gdLst>
              <a:ahLst/>
              <a:cxnLst>
                <a:cxn ang="0">
                  <a:pos x="connsiteX0" y="connsiteY0"/>
                </a:cxn>
                <a:cxn ang="0">
                  <a:pos x="connsiteX1" y="connsiteY1"/>
                </a:cxn>
                <a:cxn ang="0">
                  <a:pos x="connsiteX2" y="connsiteY2"/>
                </a:cxn>
                <a:cxn ang="0">
                  <a:pos x="connsiteX3" y="connsiteY3"/>
                </a:cxn>
              </a:cxnLst>
              <a:rect l="l" t="t" r="r" b="b"/>
              <a:pathLst>
                <a:path w="1556426" h="3083668">
                  <a:moveTo>
                    <a:pt x="740065" y="3073940"/>
                  </a:moveTo>
                  <a:lnTo>
                    <a:pt x="0" y="3083668"/>
                  </a:lnTo>
                  <a:lnTo>
                    <a:pt x="1556426" y="0"/>
                  </a:lnTo>
                  <a:lnTo>
                    <a:pt x="740065" y="3073940"/>
                  </a:lnTo>
                  <a:close/>
                </a:path>
              </a:pathLst>
            </a:custGeom>
            <a:gradFill>
              <a:gsLst>
                <a:gs pos="97000">
                  <a:srgbClr val="62B53F"/>
                </a:gs>
                <a:gs pos="100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Freeform: Shape 19">
              <a:extLst>
                <a:ext uri="{FF2B5EF4-FFF2-40B4-BE49-F238E27FC236}">
                  <a16:creationId xmlns:a16="http://schemas.microsoft.com/office/drawing/2014/main" id="{CE17FC41-0F0D-4F05-888B-05BC3B984146}"/>
                </a:ext>
              </a:extLst>
            </p:cNvPr>
            <p:cNvSpPr/>
            <p:nvPr userDrawn="1"/>
          </p:nvSpPr>
          <p:spPr>
            <a:xfrm>
              <a:off x="9260732" y="3322482"/>
              <a:ext cx="2422187" cy="3550596"/>
            </a:xfrm>
            <a:custGeom>
              <a:avLst/>
              <a:gdLst>
                <a:gd name="connsiteX0" fmla="*/ 2373549 w 2373549"/>
                <a:gd name="connsiteY0" fmla="*/ 0 h 3550596"/>
                <a:gd name="connsiteX1" fmla="*/ 2237362 w 2373549"/>
                <a:gd name="connsiteY1" fmla="*/ 651753 h 3550596"/>
                <a:gd name="connsiteX2" fmla="*/ 778213 w 2373549"/>
                <a:gd name="connsiteY2" fmla="*/ 3531141 h 3550596"/>
                <a:gd name="connsiteX3" fmla="*/ 0 w 2373549"/>
                <a:gd name="connsiteY3" fmla="*/ 3550596 h 3550596"/>
                <a:gd name="connsiteX4" fmla="*/ 2373549 w 2373549"/>
                <a:gd name="connsiteY4" fmla="*/ 0 h 3550596"/>
                <a:gd name="connsiteX0" fmla="*/ 2422187 w 2422187"/>
                <a:gd name="connsiteY0" fmla="*/ 0 h 3540868"/>
                <a:gd name="connsiteX1" fmla="*/ 2237362 w 2422187"/>
                <a:gd name="connsiteY1" fmla="*/ 642025 h 3540868"/>
                <a:gd name="connsiteX2" fmla="*/ 778213 w 2422187"/>
                <a:gd name="connsiteY2" fmla="*/ 3521413 h 3540868"/>
                <a:gd name="connsiteX3" fmla="*/ 0 w 2422187"/>
                <a:gd name="connsiteY3" fmla="*/ 3540868 h 3540868"/>
                <a:gd name="connsiteX4" fmla="*/ 2422187 w 2422187"/>
                <a:gd name="connsiteY4" fmla="*/ 0 h 3540868"/>
                <a:gd name="connsiteX0" fmla="*/ 2422187 w 2422187"/>
                <a:gd name="connsiteY0" fmla="*/ 0 h 3550596"/>
                <a:gd name="connsiteX1" fmla="*/ 2237362 w 2422187"/>
                <a:gd name="connsiteY1" fmla="*/ 642025 h 3550596"/>
                <a:gd name="connsiteX2" fmla="*/ 768485 w 2422187"/>
                <a:gd name="connsiteY2" fmla="*/ 3550596 h 3550596"/>
                <a:gd name="connsiteX3" fmla="*/ 0 w 2422187"/>
                <a:gd name="connsiteY3" fmla="*/ 3540868 h 3550596"/>
                <a:gd name="connsiteX4" fmla="*/ 2422187 w 2422187"/>
                <a:gd name="connsiteY4" fmla="*/ 0 h 3550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187" h="3550596">
                  <a:moveTo>
                    <a:pt x="2422187" y="0"/>
                  </a:moveTo>
                  <a:lnTo>
                    <a:pt x="2237362" y="642025"/>
                  </a:lnTo>
                  <a:lnTo>
                    <a:pt x="768485" y="3550596"/>
                  </a:lnTo>
                  <a:lnTo>
                    <a:pt x="0" y="3540868"/>
                  </a:lnTo>
                  <a:lnTo>
                    <a:pt x="2422187" y="0"/>
                  </a:lnTo>
                  <a:close/>
                </a:path>
              </a:pathLst>
            </a:custGeom>
            <a:gradFill>
              <a:gsLst>
                <a:gs pos="34000">
                  <a:schemeClr val="bg2"/>
                </a:gs>
                <a:gs pos="71000">
                  <a:srgbClr val="5BA23C"/>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Right Triangle 20">
              <a:extLst>
                <a:ext uri="{FF2B5EF4-FFF2-40B4-BE49-F238E27FC236}">
                  <a16:creationId xmlns:a16="http://schemas.microsoft.com/office/drawing/2014/main" id="{890D0B16-11C5-4D6A-AA98-2355BA19EA7B}"/>
                </a:ext>
              </a:extLst>
            </p:cNvPr>
            <p:cNvSpPr/>
            <p:nvPr userDrawn="1"/>
          </p:nvSpPr>
          <p:spPr>
            <a:xfrm flipH="1">
              <a:off x="10871603" y="3370178"/>
              <a:ext cx="1327484" cy="3501998"/>
            </a:xfrm>
            <a:prstGeom prst="rtTriangl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Freeform: Shape 22">
              <a:extLst>
                <a:ext uri="{FF2B5EF4-FFF2-40B4-BE49-F238E27FC236}">
                  <a16:creationId xmlns:a16="http://schemas.microsoft.com/office/drawing/2014/main" id="{0A764A69-E67E-4D16-BC4B-51FC448F28CB}"/>
                </a:ext>
              </a:extLst>
            </p:cNvPr>
            <p:cNvSpPr/>
            <p:nvPr userDrawn="1"/>
          </p:nvSpPr>
          <p:spPr>
            <a:xfrm>
              <a:off x="10738884" y="1084521"/>
              <a:ext cx="1488558" cy="5794744"/>
            </a:xfrm>
            <a:custGeom>
              <a:avLst/>
              <a:gdLst>
                <a:gd name="connsiteX0" fmla="*/ 1446028 w 1488558"/>
                <a:gd name="connsiteY0" fmla="*/ 2658139 h 5794744"/>
                <a:gd name="connsiteX1" fmla="*/ 1446028 w 1488558"/>
                <a:gd name="connsiteY1" fmla="*/ 0 h 5794744"/>
                <a:gd name="connsiteX2" fmla="*/ 0 w 1488558"/>
                <a:gd name="connsiteY2" fmla="*/ 5794744 h 5794744"/>
                <a:gd name="connsiteX3" fmla="*/ 170121 w 1488558"/>
                <a:gd name="connsiteY3" fmla="*/ 5784112 h 5794744"/>
                <a:gd name="connsiteX4" fmla="*/ 1488558 w 1488558"/>
                <a:gd name="connsiteY4" fmla="*/ 2551814 h 5794744"/>
                <a:gd name="connsiteX5" fmla="*/ 1488558 w 1488558"/>
                <a:gd name="connsiteY5" fmla="*/ 2551814 h 5794744"/>
                <a:gd name="connsiteX6" fmla="*/ 1488558 w 1488558"/>
                <a:gd name="connsiteY6" fmla="*/ 2551814 h 579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558" h="5794744">
                  <a:moveTo>
                    <a:pt x="1446028" y="2658139"/>
                  </a:moveTo>
                  <a:lnTo>
                    <a:pt x="1446028" y="0"/>
                  </a:lnTo>
                  <a:lnTo>
                    <a:pt x="0" y="5794744"/>
                  </a:lnTo>
                  <a:lnTo>
                    <a:pt x="170121" y="5784112"/>
                  </a:lnTo>
                  <a:lnTo>
                    <a:pt x="1488558" y="2551814"/>
                  </a:lnTo>
                  <a:lnTo>
                    <a:pt x="1488558" y="2551814"/>
                  </a:lnTo>
                  <a:lnTo>
                    <a:pt x="1488558" y="2551814"/>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Rectangle 6"/>
          <p:cNvSpPr txBox="1">
            <a:spLocks noChangeArrowheads="1"/>
          </p:cNvSpPr>
          <p:nvPr/>
        </p:nvSpPr>
        <p:spPr bwMode="white">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3" name="Picture 12">
            <a:extLst>
              <a:ext uri="{FF2B5EF4-FFF2-40B4-BE49-F238E27FC236}">
                <a16:creationId xmlns:a16="http://schemas.microsoft.com/office/drawing/2014/main" id="{52938D33-69AE-4EA8-B1F3-AEB045BF25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grpSp>
        <p:nvGrpSpPr>
          <p:cNvPr id="14" name="Group 13">
            <a:extLst>
              <a:ext uri="{FF2B5EF4-FFF2-40B4-BE49-F238E27FC236}">
                <a16:creationId xmlns:a16="http://schemas.microsoft.com/office/drawing/2014/main" id="{D3598208-AA80-467D-8193-8E836964952A}"/>
              </a:ext>
            </a:extLst>
          </p:cNvPr>
          <p:cNvGrpSpPr/>
          <p:nvPr userDrawn="1"/>
        </p:nvGrpSpPr>
        <p:grpSpPr>
          <a:xfrm>
            <a:off x="-6515" y="-465745"/>
            <a:ext cx="2284497" cy="7335777"/>
            <a:chOff x="-6515" y="-465745"/>
            <a:chExt cx="2284497" cy="7335777"/>
          </a:xfrm>
        </p:grpSpPr>
        <p:sp>
          <p:nvSpPr>
            <p:cNvPr id="15" name="Rectangle 4">
              <a:extLst>
                <a:ext uri="{FF2B5EF4-FFF2-40B4-BE49-F238E27FC236}">
                  <a16:creationId xmlns:a16="http://schemas.microsoft.com/office/drawing/2014/main" id="{46E2C9E0-78F4-4874-8B92-08E2A7C0061D}"/>
                </a:ext>
              </a:extLst>
            </p:cNvPr>
            <p:cNvSpPr/>
            <p:nvPr/>
          </p:nvSpPr>
          <p:spPr>
            <a:xfrm>
              <a:off x="0" y="-12032"/>
              <a:ext cx="2277982" cy="6870032"/>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43698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877142"/>
                <a:gd name="connsiteX1" fmla="*/ 11367745 w 11367745"/>
                <a:gd name="connsiteY1" fmla="*/ 0 h 6877142"/>
                <a:gd name="connsiteX2" fmla="*/ 6255328 w 11367745"/>
                <a:gd name="connsiteY2" fmla="*/ 5041232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4933499 w 11367745"/>
                <a:gd name="connsiteY2" fmla="*/ 4207042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4933499 w 11367745"/>
                <a:gd name="connsiteY2" fmla="*/ 4207042 h 6877142"/>
                <a:gd name="connsiteX3" fmla="*/ 535460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4933499 w 11367745"/>
                <a:gd name="connsiteY2" fmla="*/ 4207042 h 6877142"/>
                <a:gd name="connsiteX3" fmla="*/ 535460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3507531 w 11367745"/>
                <a:gd name="connsiteY2" fmla="*/ 4207042 h 6877142"/>
                <a:gd name="connsiteX3" fmla="*/ 535460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0032"/>
                <a:gd name="connsiteX1" fmla="*/ 11367745 w 11367745"/>
                <a:gd name="connsiteY1" fmla="*/ 0 h 6870032"/>
                <a:gd name="connsiteX2" fmla="*/ 3507531 w 11367745"/>
                <a:gd name="connsiteY2" fmla="*/ 4207042 h 6870032"/>
                <a:gd name="connsiteX3" fmla="*/ 3976167 w 11367745"/>
                <a:gd name="connsiteY3" fmla="*/ 6839042 h 6870032"/>
                <a:gd name="connsiteX4" fmla="*/ 0 w 11367745"/>
                <a:gd name="connsiteY4" fmla="*/ 6870032 h 6870032"/>
                <a:gd name="connsiteX5" fmla="*/ 0 w 11367745"/>
                <a:gd name="connsiteY5" fmla="*/ 12032 h 687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67745" h="6870032">
                  <a:moveTo>
                    <a:pt x="0" y="12032"/>
                  </a:moveTo>
                  <a:lnTo>
                    <a:pt x="11367745" y="0"/>
                  </a:lnTo>
                  <a:cubicBezTo>
                    <a:pt x="9493718" y="1572491"/>
                    <a:pt x="4203722" y="2709657"/>
                    <a:pt x="3507531" y="4207042"/>
                  </a:cubicBezTo>
                  <a:cubicBezTo>
                    <a:pt x="3950876" y="5523223"/>
                    <a:pt x="3449696" y="5387779"/>
                    <a:pt x="3976167" y="6839042"/>
                  </a:cubicBezTo>
                  <a:lnTo>
                    <a:pt x="0" y="6870032"/>
                  </a:lnTo>
                  <a:lnTo>
                    <a:pt x="0" y="12032"/>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Right Triangle 3">
              <a:extLst>
                <a:ext uri="{FF2B5EF4-FFF2-40B4-BE49-F238E27FC236}">
                  <a16:creationId xmlns:a16="http://schemas.microsoft.com/office/drawing/2014/main" id="{56990D95-B6C6-4723-82D2-F9651330B7FE}"/>
                </a:ext>
              </a:extLst>
            </p:cNvPr>
            <p:cNvSpPr/>
            <p:nvPr/>
          </p:nvSpPr>
          <p:spPr>
            <a:xfrm flipH="1">
              <a:off x="-6515" y="4242391"/>
              <a:ext cx="712079" cy="2616194"/>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350874 w 712079"/>
                <a:gd name="connsiteY0" fmla="*/ 2626242 h 2626242"/>
                <a:gd name="connsiteX1" fmla="*/ 0 w 712079"/>
                <a:gd name="connsiteY1" fmla="*/ 0 h 2626242"/>
                <a:gd name="connsiteX2" fmla="*/ 712079 w 712079"/>
                <a:gd name="connsiteY2" fmla="*/ 1279763 h 2626242"/>
                <a:gd name="connsiteX3" fmla="*/ 350874 w 712079"/>
                <a:gd name="connsiteY3" fmla="*/ 2626242 h 2626242"/>
                <a:gd name="connsiteX0" fmla="*/ 692518 w 712079"/>
                <a:gd name="connsiteY0" fmla="*/ 2626242 h 2626242"/>
                <a:gd name="connsiteX1" fmla="*/ 0 w 712079"/>
                <a:gd name="connsiteY1" fmla="*/ 0 h 2626242"/>
                <a:gd name="connsiteX2" fmla="*/ 712079 w 712079"/>
                <a:gd name="connsiteY2" fmla="*/ 1279763 h 2626242"/>
                <a:gd name="connsiteX3" fmla="*/ 692518 w 712079"/>
                <a:gd name="connsiteY3" fmla="*/ 2626242 h 2626242"/>
                <a:gd name="connsiteX0" fmla="*/ 692518 w 712079"/>
                <a:gd name="connsiteY0" fmla="*/ 2626242 h 2626242"/>
                <a:gd name="connsiteX1" fmla="*/ 0 w 712079"/>
                <a:gd name="connsiteY1" fmla="*/ 0 h 2626242"/>
                <a:gd name="connsiteX2" fmla="*/ 712079 w 712079"/>
                <a:gd name="connsiteY2" fmla="*/ 1264691 h 2626242"/>
                <a:gd name="connsiteX3" fmla="*/ 692518 w 712079"/>
                <a:gd name="connsiteY3" fmla="*/ 2626242 h 2626242"/>
                <a:gd name="connsiteX0" fmla="*/ 702567 w 712079"/>
                <a:gd name="connsiteY0" fmla="*/ 2616194 h 2616194"/>
                <a:gd name="connsiteX1" fmla="*/ 0 w 712079"/>
                <a:gd name="connsiteY1" fmla="*/ 0 h 2616194"/>
                <a:gd name="connsiteX2" fmla="*/ 712079 w 712079"/>
                <a:gd name="connsiteY2" fmla="*/ 1264691 h 2616194"/>
                <a:gd name="connsiteX3" fmla="*/ 702567 w 712079"/>
                <a:gd name="connsiteY3" fmla="*/ 2616194 h 2616194"/>
                <a:gd name="connsiteX0" fmla="*/ 702567 w 712079"/>
                <a:gd name="connsiteY0" fmla="*/ 2616194 h 2616194"/>
                <a:gd name="connsiteX1" fmla="*/ 605080 w 712079"/>
                <a:gd name="connsiteY1" fmla="*/ 2258893 h 2616194"/>
                <a:gd name="connsiteX2" fmla="*/ 0 w 712079"/>
                <a:gd name="connsiteY2" fmla="*/ 0 h 2616194"/>
                <a:gd name="connsiteX3" fmla="*/ 712079 w 712079"/>
                <a:gd name="connsiteY3" fmla="*/ 1264691 h 2616194"/>
                <a:gd name="connsiteX4" fmla="*/ 702567 w 712079"/>
                <a:gd name="connsiteY4" fmla="*/ 2616194 h 2616194"/>
                <a:gd name="connsiteX0" fmla="*/ 702567 w 712079"/>
                <a:gd name="connsiteY0" fmla="*/ 2616194 h 2616194"/>
                <a:gd name="connsiteX1" fmla="*/ 665371 w 712079"/>
                <a:gd name="connsiteY1" fmla="*/ 2615609 h 2616194"/>
                <a:gd name="connsiteX2" fmla="*/ 0 w 712079"/>
                <a:gd name="connsiteY2" fmla="*/ 0 h 2616194"/>
                <a:gd name="connsiteX3" fmla="*/ 712079 w 712079"/>
                <a:gd name="connsiteY3" fmla="*/ 1264691 h 2616194"/>
                <a:gd name="connsiteX4" fmla="*/ 702567 w 712079"/>
                <a:gd name="connsiteY4" fmla="*/ 2616194 h 261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079" h="2616194">
                  <a:moveTo>
                    <a:pt x="702567" y="2616194"/>
                  </a:moveTo>
                  <a:lnTo>
                    <a:pt x="665371" y="2615609"/>
                  </a:lnTo>
                  <a:lnTo>
                    <a:pt x="0" y="0"/>
                  </a:lnTo>
                  <a:lnTo>
                    <a:pt x="712079" y="1264691"/>
                  </a:lnTo>
                  <a:cubicBezTo>
                    <a:pt x="708908" y="1715192"/>
                    <a:pt x="705738" y="2165693"/>
                    <a:pt x="702567" y="2616194"/>
                  </a:cubicBezTo>
                  <a:close/>
                </a:path>
              </a:pathLst>
            </a:custGeom>
            <a:gradFill>
              <a:gsLst>
                <a:gs pos="2000">
                  <a:srgbClr val="62B53F"/>
                </a:gs>
                <a:gs pos="52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7" name="Right Triangle 3">
              <a:extLst>
                <a:ext uri="{FF2B5EF4-FFF2-40B4-BE49-F238E27FC236}">
                  <a16:creationId xmlns:a16="http://schemas.microsoft.com/office/drawing/2014/main" id="{EC9B2ECA-C14A-4E87-A3F3-80BB4481D7A8}"/>
                </a:ext>
              </a:extLst>
            </p:cNvPr>
            <p:cNvSpPr/>
            <p:nvPr/>
          </p:nvSpPr>
          <p:spPr>
            <a:xfrm>
              <a:off x="16636" y="3818487"/>
              <a:ext cx="963639" cy="305154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Lst>
              <a:ahLst/>
              <a:cxnLst>
                <a:cxn ang="0">
                  <a:pos x="connsiteX0" y="connsiteY0"/>
                </a:cxn>
                <a:cxn ang="0">
                  <a:pos x="connsiteX1" y="connsiteY1"/>
                </a:cxn>
                <a:cxn ang="0">
                  <a:pos x="connsiteX2" y="connsiteY2"/>
                </a:cxn>
                <a:cxn ang="0">
                  <a:pos x="connsiteX3" y="connsiteY3"/>
                </a:cxn>
              </a:cxnLst>
              <a:rect l="l" t="t" r="r" b="b"/>
              <a:pathLst>
                <a:path w="963639" h="3051545">
                  <a:moveTo>
                    <a:pt x="0" y="3051545"/>
                  </a:moveTo>
                  <a:lnTo>
                    <a:pt x="754912" y="0"/>
                  </a:lnTo>
                  <a:lnTo>
                    <a:pt x="963639" y="3051545"/>
                  </a:lnTo>
                  <a:lnTo>
                    <a:pt x="0" y="3051545"/>
                  </a:lnTo>
                  <a:close/>
                </a:path>
              </a:pathLst>
            </a:custGeom>
            <a:gradFill>
              <a:gsLst>
                <a:gs pos="27000">
                  <a:srgbClr val="5EAC3E"/>
                </a:gs>
                <a:gs pos="64000">
                  <a:srgbClr val="67BD4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Right Triangle 3">
              <a:extLst>
                <a:ext uri="{FF2B5EF4-FFF2-40B4-BE49-F238E27FC236}">
                  <a16:creationId xmlns:a16="http://schemas.microsoft.com/office/drawing/2014/main" id="{9AFA1F9D-E0DB-427A-8D67-2A3C457C3A94}"/>
                </a:ext>
              </a:extLst>
            </p:cNvPr>
            <p:cNvSpPr/>
            <p:nvPr/>
          </p:nvSpPr>
          <p:spPr>
            <a:xfrm rot="12173926">
              <a:off x="1003907" y="-465745"/>
              <a:ext cx="1014731" cy="6395388"/>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 name="connsiteX0" fmla="*/ 0 w 1014731"/>
                <a:gd name="connsiteY0" fmla="*/ 3477101 h 3477101"/>
                <a:gd name="connsiteX1" fmla="*/ 806004 w 1014731"/>
                <a:gd name="connsiteY1" fmla="*/ 0 h 3477101"/>
                <a:gd name="connsiteX2" fmla="*/ 1014731 w 1014731"/>
                <a:gd name="connsiteY2" fmla="*/ 3051545 h 3477101"/>
                <a:gd name="connsiteX3" fmla="*/ 0 w 1014731"/>
                <a:gd name="connsiteY3" fmla="*/ 3477101 h 3477101"/>
                <a:gd name="connsiteX0" fmla="*/ 0 w 1014731"/>
                <a:gd name="connsiteY0" fmla="*/ 5974885 h 5974885"/>
                <a:gd name="connsiteX1" fmla="*/ 789755 w 1014731"/>
                <a:gd name="connsiteY1" fmla="*/ 0 h 5974885"/>
                <a:gd name="connsiteX2" fmla="*/ 1014731 w 1014731"/>
                <a:gd name="connsiteY2" fmla="*/ 5549329 h 5974885"/>
                <a:gd name="connsiteX3" fmla="*/ 0 w 1014731"/>
                <a:gd name="connsiteY3" fmla="*/ 5974885 h 5974885"/>
                <a:gd name="connsiteX0" fmla="*/ 0 w 1014731"/>
                <a:gd name="connsiteY0" fmla="*/ 7343100 h 7343100"/>
                <a:gd name="connsiteX1" fmla="*/ 978069 w 1014731"/>
                <a:gd name="connsiteY1" fmla="*/ 0 h 7343100"/>
                <a:gd name="connsiteX2" fmla="*/ 1014731 w 1014731"/>
                <a:gd name="connsiteY2" fmla="*/ 6917544 h 7343100"/>
                <a:gd name="connsiteX3" fmla="*/ 0 w 1014731"/>
                <a:gd name="connsiteY3" fmla="*/ 7343100 h 7343100"/>
                <a:gd name="connsiteX0" fmla="*/ 0 w 1014731"/>
                <a:gd name="connsiteY0" fmla="*/ 7503364 h 7503364"/>
                <a:gd name="connsiteX1" fmla="*/ 945205 w 1014731"/>
                <a:gd name="connsiteY1" fmla="*/ 0 h 7503364"/>
                <a:gd name="connsiteX2" fmla="*/ 1014731 w 1014731"/>
                <a:gd name="connsiteY2" fmla="*/ 7077808 h 7503364"/>
                <a:gd name="connsiteX3" fmla="*/ 0 w 1014731"/>
                <a:gd name="connsiteY3" fmla="*/ 7503364 h 7503364"/>
                <a:gd name="connsiteX0" fmla="*/ 0 w 1014731"/>
                <a:gd name="connsiteY0" fmla="*/ 7503364 h 7503364"/>
                <a:gd name="connsiteX1" fmla="*/ 762176 w 1014731"/>
                <a:gd name="connsiteY1" fmla="*/ 1360664 h 7503364"/>
                <a:gd name="connsiteX2" fmla="*/ 945205 w 1014731"/>
                <a:gd name="connsiteY2" fmla="*/ 0 h 7503364"/>
                <a:gd name="connsiteX3" fmla="*/ 1014731 w 1014731"/>
                <a:gd name="connsiteY3" fmla="*/ 7077808 h 7503364"/>
                <a:gd name="connsiteX4" fmla="*/ 0 w 1014731"/>
                <a:gd name="connsiteY4" fmla="*/ 7503364 h 7503364"/>
                <a:gd name="connsiteX0" fmla="*/ 0 w 1014731"/>
                <a:gd name="connsiteY0" fmla="*/ 7503364 h 7503364"/>
                <a:gd name="connsiteX1" fmla="*/ 793220 w 1014731"/>
                <a:gd name="connsiteY1" fmla="*/ 1227564 h 7503364"/>
                <a:gd name="connsiteX2" fmla="*/ 945205 w 1014731"/>
                <a:gd name="connsiteY2" fmla="*/ 0 h 7503364"/>
                <a:gd name="connsiteX3" fmla="*/ 1014731 w 1014731"/>
                <a:gd name="connsiteY3" fmla="*/ 7077808 h 7503364"/>
                <a:gd name="connsiteX4" fmla="*/ 0 w 1014731"/>
                <a:gd name="connsiteY4" fmla="*/ 7503364 h 7503364"/>
                <a:gd name="connsiteX0" fmla="*/ 0 w 1014731"/>
                <a:gd name="connsiteY0" fmla="*/ 6275800 h 6275800"/>
                <a:gd name="connsiteX1" fmla="*/ 793220 w 1014731"/>
                <a:gd name="connsiteY1" fmla="*/ 0 h 6275800"/>
                <a:gd name="connsiteX2" fmla="*/ 963930 w 1014731"/>
                <a:gd name="connsiteY2" fmla="*/ 237103 h 6275800"/>
                <a:gd name="connsiteX3" fmla="*/ 1014731 w 1014731"/>
                <a:gd name="connsiteY3" fmla="*/ 5850244 h 6275800"/>
                <a:gd name="connsiteX4" fmla="*/ 0 w 1014731"/>
                <a:gd name="connsiteY4" fmla="*/ 6275800 h 6275800"/>
                <a:gd name="connsiteX0" fmla="*/ 0 w 1014731"/>
                <a:gd name="connsiteY0" fmla="*/ 6321680 h 6321680"/>
                <a:gd name="connsiteX1" fmla="*/ 850196 w 1014731"/>
                <a:gd name="connsiteY1" fmla="*/ 0 h 6321680"/>
                <a:gd name="connsiteX2" fmla="*/ 963930 w 1014731"/>
                <a:gd name="connsiteY2" fmla="*/ 282983 h 6321680"/>
                <a:gd name="connsiteX3" fmla="*/ 1014731 w 1014731"/>
                <a:gd name="connsiteY3" fmla="*/ 5896124 h 6321680"/>
                <a:gd name="connsiteX4" fmla="*/ 0 w 1014731"/>
                <a:gd name="connsiteY4" fmla="*/ 6321680 h 6321680"/>
                <a:gd name="connsiteX0" fmla="*/ 0 w 1014731"/>
                <a:gd name="connsiteY0" fmla="*/ 6337721 h 6337721"/>
                <a:gd name="connsiteX1" fmla="*/ 810697 w 1014731"/>
                <a:gd name="connsiteY1" fmla="*/ 0 h 6337721"/>
                <a:gd name="connsiteX2" fmla="*/ 963930 w 1014731"/>
                <a:gd name="connsiteY2" fmla="*/ 299024 h 6337721"/>
                <a:gd name="connsiteX3" fmla="*/ 1014731 w 1014731"/>
                <a:gd name="connsiteY3" fmla="*/ 5912165 h 6337721"/>
                <a:gd name="connsiteX4" fmla="*/ 0 w 1014731"/>
                <a:gd name="connsiteY4" fmla="*/ 6337721 h 6337721"/>
                <a:gd name="connsiteX0" fmla="*/ 0 w 1014731"/>
                <a:gd name="connsiteY0" fmla="*/ 6337721 h 6337721"/>
                <a:gd name="connsiteX1" fmla="*/ 810697 w 1014731"/>
                <a:gd name="connsiteY1" fmla="*/ 0 h 6337721"/>
                <a:gd name="connsiteX2" fmla="*/ 961456 w 1014731"/>
                <a:gd name="connsiteY2" fmla="*/ 267345 h 6337721"/>
                <a:gd name="connsiteX3" fmla="*/ 1014731 w 1014731"/>
                <a:gd name="connsiteY3" fmla="*/ 5912165 h 6337721"/>
                <a:gd name="connsiteX4" fmla="*/ 0 w 1014731"/>
                <a:gd name="connsiteY4" fmla="*/ 6337721 h 6337721"/>
                <a:gd name="connsiteX0" fmla="*/ 0 w 1014731"/>
                <a:gd name="connsiteY0" fmla="*/ 6343586 h 6343586"/>
                <a:gd name="connsiteX1" fmla="*/ 824582 w 1014731"/>
                <a:gd name="connsiteY1" fmla="*/ 0 h 6343586"/>
                <a:gd name="connsiteX2" fmla="*/ 961456 w 1014731"/>
                <a:gd name="connsiteY2" fmla="*/ 273210 h 6343586"/>
                <a:gd name="connsiteX3" fmla="*/ 1014731 w 1014731"/>
                <a:gd name="connsiteY3" fmla="*/ 5918030 h 6343586"/>
                <a:gd name="connsiteX4" fmla="*/ 0 w 1014731"/>
                <a:gd name="connsiteY4" fmla="*/ 6343586 h 6343586"/>
                <a:gd name="connsiteX0" fmla="*/ 0 w 1014731"/>
                <a:gd name="connsiteY0" fmla="*/ 6343586 h 6343586"/>
                <a:gd name="connsiteX1" fmla="*/ 824582 w 1014731"/>
                <a:gd name="connsiteY1" fmla="*/ 0 h 6343586"/>
                <a:gd name="connsiteX2" fmla="*/ 945417 w 1014731"/>
                <a:gd name="connsiteY2" fmla="*/ 312710 h 6343586"/>
                <a:gd name="connsiteX3" fmla="*/ 1014731 w 1014731"/>
                <a:gd name="connsiteY3" fmla="*/ 5918030 h 6343586"/>
                <a:gd name="connsiteX4" fmla="*/ 0 w 1014731"/>
                <a:gd name="connsiteY4" fmla="*/ 6343586 h 6343586"/>
                <a:gd name="connsiteX0" fmla="*/ 0 w 1014731"/>
                <a:gd name="connsiteY0" fmla="*/ 6343586 h 6343586"/>
                <a:gd name="connsiteX1" fmla="*/ 824582 w 1014731"/>
                <a:gd name="connsiteY1" fmla="*/ 0 h 6343586"/>
                <a:gd name="connsiteX2" fmla="*/ 937597 w 1014731"/>
                <a:gd name="connsiteY2" fmla="*/ 294197 h 6343586"/>
                <a:gd name="connsiteX3" fmla="*/ 1014731 w 1014731"/>
                <a:gd name="connsiteY3" fmla="*/ 5918030 h 6343586"/>
                <a:gd name="connsiteX4" fmla="*/ 0 w 1014731"/>
                <a:gd name="connsiteY4" fmla="*/ 6343586 h 6343586"/>
                <a:gd name="connsiteX0" fmla="*/ 0 w 1014731"/>
                <a:gd name="connsiteY0" fmla="*/ 6343586 h 6343586"/>
                <a:gd name="connsiteX1" fmla="*/ 824582 w 1014731"/>
                <a:gd name="connsiteY1" fmla="*/ 0 h 6343586"/>
                <a:gd name="connsiteX2" fmla="*/ 942225 w 1014731"/>
                <a:gd name="connsiteY2" fmla="*/ 292242 h 6343586"/>
                <a:gd name="connsiteX3" fmla="*/ 1014731 w 1014731"/>
                <a:gd name="connsiteY3" fmla="*/ 5918030 h 6343586"/>
                <a:gd name="connsiteX4" fmla="*/ 0 w 1014731"/>
                <a:gd name="connsiteY4" fmla="*/ 6343586 h 6343586"/>
                <a:gd name="connsiteX0" fmla="*/ 0 w 1014731"/>
                <a:gd name="connsiteY0" fmla="*/ 6395388 h 6395388"/>
                <a:gd name="connsiteX1" fmla="*/ 796930 w 1014731"/>
                <a:gd name="connsiteY1" fmla="*/ 0 h 6395388"/>
                <a:gd name="connsiteX2" fmla="*/ 942225 w 1014731"/>
                <a:gd name="connsiteY2" fmla="*/ 344044 h 6395388"/>
                <a:gd name="connsiteX3" fmla="*/ 1014731 w 1014731"/>
                <a:gd name="connsiteY3" fmla="*/ 5969832 h 6395388"/>
                <a:gd name="connsiteX4" fmla="*/ 0 w 1014731"/>
                <a:gd name="connsiteY4" fmla="*/ 6395388 h 6395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731" h="6395388">
                  <a:moveTo>
                    <a:pt x="0" y="6395388"/>
                  </a:moveTo>
                  <a:lnTo>
                    <a:pt x="796930" y="0"/>
                  </a:lnTo>
                  <a:lnTo>
                    <a:pt x="942225" y="344044"/>
                  </a:lnTo>
                  <a:lnTo>
                    <a:pt x="1014731" y="5969832"/>
                  </a:lnTo>
                  <a:lnTo>
                    <a:pt x="0" y="6395388"/>
                  </a:lnTo>
                  <a:close/>
                </a:path>
              </a:pathLst>
            </a:custGeom>
            <a:gradFill>
              <a:gsLst>
                <a:gs pos="34000">
                  <a:schemeClr val="bg2"/>
                </a:gs>
                <a:gs pos="100000">
                  <a:srgbClr val="5BA23C"/>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Tree>
    <p:extLst>
      <p:ext uri="{BB962C8B-B14F-4D97-AF65-F5344CB8AC3E}">
        <p14:creationId xmlns:p14="http://schemas.microsoft.com/office/powerpoint/2010/main" val="3061031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nchor="ctr" anchorCtr="0"/>
          <a:lstStyle>
            <a:lvl1pPr>
              <a:defRPr/>
            </a:lvl1pPr>
          </a:lstStyle>
          <a:p>
            <a:r>
              <a:rPr lang="en-US" dirty="0"/>
              <a:t>Click to add title</a:t>
            </a:r>
          </a:p>
        </p:txBody>
      </p:sp>
    </p:spTree>
    <p:extLst>
      <p:ext uri="{BB962C8B-B14F-4D97-AF65-F5344CB8AC3E}">
        <p14:creationId xmlns:p14="http://schemas.microsoft.com/office/powerpoint/2010/main" val="264095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itle Only - No Footer">
    <p:spTree>
      <p:nvGrpSpPr>
        <p:cNvPr id="1" name=""/>
        <p:cNvGrpSpPr/>
        <p:nvPr/>
      </p:nvGrpSpPr>
      <p:grpSpPr>
        <a:xfrm>
          <a:off x="0" y="0"/>
          <a:ext cx="0" cy="0"/>
          <a:chOff x="0" y="0"/>
          <a:chExt cx="0" cy="0"/>
        </a:xfrm>
      </p:grpSpPr>
      <p:sp>
        <p:nvSpPr>
          <p:cNvPr id="2" name="Rectangle 1"/>
          <p:cNvSpPr/>
          <p:nvPr userDrawn="1"/>
        </p:nvSpPr>
        <p:spPr bwMode="gray">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schemeClr val="bg1"/>
              </a:solidFill>
            </a:endParaRPr>
          </a:p>
        </p:txBody>
      </p:sp>
      <p:sp>
        <p:nvSpPr>
          <p:cNvPr id="8" name="Title 7"/>
          <p:cNvSpPr>
            <a:spLocks noGrp="1"/>
          </p:cNvSpPr>
          <p:nvPr>
            <p:ph type="title" hasCustomPrompt="1"/>
          </p:nvPr>
        </p:nvSpPr>
        <p:spPr/>
        <p:txBody>
          <a:bodyPr anchor="ctr" anchorCtr="0"/>
          <a:lstStyle>
            <a:lvl1pPr>
              <a:defRPr/>
            </a:lvl1pPr>
          </a:lstStyle>
          <a:p>
            <a:r>
              <a:rPr lang="en-US" dirty="0"/>
              <a:t>Click to add title</a:t>
            </a:r>
          </a:p>
        </p:txBody>
      </p:sp>
      <p:sp>
        <p:nvSpPr>
          <p:cNvPr id="5" name="Rectangle 6"/>
          <p:cNvSpPr txBox="1">
            <a:spLocks noChangeArrowheads="1"/>
          </p:cNvSpPr>
          <p:nvPr userDrawn="1"/>
        </p:nvSpPr>
        <p:spPr bwMode="auto">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3408876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33715" y="1222375"/>
            <a:ext cx="5430358" cy="4956048"/>
          </a:xfrm>
        </p:spPr>
        <p:txBody>
          <a:bodyPr/>
          <a:lstStyle>
            <a:lvl1pPr>
              <a:defRPr sz="2400"/>
            </a:lvl1pPr>
            <a:lvl2pPr>
              <a:defRPr sz="2000"/>
            </a:lvl2pPr>
            <a:lvl3pPr>
              <a:defRPr sz="1800"/>
            </a:lvl3pPr>
            <a:lvl4pPr>
              <a:defRPr sz="1600"/>
            </a:lvl4pPr>
            <a:lvl5pPr>
              <a:defRPr sz="1400" baseline="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21143" y="1222375"/>
            <a:ext cx="5431536" cy="4956048"/>
          </a:xfrm>
        </p:spPr>
        <p:txBody>
          <a:bodyPr/>
          <a:lstStyle>
            <a:lvl1pPr>
              <a:defRPr sz="2400"/>
            </a:lvl1pPr>
            <a:lvl2pPr>
              <a:defRPr sz="2000"/>
            </a:lvl2pPr>
            <a:lvl3pPr>
              <a:defRPr sz="1800"/>
            </a:lvl3pPr>
            <a:lvl4pPr>
              <a:defRPr sz="1600"/>
            </a:lvl4pPr>
            <a:lvl5pPr>
              <a:defRPr sz="140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p:cNvSpPr>
            <a:spLocks noGrp="1"/>
          </p:cNvSpPr>
          <p:nvPr>
            <p:ph type="title" hasCustomPrompt="1"/>
          </p:nvPr>
        </p:nvSpPr>
        <p:spPr/>
        <p:txBody>
          <a:bodyPr vert="horz" lIns="0" tIns="0" rIns="0" bIns="0" rtlCol="0" anchor="ctr" anchorCtr="0">
            <a:no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2152094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32093" y="1222375"/>
            <a:ext cx="3474720" cy="4956048"/>
          </a:xfrm>
        </p:spPr>
        <p:txBody>
          <a:bodyPr/>
          <a:lstStyle>
            <a:lvl1pPr>
              <a:defRPr sz="2400"/>
            </a:lvl1pPr>
            <a:lvl2pPr>
              <a:defRPr sz="2000"/>
            </a:lvl2pPr>
            <a:lvl3pPr>
              <a:defRPr sz="1800"/>
            </a:lvl3pPr>
            <a:lvl4pPr>
              <a:defRPr sz="1600"/>
            </a:lvl4pPr>
            <a:lvl5pPr>
              <a:defRPr sz="1400" baseline="0"/>
            </a:lvl5pPr>
            <a:lvl6pPr>
              <a:defRPr sz="1900"/>
            </a:lvl6pPr>
            <a:lvl7pPr>
              <a:defRPr sz="1900"/>
            </a:lvl7pPr>
            <a:lvl8pPr>
              <a:defRPr sz="1900"/>
            </a:lvl8pPr>
            <a:lvl9pPr>
              <a:defRPr sz="19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4"/>
          <p:cNvSpPr>
            <a:spLocks noGrp="1"/>
          </p:cNvSpPr>
          <p:nvPr>
            <p:ph type="title" hasCustomPrompt="1"/>
          </p:nvPr>
        </p:nvSpPr>
        <p:spPr/>
        <p:txBody>
          <a:bodyPr anchor="ctr" anchorCtr="0"/>
          <a:lstStyle>
            <a:lvl1pPr>
              <a:defRPr/>
            </a:lvl1pPr>
          </a:lstStyle>
          <a:p>
            <a:r>
              <a:rPr lang="en-US" dirty="0"/>
              <a:t>Click to add title</a:t>
            </a:r>
          </a:p>
        </p:txBody>
      </p:sp>
      <p:sp>
        <p:nvSpPr>
          <p:cNvPr id="20" name="Content Placeholder 19"/>
          <p:cNvSpPr>
            <a:spLocks noGrp="1"/>
          </p:cNvSpPr>
          <p:nvPr>
            <p:ph sz="quarter" idx="15" hasCustomPrompt="1"/>
          </p:nvPr>
        </p:nvSpPr>
        <p:spPr>
          <a:xfrm>
            <a:off x="4369774" y="1222375"/>
            <a:ext cx="3474720" cy="4956048"/>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277959" y="1222375"/>
            <a:ext cx="3474720" cy="4956048"/>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7804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Orang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728059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nchor="ctr" anchorCtr="0"/>
          <a:lstStyle>
            <a:lvl1pPr>
              <a:defRPr/>
            </a:lvl1pPr>
          </a:lstStyle>
          <a:p>
            <a:r>
              <a:rPr lang="en-US" dirty="0"/>
              <a:t>Click to add title</a:t>
            </a:r>
          </a:p>
        </p:txBody>
      </p:sp>
      <p:sp>
        <p:nvSpPr>
          <p:cNvPr id="12" name="Content Placeholder 11"/>
          <p:cNvSpPr>
            <a:spLocks noGrp="1"/>
          </p:cNvSpPr>
          <p:nvPr>
            <p:ph sz="quarter" idx="14" hasCustomPrompt="1"/>
          </p:nvPr>
        </p:nvSpPr>
        <p:spPr>
          <a:xfrm>
            <a:off x="430530" y="1222375"/>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1"/>
          <p:cNvSpPr>
            <a:spLocks noGrp="1"/>
          </p:cNvSpPr>
          <p:nvPr>
            <p:ph sz="quarter" idx="16" hasCustomPrompt="1"/>
          </p:nvPr>
        </p:nvSpPr>
        <p:spPr>
          <a:xfrm>
            <a:off x="6321143" y="1222375"/>
            <a:ext cx="544068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1"/>
          <p:cNvSpPr>
            <a:spLocks noGrp="1"/>
          </p:cNvSpPr>
          <p:nvPr>
            <p:ph sz="quarter" idx="20" hasCustomPrompt="1"/>
          </p:nvPr>
        </p:nvSpPr>
        <p:spPr>
          <a:xfrm>
            <a:off x="6321143" y="3808383"/>
            <a:ext cx="544068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11"/>
          <p:cNvSpPr>
            <a:spLocks noGrp="1"/>
          </p:cNvSpPr>
          <p:nvPr>
            <p:ph sz="quarter" idx="19" hasCustomPrompt="1"/>
          </p:nvPr>
        </p:nvSpPr>
        <p:spPr>
          <a:xfrm>
            <a:off x="430530" y="3808383"/>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101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87912" y="1222375"/>
            <a:ext cx="7164768" cy="4956048"/>
          </a:xfrm>
        </p:spPr>
        <p:txBody>
          <a:bodyPr/>
          <a:lstStyle>
            <a:lvl1pPr>
              <a:defRPr sz="2400"/>
            </a:lvl1pPr>
            <a:lvl2pPr>
              <a:defRPr sz="2000"/>
            </a:lvl2pPr>
            <a:lvl3pPr>
              <a:defRPr sz="1800"/>
            </a:lvl3pPr>
            <a:lvl4pPr>
              <a:defRPr sz="1600"/>
            </a:lvl4pPr>
            <a:lvl5pPr>
              <a:defRPr sz="1400" baseline="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hasCustomPrompt="1"/>
          </p:nvPr>
        </p:nvSpPr>
        <p:spPr>
          <a:xfrm>
            <a:off x="433715" y="1222375"/>
            <a:ext cx="3866348" cy="4956048"/>
          </a:xfrm>
        </p:spPr>
        <p:txBody>
          <a:bodyPr/>
          <a:lstStyle>
            <a:lvl1pPr>
              <a:defRPr sz="2400"/>
            </a:lvl1pPr>
            <a:lvl2pPr>
              <a:defRPr sz="2000"/>
            </a:lvl2pPr>
            <a:lvl3pPr>
              <a:defRPr sz="1800"/>
            </a:lvl3pPr>
            <a:lvl4pPr>
              <a:defRPr sz="1600"/>
            </a:lvl4pPr>
            <a:lvl5pPr>
              <a:defRPr sz="140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p:txBody>
          <a:bodyPr anchor="ctr" anchorCtr="0"/>
          <a:lstStyle>
            <a:lvl1pPr>
              <a:defRPr/>
            </a:lvl1pPr>
          </a:lstStyle>
          <a:p>
            <a:r>
              <a:rPr lang="en-US" dirty="0"/>
              <a:t>Click to add title</a:t>
            </a:r>
          </a:p>
        </p:txBody>
      </p:sp>
    </p:spTree>
    <p:extLst>
      <p:ext uri="{BB962C8B-B14F-4D97-AF65-F5344CB8AC3E}">
        <p14:creationId xmlns:p14="http://schemas.microsoft.com/office/powerpoint/2010/main" val="291883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Icon ">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B1196343-8F78-4139-9E68-CF34CFDA08D9}"/>
              </a:ext>
            </a:extLst>
          </p:cNvPr>
          <p:cNvSpPr/>
          <p:nvPr userDrawn="1"/>
        </p:nvSpPr>
        <p:spPr>
          <a:xfrm flipH="1" flipV="1">
            <a:off x="2399216" y="978417"/>
            <a:ext cx="2422187" cy="4957578"/>
          </a:xfrm>
          <a:custGeom>
            <a:avLst/>
            <a:gdLst>
              <a:gd name="connsiteX0" fmla="*/ 2373549 w 2373549"/>
              <a:gd name="connsiteY0" fmla="*/ 0 h 3550596"/>
              <a:gd name="connsiteX1" fmla="*/ 2237362 w 2373549"/>
              <a:gd name="connsiteY1" fmla="*/ 651753 h 3550596"/>
              <a:gd name="connsiteX2" fmla="*/ 778213 w 2373549"/>
              <a:gd name="connsiteY2" fmla="*/ 3531141 h 3550596"/>
              <a:gd name="connsiteX3" fmla="*/ 0 w 2373549"/>
              <a:gd name="connsiteY3" fmla="*/ 3550596 h 3550596"/>
              <a:gd name="connsiteX4" fmla="*/ 2373549 w 2373549"/>
              <a:gd name="connsiteY4" fmla="*/ 0 h 3550596"/>
              <a:gd name="connsiteX0" fmla="*/ 2422187 w 2422187"/>
              <a:gd name="connsiteY0" fmla="*/ 0 h 3540868"/>
              <a:gd name="connsiteX1" fmla="*/ 2237362 w 2422187"/>
              <a:gd name="connsiteY1" fmla="*/ 642025 h 3540868"/>
              <a:gd name="connsiteX2" fmla="*/ 778213 w 2422187"/>
              <a:gd name="connsiteY2" fmla="*/ 3521413 h 3540868"/>
              <a:gd name="connsiteX3" fmla="*/ 0 w 2422187"/>
              <a:gd name="connsiteY3" fmla="*/ 3540868 h 3540868"/>
              <a:gd name="connsiteX4" fmla="*/ 2422187 w 2422187"/>
              <a:gd name="connsiteY4" fmla="*/ 0 h 3540868"/>
              <a:gd name="connsiteX0" fmla="*/ 2422187 w 2422187"/>
              <a:gd name="connsiteY0" fmla="*/ 0 h 3550596"/>
              <a:gd name="connsiteX1" fmla="*/ 2237362 w 2422187"/>
              <a:gd name="connsiteY1" fmla="*/ 642025 h 3550596"/>
              <a:gd name="connsiteX2" fmla="*/ 768485 w 2422187"/>
              <a:gd name="connsiteY2" fmla="*/ 3550596 h 3550596"/>
              <a:gd name="connsiteX3" fmla="*/ 0 w 2422187"/>
              <a:gd name="connsiteY3" fmla="*/ 3540868 h 3550596"/>
              <a:gd name="connsiteX4" fmla="*/ 2422187 w 2422187"/>
              <a:gd name="connsiteY4" fmla="*/ 0 h 3550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187" h="3550596">
                <a:moveTo>
                  <a:pt x="2422187" y="0"/>
                </a:moveTo>
                <a:lnTo>
                  <a:pt x="2237362" y="642025"/>
                </a:lnTo>
                <a:lnTo>
                  <a:pt x="768485" y="3550596"/>
                </a:lnTo>
                <a:lnTo>
                  <a:pt x="0" y="3540868"/>
                </a:lnTo>
                <a:lnTo>
                  <a:pt x="2422187" y="0"/>
                </a:lnTo>
                <a:close/>
              </a:path>
            </a:pathLst>
          </a:custGeom>
          <a:gradFill>
            <a:gsLst>
              <a:gs pos="27000">
                <a:srgbClr val="5EAC3E"/>
              </a:gs>
              <a:gs pos="64000">
                <a:srgbClr val="67BD4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bg1"/>
              </a:solidFill>
            </a:endParaRPr>
          </a:p>
        </p:txBody>
      </p:sp>
      <p:sp>
        <p:nvSpPr>
          <p:cNvPr id="21" name="Freeform: Shape 20">
            <a:extLst>
              <a:ext uri="{FF2B5EF4-FFF2-40B4-BE49-F238E27FC236}">
                <a16:creationId xmlns:a16="http://schemas.microsoft.com/office/drawing/2014/main" id="{C9B0A6DD-FF7F-4EA4-8F97-70EC6E745E49}"/>
              </a:ext>
            </a:extLst>
          </p:cNvPr>
          <p:cNvSpPr/>
          <p:nvPr userDrawn="1"/>
        </p:nvSpPr>
        <p:spPr>
          <a:xfrm flipH="1" flipV="1">
            <a:off x="2810833" y="978417"/>
            <a:ext cx="1556426" cy="4222898"/>
          </a:xfrm>
          <a:custGeom>
            <a:avLst/>
            <a:gdLst>
              <a:gd name="connsiteX0" fmla="*/ 749030 w 1556426"/>
              <a:gd name="connsiteY0" fmla="*/ 3073940 h 3083668"/>
              <a:gd name="connsiteX1" fmla="*/ 0 w 1556426"/>
              <a:gd name="connsiteY1" fmla="*/ 3083668 h 3083668"/>
              <a:gd name="connsiteX2" fmla="*/ 1556426 w 1556426"/>
              <a:gd name="connsiteY2" fmla="*/ 0 h 3083668"/>
              <a:gd name="connsiteX3" fmla="*/ 749030 w 1556426"/>
              <a:gd name="connsiteY3" fmla="*/ 3073940 h 3083668"/>
            </a:gdLst>
            <a:ahLst/>
            <a:cxnLst>
              <a:cxn ang="0">
                <a:pos x="connsiteX0" y="connsiteY0"/>
              </a:cxn>
              <a:cxn ang="0">
                <a:pos x="connsiteX1" y="connsiteY1"/>
              </a:cxn>
              <a:cxn ang="0">
                <a:pos x="connsiteX2" y="connsiteY2"/>
              </a:cxn>
              <a:cxn ang="0">
                <a:pos x="connsiteX3" y="connsiteY3"/>
              </a:cxn>
            </a:cxnLst>
            <a:rect l="l" t="t" r="r" b="b"/>
            <a:pathLst>
              <a:path w="1556426" h="3083668">
                <a:moveTo>
                  <a:pt x="749030" y="3073940"/>
                </a:moveTo>
                <a:lnTo>
                  <a:pt x="0" y="3083668"/>
                </a:lnTo>
                <a:lnTo>
                  <a:pt x="1556426" y="0"/>
                </a:lnTo>
                <a:lnTo>
                  <a:pt x="749030" y="3073940"/>
                </a:lnTo>
                <a:close/>
              </a:path>
            </a:pathLst>
          </a:custGeom>
          <a:gradFill>
            <a:gsLst>
              <a:gs pos="34000">
                <a:schemeClr val="bg2"/>
              </a:gs>
              <a:gs pos="100000">
                <a:srgbClr val="5BA23C"/>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bg1"/>
              </a:solidFill>
            </a:endParaRPr>
          </a:p>
        </p:txBody>
      </p:sp>
      <p:pic>
        <p:nvPicPr>
          <p:cNvPr id="13" name="Picture 12">
            <a:extLst>
              <a:ext uri="{FF2B5EF4-FFF2-40B4-BE49-F238E27FC236}">
                <a16:creationId xmlns:a16="http://schemas.microsoft.com/office/drawing/2014/main" id="{C7B7014C-EB32-49CA-8640-A8673EB040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2" name="Title 1">
            <a:extLst>
              <a:ext uri="{FF2B5EF4-FFF2-40B4-BE49-F238E27FC236}">
                <a16:creationId xmlns:a16="http://schemas.microsoft.com/office/drawing/2014/main" id="{A6571AC3-625A-4C34-ACE1-5D93DAC1F54B}"/>
              </a:ext>
            </a:extLst>
          </p:cNvPr>
          <p:cNvSpPr>
            <a:spLocks noGrp="1"/>
          </p:cNvSpPr>
          <p:nvPr>
            <p:ph type="title" hasCustomPrompt="1"/>
          </p:nvPr>
        </p:nvSpPr>
        <p:spPr/>
        <p:txBody>
          <a:bodyPr anchor="ctr" anchorCtr="0"/>
          <a:lstStyle>
            <a:lvl1pPr>
              <a:defRPr/>
            </a:lvl1pPr>
          </a:lstStyle>
          <a:p>
            <a:r>
              <a:rPr lang="en-US"/>
              <a:t>Click to ADD TITLE</a:t>
            </a:r>
          </a:p>
        </p:txBody>
      </p:sp>
      <p:sp>
        <p:nvSpPr>
          <p:cNvPr id="15" name="Right Triangle 10">
            <a:extLst>
              <a:ext uri="{FF2B5EF4-FFF2-40B4-BE49-F238E27FC236}">
                <a16:creationId xmlns:a16="http://schemas.microsoft.com/office/drawing/2014/main" id="{82E43DF6-9A70-4B04-8042-940F8A3C9D5A}"/>
              </a:ext>
            </a:extLst>
          </p:cNvPr>
          <p:cNvSpPr/>
          <p:nvPr userDrawn="1"/>
        </p:nvSpPr>
        <p:spPr>
          <a:xfrm flipH="1">
            <a:off x="2254100" y="4475140"/>
            <a:ext cx="797441" cy="2388930"/>
          </a:xfrm>
          <a:custGeom>
            <a:avLst/>
            <a:gdLst>
              <a:gd name="connsiteX0" fmla="*/ 0 w 280287"/>
              <a:gd name="connsiteY0" fmla="*/ 1796902 h 1796902"/>
              <a:gd name="connsiteX1" fmla="*/ 0 w 280287"/>
              <a:gd name="connsiteY1" fmla="*/ 0 h 1796902"/>
              <a:gd name="connsiteX2" fmla="*/ 280287 w 280287"/>
              <a:gd name="connsiteY2" fmla="*/ 1796902 h 1796902"/>
              <a:gd name="connsiteX3" fmla="*/ 0 w 280287"/>
              <a:gd name="connsiteY3" fmla="*/ 1796902 h 1796902"/>
              <a:gd name="connsiteX0" fmla="*/ 308344 w 588631"/>
              <a:gd name="connsiteY0" fmla="*/ 1903228 h 1903228"/>
              <a:gd name="connsiteX1" fmla="*/ 0 w 588631"/>
              <a:gd name="connsiteY1" fmla="*/ 0 h 1903228"/>
              <a:gd name="connsiteX2" fmla="*/ 588631 w 588631"/>
              <a:gd name="connsiteY2" fmla="*/ 1903228 h 1903228"/>
              <a:gd name="connsiteX3" fmla="*/ 308344 w 588631"/>
              <a:gd name="connsiteY3" fmla="*/ 1903228 h 1903228"/>
            </a:gdLst>
            <a:ahLst/>
            <a:cxnLst>
              <a:cxn ang="0">
                <a:pos x="connsiteX0" y="connsiteY0"/>
              </a:cxn>
              <a:cxn ang="0">
                <a:pos x="connsiteX1" y="connsiteY1"/>
              </a:cxn>
              <a:cxn ang="0">
                <a:pos x="connsiteX2" y="connsiteY2"/>
              </a:cxn>
              <a:cxn ang="0">
                <a:pos x="connsiteX3" y="connsiteY3"/>
              </a:cxn>
            </a:cxnLst>
            <a:rect l="l" t="t" r="r" b="b"/>
            <a:pathLst>
              <a:path w="588631" h="1903228">
                <a:moveTo>
                  <a:pt x="308344" y="1903228"/>
                </a:moveTo>
                <a:lnTo>
                  <a:pt x="0" y="0"/>
                </a:lnTo>
                <a:lnTo>
                  <a:pt x="588631" y="1903228"/>
                </a:lnTo>
                <a:lnTo>
                  <a:pt x="308344" y="1903228"/>
                </a:lnTo>
                <a:close/>
              </a:path>
            </a:pathLst>
          </a:custGeom>
          <a:gradFill>
            <a:gsLst>
              <a:gs pos="2000">
                <a:srgbClr val="62B53F"/>
              </a:gs>
              <a:gs pos="52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bg1"/>
              </a:solidFill>
            </a:endParaRPr>
          </a:p>
        </p:txBody>
      </p:sp>
      <p:sp>
        <p:nvSpPr>
          <p:cNvPr id="16" name="Freeform 11">
            <a:extLst>
              <a:ext uri="{FF2B5EF4-FFF2-40B4-BE49-F238E27FC236}">
                <a16:creationId xmlns:a16="http://schemas.microsoft.com/office/drawing/2014/main" id="{1B456CEE-0787-4789-90B6-9140D8371DC0}"/>
              </a:ext>
            </a:extLst>
          </p:cNvPr>
          <p:cNvSpPr/>
          <p:nvPr userDrawn="1"/>
        </p:nvSpPr>
        <p:spPr>
          <a:xfrm flipH="1" flipV="1">
            <a:off x="-41321" y="1006471"/>
            <a:ext cx="4173034" cy="5897880"/>
          </a:xfrm>
          <a:custGeom>
            <a:avLst/>
            <a:gdLst>
              <a:gd name="connsiteX0" fmla="*/ 2483124 w 5460510"/>
              <a:gd name="connsiteY0" fmla="*/ 0 h 5143500"/>
              <a:gd name="connsiteX1" fmla="*/ 3448297 w 5460510"/>
              <a:gd name="connsiteY1" fmla="*/ 0 h 5143500"/>
              <a:gd name="connsiteX2" fmla="*/ 4717679 w 5460510"/>
              <a:gd name="connsiteY2" fmla="*/ 0 h 5143500"/>
              <a:gd name="connsiteX3" fmla="*/ 4741319 w 5460510"/>
              <a:gd name="connsiteY3" fmla="*/ 0 h 5143500"/>
              <a:gd name="connsiteX4" fmla="*/ 5318193 w 5460510"/>
              <a:gd name="connsiteY4" fmla="*/ 0 h 5143500"/>
              <a:gd name="connsiteX5" fmla="*/ 5460510 w 5460510"/>
              <a:gd name="connsiteY5" fmla="*/ 0 h 5143500"/>
              <a:gd name="connsiteX6" fmla="*/ 5460510 w 5460510"/>
              <a:gd name="connsiteY6" fmla="*/ 5143500 h 5143500"/>
              <a:gd name="connsiteX7" fmla="*/ 5318193 w 5460510"/>
              <a:gd name="connsiteY7" fmla="*/ 5143500 h 5143500"/>
              <a:gd name="connsiteX8" fmla="*/ 4741319 w 5460510"/>
              <a:gd name="connsiteY8" fmla="*/ 5143500 h 5143500"/>
              <a:gd name="connsiteX9" fmla="*/ 4717679 w 5460510"/>
              <a:gd name="connsiteY9" fmla="*/ 5143500 h 5143500"/>
              <a:gd name="connsiteX10" fmla="*/ 3448297 w 5460510"/>
              <a:gd name="connsiteY10" fmla="*/ 5143500 h 5143500"/>
              <a:gd name="connsiteX11" fmla="*/ 0 w 5460510"/>
              <a:gd name="connsiteY11" fmla="*/ 5143500 h 5143500"/>
              <a:gd name="connsiteX0" fmla="*/ 2293851 w 5271237"/>
              <a:gd name="connsiteY0" fmla="*/ 0 h 5174189"/>
              <a:gd name="connsiteX1" fmla="*/ 3259024 w 5271237"/>
              <a:gd name="connsiteY1" fmla="*/ 0 h 5174189"/>
              <a:gd name="connsiteX2" fmla="*/ 4528406 w 5271237"/>
              <a:gd name="connsiteY2" fmla="*/ 0 h 5174189"/>
              <a:gd name="connsiteX3" fmla="*/ 4552046 w 5271237"/>
              <a:gd name="connsiteY3" fmla="*/ 0 h 5174189"/>
              <a:gd name="connsiteX4" fmla="*/ 5128920 w 5271237"/>
              <a:gd name="connsiteY4" fmla="*/ 0 h 5174189"/>
              <a:gd name="connsiteX5" fmla="*/ 5271237 w 5271237"/>
              <a:gd name="connsiteY5" fmla="*/ 0 h 5174189"/>
              <a:gd name="connsiteX6" fmla="*/ 5271237 w 5271237"/>
              <a:gd name="connsiteY6" fmla="*/ 5143500 h 5174189"/>
              <a:gd name="connsiteX7" fmla="*/ 5128920 w 5271237"/>
              <a:gd name="connsiteY7" fmla="*/ 5143500 h 5174189"/>
              <a:gd name="connsiteX8" fmla="*/ 4552046 w 5271237"/>
              <a:gd name="connsiteY8" fmla="*/ 5143500 h 5174189"/>
              <a:gd name="connsiteX9" fmla="*/ 4528406 w 5271237"/>
              <a:gd name="connsiteY9" fmla="*/ 5143500 h 5174189"/>
              <a:gd name="connsiteX10" fmla="*/ 3259024 w 5271237"/>
              <a:gd name="connsiteY10" fmla="*/ 5143500 h 5174189"/>
              <a:gd name="connsiteX11" fmla="*/ 0 w 5271237"/>
              <a:gd name="connsiteY11" fmla="*/ 5174189 h 5174189"/>
              <a:gd name="connsiteX12" fmla="*/ 2293851 w 5271237"/>
              <a:gd name="connsiteY12" fmla="*/ 0 h 5174189"/>
              <a:gd name="connsiteX0" fmla="*/ 2293851 w 5271237"/>
              <a:gd name="connsiteY0" fmla="*/ 0 h 5174189"/>
              <a:gd name="connsiteX1" fmla="*/ 3259024 w 5271237"/>
              <a:gd name="connsiteY1" fmla="*/ 0 h 5174189"/>
              <a:gd name="connsiteX2" fmla="*/ 4528406 w 5271237"/>
              <a:gd name="connsiteY2" fmla="*/ 0 h 5174189"/>
              <a:gd name="connsiteX3" fmla="*/ 4552046 w 5271237"/>
              <a:gd name="connsiteY3" fmla="*/ 0 h 5174189"/>
              <a:gd name="connsiteX4" fmla="*/ 5128920 w 5271237"/>
              <a:gd name="connsiteY4" fmla="*/ 0 h 5174189"/>
              <a:gd name="connsiteX5" fmla="*/ 5271237 w 5271237"/>
              <a:gd name="connsiteY5" fmla="*/ 0 h 5174189"/>
              <a:gd name="connsiteX6" fmla="*/ 5271237 w 5271237"/>
              <a:gd name="connsiteY6" fmla="*/ 5143500 h 5174189"/>
              <a:gd name="connsiteX7" fmla="*/ 5128920 w 5271237"/>
              <a:gd name="connsiteY7" fmla="*/ 5143500 h 5174189"/>
              <a:gd name="connsiteX8" fmla="*/ 4552046 w 5271237"/>
              <a:gd name="connsiteY8" fmla="*/ 5143500 h 5174189"/>
              <a:gd name="connsiteX9" fmla="*/ 4528406 w 5271237"/>
              <a:gd name="connsiteY9" fmla="*/ 5143500 h 5174189"/>
              <a:gd name="connsiteX10" fmla="*/ 3259024 w 5271237"/>
              <a:gd name="connsiteY10" fmla="*/ 5143500 h 5174189"/>
              <a:gd name="connsiteX11" fmla="*/ 0 w 5271237"/>
              <a:gd name="connsiteY11" fmla="*/ 5174189 h 5174189"/>
              <a:gd name="connsiteX12" fmla="*/ 2293851 w 5271237"/>
              <a:gd name="connsiteY12" fmla="*/ 0 h 5174189"/>
              <a:gd name="connsiteX0" fmla="*/ 2293851 w 5271237"/>
              <a:gd name="connsiteY0" fmla="*/ 0 h 5174189"/>
              <a:gd name="connsiteX1" fmla="*/ 3259024 w 5271237"/>
              <a:gd name="connsiteY1" fmla="*/ 0 h 5174189"/>
              <a:gd name="connsiteX2" fmla="*/ 4528406 w 5271237"/>
              <a:gd name="connsiteY2" fmla="*/ 0 h 5174189"/>
              <a:gd name="connsiteX3" fmla="*/ 4552046 w 5271237"/>
              <a:gd name="connsiteY3" fmla="*/ 0 h 5174189"/>
              <a:gd name="connsiteX4" fmla="*/ 5128920 w 5271237"/>
              <a:gd name="connsiteY4" fmla="*/ 0 h 5174189"/>
              <a:gd name="connsiteX5" fmla="*/ 5271237 w 5271237"/>
              <a:gd name="connsiteY5" fmla="*/ 0 h 5174189"/>
              <a:gd name="connsiteX6" fmla="*/ 5271237 w 5271237"/>
              <a:gd name="connsiteY6" fmla="*/ 5143500 h 5174189"/>
              <a:gd name="connsiteX7" fmla="*/ 5128920 w 5271237"/>
              <a:gd name="connsiteY7" fmla="*/ 5143500 h 5174189"/>
              <a:gd name="connsiteX8" fmla="*/ 4552046 w 5271237"/>
              <a:gd name="connsiteY8" fmla="*/ 5143500 h 5174189"/>
              <a:gd name="connsiteX9" fmla="*/ 4528406 w 5271237"/>
              <a:gd name="connsiteY9" fmla="*/ 5143500 h 5174189"/>
              <a:gd name="connsiteX10" fmla="*/ 3259024 w 5271237"/>
              <a:gd name="connsiteY10" fmla="*/ 5143500 h 5174189"/>
              <a:gd name="connsiteX11" fmla="*/ 0 w 5271237"/>
              <a:gd name="connsiteY11" fmla="*/ 5174189 h 5174189"/>
              <a:gd name="connsiteX12" fmla="*/ 2293851 w 5271237"/>
              <a:gd name="connsiteY12" fmla="*/ 0 h 5174189"/>
              <a:gd name="connsiteX0" fmla="*/ 2268405 w 5245791"/>
              <a:gd name="connsiteY0" fmla="*/ 0 h 5168229"/>
              <a:gd name="connsiteX1" fmla="*/ 3233578 w 5245791"/>
              <a:gd name="connsiteY1" fmla="*/ 0 h 5168229"/>
              <a:gd name="connsiteX2" fmla="*/ 4502960 w 5245791"/>
              <a:gd name="connsiteY2" fmla="*/ 0 h 5168229"/>
              <a:gd name="connsiteX3" fmla="*/ 4526600 w 5245791"/>
              <a:gd name="connsiteY3" fmla="*/ 0 h 5168229"/>
              <a:gd name="connsiteX4" fmla="*/ 5103474 w 5245791"/>
              <a:gd name="connsiteY4" fmla="*/ 0 h 5168229"/>
              <a:gd name="connsiteX5" fmla="*/ 5245791 w 5245791"/>
              <a:gd name="connsiteY5" fmla="*/ 0 h 5168229"/>
              <a:gd name="connsiteX6" fmla="*/ 5245791 w 5245791"/>
              <a:gd name="connsiteY6" fmla="*/ 5143500 h 5168229"/>
              <a:gd name="connsiteX7" fmla="*/ 5103474 w 5245791"/>
              <a:gd name="connsiteY7" fmla="*/ 5143500 h 5168229"/>
              <a:gd name="connsiteX8" fmla="*/ 4526600 w 5245791"/>
              <a:gd name="connsiteY8" fmla="*/ 5143500 h 5168229"/>
              <a:gd name="connsiteX9" fmla="*/ 4502960 w 5245791"/>
              <a:gd name="connsiteY9" fmla="*/ 5143500 h 5168229"/>
              <a:gd name="connsiteX10" fmla="*/ 3233578 w 5245791"/>
              <a:gd name="connsiteY10" fmla="*/ 5143500 h 5168229"/>
              <a:gd name="connsiteX11" fmla="*/ 0 w 5245791"/>
              <a:gd name="connsiteY11" fmla="*/ 5168229 h 5168229"/>
              <a:gd name="connsiteX12" fmla="*/ 2268405 w 5245791"/>
              <a:gd name="connsiteY12" fmla="*/ 0 h 5168229"/>
              <a:gd name="connsiteX0" fmla="*/ 2268405 w 5245791"/>
              <a:gd name="connsiteY0" fmla="*/ 0 h 5168229"/>
              <a:gd name="connsiteX1" fmla="*/ 3233578 w 5245791"/>
              <a:gd name="connsiteY1" fmla="*/ 0 h 5168229"/>
              <a:gd name="connsiteX2" fmla="*/ 4502960 w 5245791"/>
              <a:gd name="connsiteY2" fmla="*/ 0 h 5168229"/>
              <a:gd name="connsiteX3" fmla="*/ 4526600 w 5245791"/>
              <a:gd name="connsiteY3" fmla="*/ 0 h 5168229"/>
              <a:gd name="connsiteX4" fmla="*/ 5103474 w 5245791"/>
              <a:gd name="connsiteY4" fmla="*/ 0 h 5168229"/>
              <a:gd name="connsiteX5" fmla="*/ 5245791 w 5245791"/>
              <a:gd name="connsiteY5" fmla="*/ 0 h 5168229"/>
              <a:gd name="connsiteX6" fmla="*/ 5245791 w 5245791"/>
              <a:gd name="connsiteY6" fmla="*/ 5143500 h 5168229"/>
              <a:gd name="connsiteX7" fmla="*/ 5103474 w 5245791"/>
              <a:gd name="connsiteY7" fmla="*/ 5143500 h 5168229"/>
              <a:gd name="connsiteX8" fmla="*/ 4526600 w 5245791"/>
              <a:gd name="connsiteY8" fmla="*/ 5143500 h 5168229"/>
              <a:gd name="connsiteX9" fmla="*/ 4502960 w 5245791"/>
              <a:gd name="connsiteY9" fmla="*/ 5143500 h 5168229"/>
              <a:gd name="connsiteX10" fmla="*/ 3233578 w 5245791"/>
              <a:gd name="connsiteY10" fmla="*/ 5143500 h 5168229"/>
              <a:gd name="connsiteX11" fmla="*/ 0 w 5245791"/>
              <a:gd name="connsiteY11" fmla="*/ 5168229 h 5168229"/>
              <a:gd name="connsiteX12" fmla="*/ 2268405 w 5245791"/>
              <a:gd name="connsiteY12" fmla="*/ 0 h 5168229"/>
              <a:gd name="connsiteX0" fmla="*/ 2268405 w 5245791"/>
              <a:gd name="connsiteY0" fmla="*/ 0 h 5158710"/>
              <a:gd name="connsiteX1" fmla="*/ 3233578 w 5245791"/>
              <a:gd name="connsiteY1" fmla="*/ 0 h 5158710"/>
              <a:gd name="connsiteX2" fmla="*/ 4502960 w 5245791"/>
              <a:gd name="connsiteY2" fmla="*/ 0 h 5158710"/>
              <a:gd name="connsiteX3" fmla="*/ 4526600 w 5245791"/>
              <a:gd name="connsiteY3" fmla="*/ 0 h 5158710"/>
              <a:gd name="connsiteX4" fmla="*/ 5103474 w 5245791"/>
              <a:gd name="connsiteY4" fmla="*/ 0 h 5158710"/>
              <a:gd name="connsiteX5" fmla="*/ 5245791 w 5245791"/>
              <a:gd name="connsiteY5" fmla="*/ 0 h 5158710"/>
              <a:gd name="connsiteX6" fmla="*/ 5245791 w 5245791"/>
              <a:gd name="connsiteY6" fmla="*/ 5143500 h 5158710"/>
              <a:gd name="connsiteX7" fmla="*/ 5103474 w 5245791"/>
              <a:gd name="connsiteY7" fmla="*/ 5143500 h 5158710"/>
              <a:gd name="connsiteX8" fmla="*/ 4526600 w 5245791"/>
              <a:gd name="connsiteY8" fmla="*/ 5143500 h 5158710"/>
              <a:gd name="connsiteX9" fmla="*/ 4502960 w 5245791"/>
              <a:gd name="connsiteY9" fmla="*/ 5143500 h 5158710"/>
              <a:gd name="connsiteX10" fmla="*/ 3233578 w 5245791"/>
              <a:gd name="connsiteY10" fmla="*/ 5143500 h 5158710"/>
              <a:gd name="connsiteX11" fmla="*/ 0 w 5245791"/>
              <a:gd name="connsiteY11" fmla="*/ 5158710 h 5158710"/>
              <a:gd name="connsiteX12" fmla="*/ 2268405 w 5245791"/>
              <a:gd name="connsiteY12" fmla="*/ 0 h 5158710"/>
              <a:gd name="connsiteX0" fmla="*/ 2268405 w 5245791"/>
              <a:gd name="connsiteY0" fmla="*/ 0 h 5153950"/>
              <a:gd name="connsiteX1" fmla="*/ 3233578 w 5245791"/>
              <a:gd name="connsiteY1" fmla="*/ 0 h 5153950"/>
              <a:gd name="connsiteX2" fmla="*/ 4502960 w 5245791"/>
              <a:gd name="connsiteY2" fmla="*/ 0 h 5153950"/>
              <a:gd name="connsiteX3" fmla="*/ 4526600 w 5245791"/>
              <a:gd name="connsiteY3" fmla="*/ 0 h 5153950"/>
              <a:gd name="connsiteX4" fmla="*/ 5103474 w 5245791"/>
              <a:gd name="connsiteY4" fmla="*/ 0 h 5153950"/>
              <a:gd name="connsiteX5" fmla="*/ 5245791 w 5245791"/>
              <a:gd name="connsiteY5" fmla="*/ 0 h 5153950"/>
              <a:gd name="connsiteX6" fmla="*/ 5245791 w 5245791"/>
              <a:gd name="connsiteY6" fmla="*/ 5143500 h 5153950"/>
              <a:gd name="connsiteX7" fmla="*/ 5103474 w 5245791"/>
              <a:gd name="connsiteY7" fmla="*/ 5143500 h 5153950"/>
              <a:gd name="connsiteX8" fmla="*/ 4526600 w 5245791"/>
              <a:gd name="connsiteY8" fmla="*/ 5143500 h 5153950"/>
              <a:gd name="connsiteX9" fmla="*/ 4502960 w 5245791"/>
              <a:gd name="connsiteY9" fmla="*/ 5143500 h 5153950"/>
              <a:gd name="connsiteX10" fmla="*/ 3233578 w 5245791"/>
              <a:gd name="connsiteY10" fmla="*/ 5143500 h 5153950"/>
              <a:gd name="connsiteX11" fmla="*/ 0 w 5245791"/>
              <a:gd name="connsiteY11" fmla="*/ 5153950 h 5153950"/>
              <a:gd name="connsiteX12" fmla="*/ 2268405 w 5245791"/>
              <a:gd name="connsiteY12" fmla="*/ 0 h 5153950"/>
              <a:gd name="connsiteX0" fmla="*/ 2268405 w 5245791"/>
              <a:gd name="connsiteY0" fmla="*/ 0 h 5153950"/>
              <a:gd name="connsiteX1" fmla="*/ 3233578 w 5245791"/>
              <a:gd name="connsiteY1" fmla="*/ 0 h 5153950"/>
              <a:gd name="connsiteX2" fmla="*/ 4502960 w 5245791"/>
              <a:gd name="connsiteY2" fmla="*/ 0 h 5153950"/>
              <a:gd name="connsiteX3" fmla="*/ 4526600 w 5245791"/>
              <a:gd name="connsiteY3" fmla="*/ 0 h 5153950"/>
              <a:gd name="connsiteX4" fmla="*/ 5103474 w 5245791"/>
              <a:gd name="connsiteY4" fmla="*/ 0 h 5153950"/>
              <a:gd name="connsiteX5" fmla="*/ 5245791 w 5245791"/>
              <a:gd name="connsiteY5" fmla="*/ 0 h 5153950"/>
              <a:gd name="connsiteX6" fmla="*/ 5245791 w 5245791"/>
              <a:gd name="connsiteY6" fmla="*/ 5143500 h 5153950"/>
              <a:gd name="connsiteX7" fmla="*/ 5103474 w 5245791"/>
              <a:gd name="connsiteY7" fmla="*/ 5143500 h 5153950"/>
              <a:gd name="connsiteX8" fmla="*/ 4526600 w 5245791"/>
              <a:gd name="connsiteY8" fmla="*/ 5143500 h 5153950"/>
              <a:gd name="connsiteX9" fmla="*/ 4502960 w 5245791"/>
              <a:gd name="connsiteY9" fmla="*/ 5143500 h 5153950"/>
              <a:gd name="connsiteX10" fmla="*/ 3233578 w 5245791"/>
              <a:gd name="connsiteY10" fmla="*/ 5143500 h 5153950"/>
              <a:gd name="connsiteX11" fmla="*/ 0 w 5245791"/>
              <a:gd name="connsiteY11" fmla="*/ 5153950 h 5153950"/>
              <a:gd name="connsiteX12" fmla="*/ 2268405 w 5245791"/>
              <a:gd name="connsiteY12" fmla="*/ 0 h 5153950"/>
              <a:gd name="connsiteX0" fmla="*/ 2245825 w 5245791"/>
              <a:gd name="connsiteY0" fmla="*/ 0 h 5153950"/>
              <a:gd name="connsiteX1" fmla="*/ 3233578 w 5245791"/>
              <a:gd name="connsiteY1" fmla="*/ 0 h 5153950"/>
              <a:gd name="connsiteX2" fmla="*/ 4502960 w 5245791"/>
              <a:gd name="connsiteY2" fmla="*/ 0 h 5153950"/>
              <a:gd name="connsiteX3" fmla="*/ 4526600 w 5245791"/>
              <a:gd name="connsiteY3" fmla="*/ 0 h 5153950"/>
              <a:gd name="connsiteX4" fmla="*/ 5103474 w 5245791"/>
              <a:gd name="connsiteY4" fmla="*/ 0 h 5153950"/>
              <a:gd name="connsiteX5" fmla="*/ 5245791 w 5245791"/>
              <a:gd name="connsiteY5" fmla="*/ 0 h 5153950"/>
              <a:gd name="connsiteX6" fmla="*/ 5245791 w 5245791"/>
              <a:gd name="connsiteY6" fmla="*/ 5143500 h 5153950"/>
              <a:gd name="connsiteX7" fmla="*/ 5103474 w 5245791"/>
              <a:gd name="connsiteY7" fmla="*/ 5143500 h 5153950"/>
              <a:gd name="connsiteX8" fmla="*/ 4526600 w 5245791"/>
              <a:gd name="connsiteY8" fmla="*/ 5143500 h 5153950"/>
              <a:gd name="connsiteX9" fmla="*/ 4502960 w 5245791"/>
              <a:gd name="connsiteY9" fmla="*/ 5143500 h 5153950"/>
              <a:gd name="connsiteX10" fmla="*/ 3233578 w 5245791"/>
              <a:gd name="connsiteY10" fmla="*/ 5143500 h 5153950"/>
              <a:gd name="connsiteX11" fmla="*/ 0 w 5245791"/>
              <a:gd name="connsiteY11" fmla="*/ 5153950 h 5153950"/>
              <a:gd name="connsiteX12" fmla="*/ 2245825 w 5245791"/>
              <a:gd name="connsiteY12" fmla="*/ 0 h 5153950"/>
              <a:gd name="connsiteX0" fmla="*/ 2245825 w 5245791"/>
              <a:gd name="connsiteY0" fmla="*/ 0 h 5153950"/>
              <a:gd name="connsiteX1" fmla="*/ 3233578 w 5245791"/>
              <a:gd name="connsiteY1" fmla="*/ 0 h 5153950"/>
              <a:gd name="connsiteX2" fmla="*/ 4502960 w 5245791"/>
              <a:gd name="connsiteY2" fmla="*/ 0 h 5153950"/>
              <a:gd name="connsiteX3" fmla="*/ 4526600 w 5245791"/>
              <a:gd name="connsiteY3" fmla="*/ 0 h 5153950"/>
              <a:gd name="connsiteX4" fmla="*/ 5103474 w 5245791"/>
              <a:gd name="connsiteY4" fmla="*/ 0 h 5153950"/>
              <a:gd name="connsiteX5" fmla="*/ 5245791 w 5245791"/>
              <a:gd name="connsiteY5" fmla="*/ 0 h 5153950"/>
              <a:gd name="connsiteX6" fmla="*/ 5245791 w 5245791"/>
              <a:gd name="connsiteY6" fmla="*/ 5143500 h 5153950"/>
              <a:gd name="connsiteX7" fmla="*/ 5103474 w 5245791"/>
              <a:gd name="connsiteY7" fmla="*/ 5143500 h 5153950"/>
              <a:gd name="connsiteX8" fmla="*/ 4526600 w 5245791"/>
              <a:gd name="connsiteY8" fmla="*/ 5143500 h 5153950"/>
              <a:gd name="connsiteX9" fmla="*/ 4502960 w 5245791"/>
              <a:gd name="connsiteY9" fmla="*/ 5143500 h 5153950"/>
              <a:gd name="connsiteX10" fmla="*/ 3233578 w 5245791"/>
              <a:gd name="connsiteY10" fmla="*/ 5143500 h 5153950"/>
              <a:gd name="connsiteX11" fmla="*/ 0 w 5245791"/>
              <a:gd name="connsiteY11" fmla="*/ 5153950 h 5153950"/>
              <a:gd name="connsiteX12" fmla="*/ 2245825 w 5245791"/>
              <a:gd name="connsiteY12" fmla="*/ 0 h 5153950"/>
              <a:gd name="connsiteX0" fmla="*/ 2245825 w 5245791"/>
              <a:gd name="connsiteY0" fmla="*/ 0 h 5153950"/>
              <a:gd name="connsiteX1" fmla="*/ 3233578 w 5245791"/>
              <a:gd name="connsiteY1" fmla="*/ 0 h 5153950"/>
              <a:gd name="connsiteX2" fmla="*/ 4502960 w 5245791"/>
              <a:gd name="connsiteY2" fmla="*/ 0 h 5153950"/>
              <a:gd name="connsiteX3" fmla="*/ 4526600 w 5245791"/>
              <a:gd name="connsiteY3" fmla="*/ 0 h 5153950"/>
              <a:gd name="connsiteX4" fmla="*/ 5103474 w 5245791"/>
              <a:gd name="connsiteY4" fmla="*/ 0 h 5153950"/>
              <a:gd name="connsiteX5" fmla="*/ 5245791 w 5245791"/>
              <a:gd name="connsiteY5" fmla="*/ 0 h 5153950"/>
              <a:gd name="connsiteX6" fmla="*/ 5245791 w 5245791"/>
              <a:gd name="connsiteY6" fmla="*/ 5143500 h 5153950"/>
              <a:gd name="connsiteX7" fmla="*/ 5103474 w 5245791"/>
              <a:gd name="connsiteY7" fmla="*/ 5143500 h 5153950"/>
              <a:gd name="connsiteX8" fmla="*/ 4526600 w 5245791"/>
              <a:gd name="connsiteY8" fmla="*/ 5143500 h 5153950"/>
              <a:gd name="connsiteX9" fmla="*/ 4502960 w 5245791"/>
              <a:gd name="connsiteY9" fmla="*/ 5143500 h 5153950"/>
              <a:gd name="connsiteX10" fmla="*/ 3233578 w 5245791"/>
              <a:gd name="connsiteY10" fmla="*/ 5143500 h 5153950"/>
              <a:gd name="connsiteX11" fmla="*/ 0 w 5245791"/>
              <a:gd name="connsiteY11" fmla="*/ 5153950 h 5153950"/>
              <a:gd name="connsiteX12" fmla="*/ 2245825 w 5245791"/>
              <a:gd name="connsiteY12" fmla="*/ 0 h 5153950"/>
              <a:gd name="connsiteX0" fmla="*/ 2166425 w 5166391"/>
              <a:gd name="connsiteY0" fmla="*/ 0 h 5143540"/>
              <a:gd name="connsiteX1" fmla="*/ 3154178 w 5166391"/>
              <a:gd name="connsiteY1" fmla="*/ 0 h 5143540"/>
              <a:gd name="connsiteX2" fmla="*/ 4423560 w 5166391"/>
              <a:gd name="connsiteY2" fmla="*/ 0 h 5143540"/>
              <a:gd name="connsiteX3" fmla="*/ 4447200 w 5166391"/>
              <a:gd name="connsiteY3" fmla="*/ 0 h 5143540"/>
              <a:gd name="connsiteX4" fmla="*/ 5024074 w 5166391"/>
              <a:gd name="connsiteY4" fmla="*/ 0 h 5143540"/>
              <a:gd name="connsiteX5" fmla="*/ 5166391 w 5166391"/>
              <a:gd name="connsiteY5" fmla="*/ 0 h 5143540"/>
              <a:gd name="connsiteX6" fmla="*/ 5166391 w 5166391"/>
              <a:gd name="connsiteY6" fmla="*/ 5143500 h 5143540"/>
              <a:gd name="connsiteX7" fmla="*/ 5024074 w 5166391"/>
              <a:gd name="connsiteY7" fmla="*/ 5143500 h 5143540"/>
              <a:gd name="connsiteX8" fmla="*/ 4447200 w 5166391"/>
              <a:gd name="connsiteY8" fmla="*/ 5143500 h 5143540"/>
              <a:gd name="connsiteX9" fmla="*/ 4423560 w 5166391"/>
              <a:gd name="connsiteY9" fmla="*/ 5143500 h 5143540"/>
              <a:gd name="connsiteX10" fmla="*/ 3154178 w 5166391"/>
              <a:gd name="connsiteY10" fmla="*/ 5143500 h 5143540"/>
              <a:gd name="connsiteX11" fmla="*/ 0 w 5166391"/>
              <a:gd name="connsiteY11" fmla="*/ 4930799 h 5143540"/>
              <a:gd name="connsiteX12" fmla="*/ 2166425 w 5166391"/>
              <a:gd name="connsiteY12" fmla="*/ 0 h 5143540"/>
              <a:gd name="connsiteX0" fmla="*/ 2166425 w 5166391"/>
              <a:gd name="connsiteY0" fmla="*/ 0 h 5143500"/>
              <a:gd name="connsiteX1" fmla="*/ 3154178 w 5166391"/>
              <a:gd name="connsiteY1" fmla="*/ 0 h 5143500"/>
              <a:gd name="connsiteX2" fmla="*/ 4423560 w 5166391"/>
              <a:gd name="connsiteY2" fmla="*/ 0 h 5143500"/>
              <a:gd name="connsiteX3" fmla="*/ 4447200 w 5166391"/>
              <a:gd name="connsiteY3" fmla="*/ 0 h 5143500"/>
              <a:gd name="connsiteX4" fmla="*/ 5024074 w 5166391"/>
              <a:gd name="connsiteY4" fmla="*/ 0 h 5143500"/>
              <a:gd name="connsiteX5" fmla="*/ 5166391 w 5166391"/>
              <a:gd name="connsiteY5" fmla="*/ 0 h 5143500"/>
              <a:gd name="connsiteX6" fmla="*/ 5166391 w 5166391"/>
              <a:gd name="connsiteY6" fmla="*/ 5143500 h 5143500"/>
              <a:gd name="connsiteX7" fmla="*/ 5024074 w 5166391"/>
              <a:gd name="connsiteY7" fmla="*/ 5143500 h 5143500"/>
              <a:gd name="connsiteX8" fmla="*/ 4447200 w 5166391"/>
              <a:gd name="connsiteY8" fmla="*/ 5143500 h 5143500"/>
              <a:gd name="connsiteX9" fmla="*/ 4423560 w 5166391"/>
              <a:gd name="connsiteY9" fmla="*/ 5143500 h 5143500"/>
              <a:gd name="connsiteX10" fmla="*/ 0 w 5166391"/>
              <a:gd name="connsiteY10" fmla="*/ 4930799 h 5143500"/>
              <a:gd name="connsiteX11" fmla="*/ 2166425 w 5166391"/>
              <a:gd name="connsiteY11" fmla="*/ 0 h 5143500"/>
              <a:gd name="connsiteX0" fmla="*/ 2166425 w 5166391"/>
              <a:gd name="connsiteY0" fmla="*/ 0 h 5143500"/>
              <a:gd name="connsiteX1" fmla="*/ 3154178 w 5166391"/>
              <a:gd name="connsiteY1" fmla="*/ 0 h 5143500"/>
              <a:gd name="connsiteX2" fmla="*/ 4423560 w 5166391"/>
              <a:gd name="connsiteY2" fmla="*/ 0 h 5143500"/>
              <a:gd name="connsiteX3" fmla="*/ 4447200 w 5166391"/>
              <a:gd name="connsiteY3" fmla="*/ 0 h 5143500"/>
              <a:gd name="connsiteX4" fmla="*/ 5024074 w 5166391"/>
              <a:gd name="connsiteY4" fmla="*/ 0 h 5143500"/>
              <a:gd name="connsiteX5" fmla="*/ 5166391 w 5166391"/>
              <a:gd name="connsiteY5" fmla="*/ 0 h 5143500"/>
              <a:gd name="connsiteX6" fmla="*/ 5166391 w 5166391"/>
              <a:gd name="connsiteY6" fmla="*/ 5143500 h 5143500"/>
              <a:gd name="connsiteX7" fmla="*/ 5024074 w 5166391"/>
              <a:gd name="connsiteY7" fmla="*/ 5143500 h 5143500"/>
              <a:gd name="connsiteX8" fmla="*/ 4447200 w 5166391"/>
              <a:gd name="connsiteY8" fmla="*/ 5143500 h 5143500"/>
              <a:gd name="connsiteX9" fmla="*/ 0 w 5166391"/>
              <a:gd name="connsiteY9" fmla="*/ 4930799 h 5143500"/>
              <a:gd name="connsiteX10" fmla="*/ 2166425 w 5166391"/>
              <a:gd name="connsiteY10" fmla="*/ 0 h 5143500"/>
              <a:gd name="connsiteX0" fmla="*/ 2166425 w 5166391"/>
              <a:gd name="connsiteY0" fmla="*/ 0 h 5143500"/>
              <a:gd name="connsiteX1" fmla="*/ 3154178 w 5166391"/>
              <a:gd name="connsiteY1" fmla="*/ 0 h 5143500"/>
              <a:gd name="connsiteX2" fmla="*/ 4423560 w 5166391"/>
              <a:gd name="connsiteY2" fmla="*/ 0 h 5143500"/>
              <a:gd name="connsiteX3" fmla="*/ 4447200 w 5166391"/>
              <a:gd name="connsiteY3" fmla="*/ 0 h 5143500"/>
              <a:gd name="connsiteX4" fmla="*/ 5024074 w 5166391"/>
              <a:gd name="connsiteY4" fmla="*/ 0 h 5143500"/>
              <a:gd name="connsiteX5" fmla="*/ 5166391 w 5166391"/>
              <a:gd name="connsiteY5" fmla="*/ 0 h 5143500"/>
              <a:gd name="connsiteX6" fmla="*/ 5166391 w 5166391"/>
              <a:gd name="connsiteY6" fmla="*/ 5143500 h 5143500"/>
              <a:gd name="connsiteX7" fmla="*/ 5024074 w 5166391"/>
              <a:gd name="connsiteY7" fmla="*/ 5143500 h 5143500"/>
              <a:gd name="connsiteX8" fmla="*/ 0 w 5166391"/>
              <a:gd name="connsiteY8" fmla="*/ 4930799 h 5143500"/>
              <a:gd name="connsiteX9" fmla="*/ 2166425 w 5166391"/>
              <a:gd name="connsiteY9" fmla="*/ 0 h 5143500"/>
              <a:gd name="connsiteX0" fmla="*/ 2166425 w 5166391"/>
              <a:gd name="connsiteY0" fmla="*/ 0 h 5143500"/>
              <a:gd name="connsiteX1" fmla="*/ 3154178 w 5166391"/>
              <a:gd name="connsiteY1" fmla="*/ 0 h 5143500"/>
              <a:gd name="connsiteX2" fmla="*/ 4423560 w 5166391"/>
              <a:gd name="connsiteY2" fmla="*/ 0 h 5143500"/>
              <a:gd name="connsiteX3" fmla="*/ 4447200 w 5166391"/>
              <a:gd name="connsiteY3" fmla="*/ 0 h 5143500"/>
              <a:gd name="connsiteX4" fmla="*/ 5024074 w 5166391"/>
              <a:gd name="connsiteY4" fmla="*/ 0 h 5143500"/>
              <a:gd name="connsiteX5" fmla="*/ 5166391 w 5166391"/>
              <a:gd name="connsiteY5" fmla="*/ 0 h 5143500"/>
              <a:gd name="connsiteX6" fmla="*/ 5166391 w 5166391"/>
              <a:gd name="connsiteY6" fmla="*/ 5143500 h 5143500"/>
              <a:gd name="connsiteX7" fmla="*/ 0 w 5166391"/>
              <a:gd name="connsiteY7" fmla="*/ 4930799 h 5143500"/>
              <a:gd name="connsiteX8" fmla="*/ 2166425 w 5166391"/>
              <a:gd name="connsiteY8" fmla="*/ 0 h 5143500"/>
              <a:gd name="connsiteX0" fmla="*/ 2166425 w 5166391"/>
              <a:gd name="connsiteY0" fmla="*/ 0 h 4930799"/>
              <a:gd name="connsiteX1" fmla="*/ 3154178 w 5166391"/>
              <a:gd name="connsiteY1" fmla="*/ 0 h 4930799"/>
              <a:gd name="connsiteX2" fmla="*/ 4423560 w 5166391"/>
              <a:gd name="connsiteY2" fmla="*/ 0 h 4930799"/>
              <a:gd name="connsiteX3" fmla="*/ 4447200 w 5166391"/>
              <a:gd name="connsiteY3" fmla="*/ 0 h 4930799"/>
              <a:gd name="connsiteX4" fmla="*/ 5024074 w 5166391"/>
              <a:gd name="connsiteY4" fmla="*/ 0 h 4930799"/>
              <a:gd name="connsiteX5" fmla="*/ 5166391 w 5166391"/>
              <a:gd name="connsiteY5" fmla="*/ 0 h 4930799"/>
              <a:gd name="connsiteX6" fmla="*/ 4417765 w 5166391"/>
              <a:gd name="connsiteY6" fmla="*/ 4920350 h 4930799"/>
              <a:gd name="connsiteX7" fmla="*/ 0 w 5166391"/>
              <a:gd name="connsiteY7" fmla="*/ 4930799 h 4930799"/>
              <a:gd name="connsiteX8" fmla="*/ 2166425 w 5166391"/>
              <a:gd name="connsiteY8" fmla="*/ 0 h 4930799"/>
              <a:gd name="connsiteX0" fmla="*/ 2166425 w 5166391"/>
              <a:gd name="connsiteY0" fmla="*/ 0 h 4930799"/>
              <a:gd name="connsiteX1" fmla="*/ 3154178 w 5166391"/>
              <a:gd name="connsiteY1" fmla="*/ 0 h 4930799"/>
              <a:gd name="connsiteX2" fmla="*/ 4423560 w 5166391"/>
              <a:gd name="connsiteY2" fmla="*/ 0 h 4930799"/>
              <a:gd name="connsiteX3" fmla="*/ 4447200 w 5166391"/>
              <a:gd name="connsiteY3" fmla="*/ 0 h 4930799"/>
              <a:gd name="connsiteX4" fmla="*/ 5166391 w 5166391"/>
              <a:gd name="connsiteY4" fmla="*/ 0 h 4930799"/>
              <a:gd name="connsiteX5" fmla="*/ 4417765 w 5166391"/>
              <a:gd name="connsiteY5" fmla="*/ 4920350 h 4930799"/>
              <a:gd name="connsiteX6" fmla="*/ 0 w 5166391"/>
              <a:gd name="connsiteY6" fmla="*/ 4930799 h 4930799"/>
              <a:gd name="connsiteX7" fmla="*/ 2166425 w 5166391"/>
              <a:gd name="connsiteY7" fmla="*/ 0 h 4930799"/>
              <a:gd name="connsiteX0" fmla="*/ 2166425 w 5166391"/>
              <a:gd name="connsiteY0" fmla="*/ 0 h 4930799"/>
              <a:gd name="connsiteX1" fmla="*/ 3154178 w 5166391"/>
              <a:gd name="connsiteY1" fmla="*/ 0 h 4930799"/>
              <a:gd name="connsiteX2" fmla="*/ 4423560 w 5166391"/>
              <a:gd name="connsiteY2" fmla="*/ 0 h 4930799"/>
              <a:gd name="connsiteX3" fmla="*/ 5166391 w 5166391"/>
              <a:gd name="connsiteY3" fmla="*/ 0 h 4930799"/>
              <a:gd name="connsiteX4" fmla="*/ 4417765 w 5166391"/>
              <a:gd name="connsiteY4" fmla="*/ 4920350 h 4930799"/>
              <a:gd name="connsiteX5" fmla="*/ 0 w 5166391"/>
              <a:gd name="connsiteY5" fmla="*/ 4930799 h 4930799"/>
              <a:gd name="connsiteX6" fmla="*/ 2166425 w 5166391"/>
              <a:gd name="connsiteY6" fmla="*/ 0 h 4930799"/>
              <a:gd name="connsiteX0" fmla="*/ 2166425 w 5166391"/>
              <a:gd name="connsiteY0" fmla="*/ 0 h 4930799"/>
              <a:gd name="connsiteX1" fmla="*/ 3154178 w 5166391"/>
              <a:gd name="connsiteY1" fmla="*/ 0 h 4930799"/>
              <a:gd name="connsiteX2" fmla="*/ 5166391 w 5166391"/>
              <a:gd name="connsiteY2" fmla="*/ 0 h 4930799"/>
              <a:gd name="connsiteX3" fmla="*/ 4417765 w 5166391"/>
              <a:gd name="connsiteY3" fmla="*/ 4920350 h 4930799"/>
              <a:gd name="connsiteX4" fmla="*/ 0 w 5166391"/>
              <a:gd name="connsiteY4" fmla="*/ 4930799 h 4930799"/>
              <a:gd name="connsiteX5" fmla="*/ 2166425 w 5166391"/>
              <a:gd name="connsiteY5" fmla="*/ 0 h 4930799"/>
              <a:gd name="connsiteX0" fmla="*/ 2166425 w 5166391"/>
              <a:gd name="connsiteY0" fmla="*/ 0 h 4930799"/>
              <a:gd name="connsiteX1" fmla="*/ 5166391 w 5166391"/>
              <a:gd name="connsiteY1" fmla="*/ 0 h 4930799"/>
              <a:gd name="connsiteX2" fmla="*/ 4417765 w 5166391"/>
              <a:gd name="connsiteY2" fmla="*/ 4920350 h 4930799"/>
              <a:gd name="connsiteX3" fmla="*/ 0 w 5166391"/>
              <a:gd name="connsiteY3" fmla="*/ 4930799 h 4930799"/>
              <a:gd name="connsiteX4" fmla="*/ 2166425 w 5166391"/>
              <a:gd name="connsiteY4" fmla="*/ 0 h 4930799"/>
              <a:gd name="connsiteX0" fmla="*/ 1939568 w 5166391"/>
              <a:gd name="connsiteY0" fmla="*/ 525998 h 4930799"/>
              <a:gd name="connsiteX1" fmla="*/ 5166391 w 5166391"/>
              <a:gd name="connsiteY1" fmla="*/ 0 h 4930799"/>
              <a:gd name="connsiteX2" fmla="*/ 4417765 w 5166391"/>
              <a:gd name="connsiteY2" fmla="*/ 4920350 h 4930799"/>
              <a:gd name="connsiteX3" fmla="*/ 0 w 5166391"/>
              <a:gd name="connsiteY3" fmla="*/ 4930799 h 4930799"/>
              <a:gd name="connsiteX4" fmla="*/ 1939568 w 5166391"/>
              <a:gd name="connsiteY4" fmla="*/ 525998 h 4930799"/>
              <a:gd name="connsiteX0" fmla="*/ 1939568 w 4440451"/>
              <a:gd name="connsiteY0" fmla="*/ 31879 h 4436680"/>
              <a:gd name="connsiteX1" fmla="*/ 4440451 w 4440451"/>
              <a:gd name="connsiteY1" fmla="*/ 0 h 4436680"/>
              <a:gd name="connsiteX2" fmla="*/ 4417765 w 4440451"/>
              <a:gd name="connsiteY2" fmla="*/ 4426231 h 4436680"/>
              <a:gd name="connsiteX3" fmla="*/ 0 w 4440451"/>
              <a:gd name="connsiteY3" fmla="*/ 4436680 h 4436680"/>
              <a:gd name="connsiteX4" fmla="*/ 1939568 w 4440451"/>
              <a:gd name="connsiteY4" fmla="*/ 31879 h 4436680"/>
              <a:gd name="connsiteX0" fmla="*/ 1939568 w 4451793"/>
              <a:gd name="connsiteY0" fmla="*/ 23909 h 4428710"/>
              <a:gd name="connsiteX1" fmla="*/ 4451793 w 4451793"/>
              <a:gd name="connsiteY1" fmla="*/ 0 h 4428710"/>
              <a:gd name="connsiteX2" fmla="*/ 4417765 w 4451793"/>
              <a:gd name="connsiteY2" fmla="*/ 4418261 h 4428710"/>
              <a:gd name="connsiteX3" fmla="*/ 0 w 4451793"/>
              <a:gd name="connsiteY3" fmla="*/ 4428710 h 4428710"/>
              <a:gd name="connsiteX4" fmla="*/ 1939568 w 4451793"/>
              <a:gd name="connsiteY4" fmla="*/ 23909 h 4428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1793" h="4428710">
                <a:moveTo>
                  <a:pt x="1939568" y="23909"/>
                </a:moveTo>
                <a:lnTo>
                  <a:pt x="4451793" y="0"/>
                </a:lnTo>
                <a:lnTo>
                  <a:pt x="4417765" y="4418261"/>
                </a:lnTo>
                <a:lnTo>
                  <a:pt x="0" y="4428710"/>
                </a:lnTo>
                <a:cubicBezTo>
                  <a:pt x="1025134" y="2115161"/>
                  <a:pt x="1136461" y="1877695"/>
                  <a:pt x="1939568" y="23909"/>
                </a:cubicBezTo>
                <a:close/>
              </a:path>
            </a:pathLst>
          </a:custGeom>
          <a:solidFill>
            <a:schemeClr val="tx1">
              <a:lumMod val="75000"/>
            </a:schemeClr>
          </a:solidFill>
          <a:ln w="19050">
            <a:noFill/>
          </a:ln>
        </p:spPr>
        <p:txBody>
          <a:bodyPr vert="horz" lIns="454941" tIns="37851" rIns="75702" bIns="72790" rtlCol="0" anchor="b">
            <a:noAutofit/>
          </a:bodyPr>
          <a:lstStyle/>
          <a:p>
            <a:pPr marL="273582" indent="-273582">
              <a:lnSpc>
                <a:spcPct val="90000"/>
              </a:lnSpc>
              <a:spcBef>
                <a:spcPts val="2400"/>
              </a:spcBef>
              <a:buClr>
                <a:schemeClr val="tx1"/>
              </a:buClr>
              <a:buFont typeface="Arial" pitchFamily="34" charset="0"/>
              <a:buChar char="•"/>
            </a:pPr>
            <a:endParaRPr lang="en-US" sz="1094" dirty="0">
              <a:solidFill>
                <a:schemeClr val="bg1"/>
              </a:solidFill>
              <a:latin typeface="Futura Std Medium" charset="0"/>
            </a:endParaRPr>
          </a:p>
        </p:txBody>
      </p:sp>
      <p:sp>
        <p:nvSpPr>
          <p:cNvPr id="4" name="Text Placeholder 3">
            <a:extLst>
              <a:ext uri="{FF2B5EF4-FFF2-40B4-BE49-F238E27FC236}">
                <a16:creationId xmlns:a16="http://schemas.microsoft.com/office/drawing/2014/main" id="{50C1A938-8E63-4487-8187-FD813DBAC40C}"/>
              </a:ext>
            </a:extLst>
          </p:cNvPr>
          <p:cNvSpPr>
            <a:spLocks noGrp="1"/>
          </p:cNvSpPr>
          <p:nvPr>
            <p:ph type="body" sz="quarter" idx="22"/>
          </p:nvPr>
        </p:nvSpPr>
        <p:spPr>
          <a:xfrm>
            <a:off x="4709159" y="1796903"/>
            <a:ext cx="6611687" cy="4529286"/>
          </a:xfrm>
        </p:spPr>
        <p:txBody>
          <a:bodyPr anchor="ctr" anchorCtr="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6">
            <a:extLst>
              <a:ext uri="{FF2B5EF4-FFF2-40B4-BE49-F238E27FC236}">
                <a16:creationId xmlns:a16="http://schemas.microsoft.com/office/drawing/2014/main" id="{20533E6B-B2D1-4333-A682-B289136FBB44}"/>
              </a:ext>
            </a:extLst>
          </p:cNvPr>
          <p:cNvSpPr txBox="1">
            <a:spLocks noChangeArrowheads="1"/>
          </p:cNvSpPr>
          <p:nvPr userDrawn="1"/>
        </p:nvSpPr>
        <p:spPr bwMode="auto">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cxnSp>
        <p:nvCxnSpPr>
          <p:cNvPr id="11" name="Straight Connector 10">
            <a:extLst>
              <a:ext uri="{FF2B5EF4-FFF2-40B4-BE49-F238E27FC236}">
                <a16:creationId xmlns:a16="http://schemas.microsoft.com/office/drawing/2014/main" id="{D18B9007-A17B-4620-8833-6AA9DF6B5E36}"/>
              </a:ext>
            </a:extLst>
          </p:cNvPr>
          <p:cNvCxnSpPr/>
          <p:nvPr userDrawn="1"/>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482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Title &amp; 1 Image w Fade">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1" y="1024137"/>
            <a:ext cx="12192001" cy="5833863"/>
          </a:xfrm>
          <a:gradFill>
            <a:gsLst>
              <a:gs pos="90000">
                <a:srgbClr val="FFFFFF">
                  <a:alpha val="25000"/>
                </a:srgbClr>
              </a:gs>
              <a:gs pos="75000">
                <a:srgbClr val="FFFFFF">
                  <a:alpha val="50000"/>
                </a:srgbClr>
              </a:gs>
              <a:gs pos="55000">
                <a:srgbClr val="FFFFFF">
                  <a:alpha val="90000"/>
                </a:srgbClr>
              </a:gs>
              <a:gs pos="35000">
                <a:schemeClr val="bg1"/>
              </a:gs>
            </a:gsLst>
            <a:lin ang="0" scaled="0"/>
          </a:gradFill>
        </p:spPr>
        <p:txBody>
          <a:bodyPr anchor="ctr"/>
          <a:lstStyle>
            <a:lvl1pPr marL="0" indent="0" algn="ctr">
              <a:buNone/>
              <a:defRPr>
                <a:solidFill>
                  <a:schemeClr val="tx1"/>
                </a:solidFill>
                <a:latin typeface="+mn-lt"/>
              </a:defRPr>
            </a:lvl1pPr>
          </a:lstStyle>
          <a:p>
            <a:r>
              <a:rPr lang="en-US" dirty="0"/>
              <a:t>Click icon to add picture</a:t>
            </a:r>
          </a:p>
        </p:txBody>
      </p:sp>
      <p:pic>
        <p:nvPicPr>
          <p:cNvPr id="13" name="Picture 12">
            <a:extLst>
              <a:ext uri="{FF2B5EF4-FFF2-40B4-BE49-F238E27FC236}">
                <a16:creationId xmlns:a16="http://schemas.microsoft.com/office/drawing/2014/main" id="{C7B7014C-EB32-49CA-8640-A8673EB040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3" name="Title 2">
            <a:extLst>
              <a:ext uri="{FF2B5EF4-FFF2-40B4-BE49-F238E27FC236}">
                <a16:creationId xmlns:a16="http://schemas.microsoft.com/office/drawing/2014/main" id="{ABE382D4-3AC2-49F9-B25C-6147C6B70C02}"/>
              </a:ext>
            </a:extLst>
          </p:cNvPr>
          <p:cNvSpPr>
            <a:spLocks noGrp="1"/>
          </p:cNvSpPr>
          <p:nvPr>
            <p:ph type="title" hasCustomPrompt="1"/>
          </p:nvPr>
        </p:nvSpPr>
        <p:spPr/>
        <p:txBody>
          <a:bodyPr/>
          <a:lstStyle>
            <a:lvl1pPr>
              <a:defRPr/>
            </a:lvl1pPr>
          </a:lstStyle>
          <a:p>
            <a:r>
              <a:rPr lang="en-US"/>
              <a:t>Click to ADD TITLE</a:t>
            </a:r>
          </a:p>
        </p:txBody>
      </p:sp>
      <p:sp>
        <p:nvSpPr>
          <p:cNvPr id="4" name="Text Placeholder 3">
            <a:extLst>
              <a:ext uri="{FF2B5EF4-FFF2-40B4-BE49-F238E27FC236}">
                <a16:creationId xmlns:a16="http://schemas.microsoft.com/office/drawing/2014/main" id="{D29060FD-C0D9-47F4-9B9F-A1485FB0673D}"/>
              </a:ext>
            </a:extLst>
          </p:cNvPr>
          <p:cNvSpPr>
            <a:spLocks noGrp="1"/>
          </p:cNvSpPr>
          <p:nvPr>
            <p:ph type="body" sz="quarter" idx="22" hasCustomPrompt="1"/>
          </p:nvPr>
        </p:nvSpPr>
        <p:spPr>
          <a:xfrm>
            <a:off x="0" y="1024128"/>
            <a:ext cx="5742432" cy="5833872"/>
          </a:xfrm>
          <a:gradFill>
            <a:gsLst>
              <a:gs pos="100000">
                <a:schemeClr val="bg1">
                  <a:alpha val="0"/>
                </a:schemeClr>
              </a:gs>
              <a:gs pos="90000">
                <a:srgbClr val="FFFFFF">
                  <a:alpha val="25000"/>
                </a:srgbClr>
              </a:gs>
              <a:gs pos="75000">
                <a:srgbClr val="FFFFFF">
                  <a:alpha val="50000"/>
                </a:srgbClr>
              </a:gs>
              <a:gs pos="55000">
                <a:srgbClr val="FFFFFF">
                  <a:alpha val="90000"/>
                </a:srgbClr>
              </a:gs>
              <a:gs pos="35000">
                <a:schemeClr val="bg1"/>
              </a:gs>
            </a:gsLst>
          </a:gradFill>
        </p:spPr>
        <p:txBody>
          <a:bodyPr vert="horz" lIns="0" tIns="0" rIns="0" bIns="0" rtlCol="0">
            <a:noAutofit/>
          </a:bodyPr>
          <a:lstStyle>
            <a:lvl1pPr marL="273582" indent="-273582">
              <a:buClr>
                <a:schemeClr val="bg1"/>
              </a:buClr>
              <a:buFont typeface="Arial" panose="020B0604020202020204" pitchFamily="34" charset="0"/>
              <a:buChar char="•"/>
              <a:defRPr lang="en-US" dirty="0">
                <a:solidFill>
                  <a:schemeClr val="bg1"/>
                </a:solidFill>
              </a:defRPr>
            </a:lvl1pPr>
            <a:lvl2pPr>
              <a:defRPr lang="en-US" dirty="0"/>
            </a:lvl2pPr>
          </a:lstStyle>
          <a:p>
            <a:pPr marL="0" lvl="0" indent="0">
              <a:buClr>
                <a:schemeClr val="bg1"/>
              </a:buClr>
              <a:buNone/>
            </a:pPr>
            <a:r>
              <a:rPr lang="en-US" dirty="0"/>
              <a:t> </a:t>
            </a:r>
          </a:p>
        </p:txBody>
      </p:sp>
      <p:sp>
        <p:nvSpPr>
          <p:cNvPr id="8" name="Text Placeholder 4">
            <a:extLst>
              <a:ext uri="{FF2B5EF4-FFF2-40B4-BE49-F238E27FC236}">
                <a16:creationId xmlns:a16="http://schemas.microsoft.com/office/drawing/2014/main" id="{5E29014A-1667-4104-A12B-5AC4AEA177A3}"/>
              </a:ext>
            </a:extLst>
          </p:cNvPr>
          <p:cNvSpPr>
            <a:spLocks noGrp="1"/>
          </p:cNvSpPr>
          <p:nvPr>
            <p:ph type="body" sz="quarter" idx="17"/>
          </p:nvPr>
        </p:nvSpPr>
        <p:spPr>
          <a:xfrm>
            <a:off x="424870" y="1720312"/>
            <a:ext cx="5169106" cy="4420512"/>
          </a:xfrm>
        </p:spPr>
        <p:txBody>
          <a:bodyPr vert="horz" lIns="0" tIns="0" rIns="0" bIns="0" rtlCol="0" anchor="ctr" anchorCtr="0">
            <a:noAutofit/>
          </a:bodyPr>
          <a:lstStyle>
            <a:lvl1pPr>
              <a:defRPr lang="en-US" dirty="0"/>
            </a:lvl1pPr>
          </a:lstStyle>
          <a:p>
            <a:pPr lvl="0"/>
            <a:endParaRPr lang="en-US" dirty="0"/>
          </a:p>
        </p:txBody>
      </p:sp>
      <p:cxnSp>
        <p:nvCxnSpPr>
          <p:cNvPr id="9" name="Straight Connector 8">
            <a:extLst>
              <a:ext uri="{FF2B5EF4-FFF2-40B4-BE49-F238E27FC236}">
                <a16:creationId xmlns:a16="http://schemas.microsoft.com/office/drawing/2014/main" id="{B80151B9-AB40-4A0C-B4C6-C6086FB1E7D3}"/>
              </a:ext>
            </a:extLst>
          </p:cNvPr>
          <p:cNvCxnSpPr/>
          <p:nvPr userDrawn="1"/>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413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itle &amp; 1 Image">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3047" y="1024137"/>
            <a:ext cx="12188953" cy="5833863"/>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9" name="Text Placeholder 33"/>
          <p:cNvSpPr>
            <a:spLocks noGrp="1"/>
          </p:cNvSpPr>
          <p:nvPr>
            <p:ph type="body" sz="quarter" idx="18" hasCustomPrompt="1"/>
          </p:nvPr>
        </p:nvSpPr>
        <p:spPr>
          <a:xfrm>
            <a:off x="420624" y="5239512"/>
            <a:ext cx="11338560" cy="1005840"/>
          </a:xfrm>
          <a:prstGeom prst="parallelogram">
            <a:avLst>
              <a:gd name="adj" fmla="val 30051"/>
            </a:avLst>
          </a:prstGeom>
          <a:solidFill>
            <a:schemeClr val="tx1">
              <a:lumMod val="75000"/>
              <a:alpha val="90000"/>
            </a:schemeClr>
          </a:solidFill>
          <a:ln w="19050">
            <a:noFill/>
          </a:ln>
        </p:spPr>
        <p:txBody>
          <a:bodyPr vert="horz" lIns="454941" tIns="37851" rIns="75702" bIns="72790" rtlCol="0" anchor="b">
            <a:noAutofit/>
          </a:bodyPr>
          <a:lstStyle>
            <a:lvl1pPr>
              <a:defRPr lang="en-US" sz="1094" dirty="0">
                <a:solidFill>
                  <a:schemeClr val="bg1"/>
                </a:solidFill>
                <a:latin typeface="Futura Std Medium" charset="0"/>
              </a:defRPr>
            </a:lvl1pPr>
          </a:lstStyle>
          <a:p>
            <a:pPr lvl="0"/>
            <a:r>
              <a:rPr lang="en-US" dirty="0"/>
              <a:t> </a:t>
            </a:r>
          </a:p>
        </p:txBody>
      </p:sp>
      <p:pic>
        <p:nvPicPr>
          <p:cNvPr id="13" name="Picture 12">
            <a:extLst>
              <a:ext uri="{FF2B5EF4-FFF2-40B4-BE49-F238E27FC236}">
                <a16:creationId xmlns:a16="http://schemas.microsoft.com/office/drawing/2014/main" id="{C7B7014C-EB32-49CA-8640-A8673EB040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10" name="Text Placeholder 27"/>
          <p:cNvSpPr>
            <a:spLocks noGrp="1"/>
          </p:cNvSpPr>
          <p:nvPr>
            <p:ph type="body" sz="quarter" idx="15" hasCustomPrompt="1"/>
          </p:nvPr>
        </p:nvSpPr>
        <p:spPr bwMode="gray">
          <a:xfrm>
            <a:off x="777071" y="5422392"/>
            <a:ext cx="10625667" cy="640080"/>
          </a:xfrm>
        </p:spPr>
        <p:txBody>
          <a:bodyPr anchor="ctr" anchorCtr="0">
            <a:noAutofit/>
          </a:bodyPr>
          <a:lstStyle>
            <a:lvl1pPr marL="0" indent="0" algn="ctr">
              <a:lnSpc>
                <a:spcPct val="90000"/>
              </a:lnSpc>
              <a:spcBef>
                <a:spcPts val="0"/>
              </a:spcBef>
              <a:buNone/>
              <a:defRPr sz="3200" cap="none" baseline="0">
                <a:solidFill>
                  <a:schemeClr val="bg1"/>
                </a:solidFill>
              </a:defRPr>
            </a:lvl1pPr>
          </a:lstStyle>
          <a:p>
            <a:pPr lvl="0"/>
            <a:r>
              <a:rPr lang="en-US" dirty="0"/>
              <a:t>Click to add text</a:t>
            </a:r>
          </a:p>
        </p:txBody>
      </p:sp>
      <p:sp>
        <p:nvSpPr>
          <p:cNvPr id="3" name="Title 2">
            <a:extLst>
              <a:ext uri="{FF2B5EF4-FFF2-40B4-BE49-F238E27FC236}">
                <a16:creationId xmlns:a16="http://schemas.microsoft.com/office/drawing/2014/main" id="{CD86BA76-D03A-447D-93D3-568F9DCEBFC4}"/>
              </a:ext>
            </a:extLst>
          </p:cNvPr>
          <p:cNvSpPr>
            <a:spLocks noGrp="1"/>
          </p:cNvSpPr>
          <p:nvPr>
            <p:ph type="title" hasCustomPrompt="1"/>
          </p:nvPr>
        </p:nvSpPr>
        <p:spPr/>
        <p:txBody>
          <a:bodyPr/>
          <a:lstStyle>
            <a:lvl1pPr>
              <a:defRPr/>
            </a:lvl1pPr>
          </a:lstStyle>
          <a:p>
            <a:r>
              <a:rPr lang="en-US"/>
              <a:t>Click to ADD TITLE</a:t>
            </a:r>
          </a:p>
        </p:txBody>
      </p:sp>
      <p:cxnSp>
        <p:nvCxnSpPr>
          <p:cNvPr id="11" name="Straight Connector 10">
            <a:extLst>
              <a:ext uri="{FF2B5EF4-FFF2-40B4-BE49-F238E27FC236}">
                <a16:creationId xmlns:a16="http://schemas.microsoft.com/office/drawing/2014/main" id="{6073180F-9071-4DD9-B8DE-15742A0899AE}"/>
              </a:ext>
            </a:extLst>
          </p:cNvPr>
          <p:cNvCxnSpPr/>
          <p:nvPr userDrawn="1"/>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873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Title &amp; 2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3047" y="1024137"/>
            <a:ext cx="6081233" cy="5833863"/>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6" name="Picture Placeholder 6"/>
          <p:cNvSpPr>
            <a:spLocks noGrp="1"/>
          </p:cNvSpPr>
          <p:nvPr>
            <p:ph type="pic" sz="quarter" idx="13"/>
          </p:nvPr>
        </p:nvSpPr>
        <p:spPr>
          <a:xfrm>
            <a:off x="6111240" y="1024137"/>
            <a:ext cx="6080760" cy="5833863"/>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9" name="Text Placeholder 33"/>
          <p:cNvSpPr>
            <a:spLocks noGrp="1"/>
          </p:cNvSpPr>
          <p:nvPr>
            <p:ph type="body" sz="quarter" idx="18" hasCustomPrompt="1"/>
          </p:nvPr>
        </p:nvSpPr>
        <p:spPr>
          <a:xfrm>
            <a:off x="420624" y="5239512"/>
            <a:ext cx="11338560" cy="1005840"/>
          </a:xfrm>
          <a:prstGeom prst="parallelogram">
            <a:avLst>
              <a:gd name="adj" fmla="val 30051"/>
            </a:avLst>
          </a:prstGeom>
          <a:solidFill>
            <a:schemeClr val="tx1">
              <a:lumMod val="75000"/>
              <a:alpha val="90000"/>
            </a:schemeClr>
          </a:solidFill>
          <a:ln w="19050">
            <a:noFill/>
          </a:ln>
        </p:spPr>
        <p:txBody>
          <a:bodyPr vert="horz" lIns="454941" tIns="37851" rIns="75702" bIns="72790" rtlCol="0" anchor="b">
            <a:noAutofit/>
          </a:bodyPr>
          <a:lstStyle>
            <a:lvl1pPr>
              <a:defRPr lang="en-US" sz="1094" dirty="0">
                <a:solidFill>
                  <a:schemeClr val="bg1"/>
                </a:solidFill>
                <a:latin typeface="Futura Std Medium" charset="0"/>
              </a:defRPr>
            </a:lvl1pPr>
          </a:lstStyle>
          <a:p>
            <a:pPr lvl="0"/>
            <a:r>
              <a:rPr lang="en-US" dirty="0"/>
              <a:t> </a:t>
            </a:r>
          </a:p>
        </p:txBody>
      </p:sp>
      <p:pic>
        <p:nvPicPr>
          <p:cNvPr id="13" name="Picture 12">
            <a:extLst>
              <a:ext uri="{FF2B5EF4-FFF2-40B4-BE49-F238E27FC236}">
                <a16:creationId xmlns:a16="http://schemas.microsoft.com/office/drawing/2014/main" id="{C7B7014C-EB32-49CA-8640-A8673EB040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14" name="Text Placeholder 2"/>
          <p:cNvSpPr>
            <a:spLocks noGrp="1"/>
          </p:cNvSpPr>
          <p:nvPr>
            <p:ph type="body" sz="quarter" idx="19" hasCustomPrompt="1"/>
          </p:nvPr>
        </p:nvSpPr>
        <p:spPr>
          <a:xfrm>
            <a:off x="6073141" y="1024136"/>
            <a:ext cx="45719" cy="5852160"/>
          </a:xfrm>
          <a:solidFill>
            <a:srgbClr val="465050"/>
          </a:solidFill>
        </p:spPr>
        <p:txBody>
          <a:bodyPr vert="horz" lIns="0" tIns="0" rIns="0" bIns="0" rtlCol="0">
            <a:noAutofit/>
          </a:bodyPr>
          <a:lstStyle>
            <a:lvl1pPr>
              <a:defRPr lang="en-US" sz="100" baseline="0" dirty="0"/>
            </a:lvl1pPr>
          </a:lstStyle>
          <a:p>
            <a:pPr marL="0" lvl="0" indent="0">
              <a:buNone/>
            </a:pPr>
            <a:r>
              <a:rPr lang="en-US" dirty="0"/>
              <a:t> </a:t>
            </a:r>
          </a:p>
        </p:txBody>
      </p:sp>
      <p:sp>
        <p:nvSpPr>
          <p:cNvPr id="10" name="Text Placeholder 27"/>
          <p:cNvSpPr>
            <a:spLocks noGrp="1"/>
          </p:cNvSpPr>
          <p:nvPr>
            <p:ph type="body" sz="quarter" idx="15" hasCustomPrompt="1"/>
          </p:nvPr>
        </p:nvSpPr>
        <p:spPr bwMode="gray">
          <a:xfrm>
            <a:off x="778932" y="5513832"/>
            <a:ext cx="5120640" cy="457200"/>
          </a:xfrm>
        </p:spPr>
        <p:txBody>
          <a:bodyPr anchor="ctr" anchorCtr="0">
            <a:noAutofit/>
          </a:bodyPr>
          <a:lstStyle>
            <a:lvl1pPr marL="0" indent="0" algn="ctr">
              <a:lnSpc>
                <a:spcPct val="90000"/>
              </a:lnSpc>
              <a:spcBef>
                <a:spcPts val="0"/>
              </a:spcBef>
              <a:buNone/>
              <a:defRPr sz="2800" cap="none" baseline="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289224" y="5513832"/>
            <a:ext cx="5120640" cy="457200"/>
          </a:xfrm>
        </p:spPr>
        <p:txBody>
          <a:bodyPr anchor="ctr" anchorCtr="0">
            <a:noAutofit/>
          </a:bodyPr>
          <a:lstStyle>
            <a:lvl1pPr marL="0" indent="0" algn="ctr">
              <a:lnSpc>
                <a:spcPct val="90000"/>
              </a:lnSpc>
              <a:spcBef>
                <a:spcPts val="0"/>
              </a:spcBef>
              <a:buNone/>
              <a:defRPr sz="2800" cap="none" baseline="0">
                <a:solidFill>
                  <a:schemeClr val="bg1"/>
                </a:solidFill>
              </a:defRPr>
            </a:lvl1pPr>
          </a:lstStyle>
          <a:p>
            <a:pPr lvl="0"/>
            <a:r>
              <a:rPr lang="en-US" dirty="0"/>
              <a:t>Click to add text</a:t>
            </a:r>
          </a:p>
        </p:txBody>
      </p:sp>
      <p:sp>
        <p:nvSpPr>
          <p:cNvPr id="3" name="Title 2">
            <a:extLst>
              <a:ext uri="{FF2B5EF4-FFF2-40B4-BE49-F238E27FC236}">
                <a16:creationId xmlns:a16="http://schemas.microsoft.com/office/drawing/2014/main" id="{51EFC05F-2B7B-4BAD-A295-538AB9F888EA}"/>
              </a:ext>
            </a:extLst>
          </p:cNvPr>
          <p:cNvSpPr>
            <a:spLocks noGrp="1"/>
          </p:cNvSpPr>
          <p:nvPr>
            <p:ph type="title" hasCustomPrompt="1"/>
          </p:nvPr>
        </p:nvSpPr>
        <p:spPr/>
        <p:txBody>
          <a:bodyPr/>
          <a:lstStyle>
            <a:lvl1pPr>
              <a:defRPr/>
            </a:lvl1pPr>
          </a:lstStyle>
          <a:p>
            <a:r>
              <a:rPr lang="en-US"/>
              <a:t>Click to ADD TITLE</a:t>
            </a:r>
          </a:p>
        </p:txBody>
      </p:sp>
      <p:cxnSp>
        <p:nvCxnSpPr>
          <p:cNvPr id="12" name="Straight Connector 11">
            <a:extLst>
              <a:ext uri="{FF2B5EF4-FFF2-40B4-BE49-F238E27FC236}">
                <a16:creationId xmlns:a16="http://schemas.microsoft.com/office/drawing/2014/main" id="{3943D539-707E-4EA6-AAC4-13B449A2E3E1}"/>
              </a:ext>
            </a:extLst>
          </p:cNvPr>
          <p:cNvCxnSpPr/>
          <p:nvPr userDrawn="1"/>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298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Title &amp; 3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1024128"/>
            <a:ext cx="4114800" cy="583387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5" name="Picture Placeholder 25"/>
          <p:cNvSpPr>
            <a:spLocks noGrp="1"/>
          </p:cNvSpPr>
          <p:nvPr>
            <p:ph type="pic" sz="quarter" idx="14"/>
          </p:nvPr>
        </p:nvSpPr>
        <p:spPr>
          <a:xfrm>
            <a:off x="8077200" y="1024128"/>
            <a:ext cx="4114800" cy="583387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6" name="Picture Placeholder 6"/>
          <p:cNvSpPr>
            <a:spLocks noGrp="1"/>
          </p:cNvSpPr>
          <p:nvPr>
            <p:ph type="pic" sz="quarter" idx="13"/>
          </p:nvPr>
        </p:nvSpPr>
        <p:spPr>
          <a:xfrm>
            <a:off x="4124192" y="1024128"/>
            <a:ext cx="3931920" cy="583387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16" name="Text Placeholder 33"/>
          <p:cNvSpPr>
            <a:spLocks noGrp="1"/>
          </p:cNvSpPr>
          <p:nvPr>
            <p:ph type="body" sz="quarter" idx="18" hasCustomPrompt="1"/>
          </p:nvPr>
        </p:nvSpPr>
        <p:spPr>
          <a:xfrm>
            <a:off x="420624" y="5239512"/>
            <a:ext cx="11338560" cy="1005840"/>
          </a:xfrm>
          <a:prstGeom prst="parallelogram">
            <a:avLst>
              <a:gd name="adj" fmla="val 30682"/>
            </a:avLst>
          </a:prstGeom>
          <a:solidFill>
            <a:schemeClr val="tx1">
              <a:lumMod val="75000"/>
              <a:alpha val="90000"/>
            </a:schemeClr>
          </a:solidFill>
          <a:ln w="19050">
            <a:noFill/>
          </a:ln>
        </p:spPr>
        <p:txBody>
          <a:bodyPr vert="horz" lIns="454941" tIns="37851" rIns="75702" bIns="72790" rtlCol="0" anchor="b">
            <a:noAutofit/>
          </a:bodyPr>
          <a:lstStyle>
            <a:lvl1pPr>
              <a:defRPr lang="en-US" sz="1094" dirty="0">
                <a:solidFill>
                  <a:schemeClr val="bg1"/>
                </a:solidFill>
                <a:latin typeface="Futura Std Medium" charset="0"/>
              </a:defRPr>
            </a:lvl1pPr>
          </a:lstStyle>
          <a:p>
            <a:pPr lvl="0"/>
            <a:r>
              <a:rPr lang="en-US" dirty="0"/>
              <a:t> </a:t>
            </a:r>
          </a:p>
        </p:txBody>
      </p:sp>
      <p:sp>
        <p:nvSpPr>
          <p:cNvPr id="10" name="Text Placeholder 27"/>
          <p:cNvSpPr>
            <a:spLocks noGrp="1"/>
          </p:cNvSpPr>
          <p:nvPr>
            <p:ph type="body" sz="quarter" idx="15" hasCustomPrompt="1"/>
          </p:nvPr>
        </p:nvSpPr>
        <p:spPr bwMode="gray">
          <a:xfrm>
            <a:off x="804332" y="5513832"/>
            <a:ext cx="3108960" cy="457200"/>
          </a:xfrm>
        </p:spPr>
        <p:txBody>
          <a:bodyPr anchor="ctr" anchorCtr="0">
            <a:noAutofit/>
          </a:bodyPr>
          <a:lstStyle>
            <a:lvl1pPr marL="0" indent="0" algn="ctr">
              <a:lnSpc>
                <a:spcPct val="90000"/>
              </a:lnSpc>
              <a:spcBef>
                <a:spcPts val="0"/>
              </a:spcBef>
              <a:buNone/>
              <a:defRPr sz="2400" cap="none" baseline="0">
                <a:solidFill>
                  <a:schemeClr val="bg1"/>
                </a:solidFill>
              </a:defRPr>
            </a:lvl1pPr>
          </a:lstStyle>
          <a:p>
            <a:pPr lvl="0"/>
            <a:r>
              <a:rPr lang="en-US"/>
              <a:t>Click To Add Text</a:t>
            </a:r>
            <a:endParaRPr lang="en-US" dirty="0"/>
          </a:p>
        </p:txBody>
      </p:sp>
      <p:sp>
        <p:nvSpPr>
          <p:cNvPr id="11" name="Text Placeholder 29"/>
          <p:cNvSpPr>
            <a:spLocks noGrp="1"/>
          </p:cNvSpPr>
          <p:nvPr>
            <p:ph type="body" sz="quarter" idx="16" hasCustomPrompt="1"/>
          </p:nvPr>
        </p:nvSpPr>
        <p:spPr bwMode="gray">
          <a:xfrm>
            <a:off x="4444951" y="5513832"/>
            <a:ext cx="3291840" cy="457200"/>
          </a:xfrm>
        </p:spPr>
        <p:txBody>
          <a:bodyPr anchor="ctr" anchorCtr="0">
            <a:noAutofit/>
          </a:bodyPr>
          <a:lstStyle>
            <a:lvl1pPr marL="0" indent="0" algn="ctr">
              <a:lnSpc>
                <a:spcPct val="90000"/>
              </a:lnSpc>
              <a:spcBef>
                <a:spcPts val="0"/>
              </a:spcBef>
              <a:buNone/>
              <a:defRPr sz="2400" cap="none" baseline="0">
                <a:solidFill>
                  <a:schemeClr val="bg1"/>
                </a:solidFill>
              </a:defRPr>
            </a:lvl1pPr>
          </a:lstStyle>
          <a:p>
            <a:pPr lvl="0"/>
            <a:r>
              <a:rPr lang="en-US"/>
              <a:t>Click To Add Text</a:t>
            </a:r>
            <a:endParaRPr lang="en-US" dirty="0"/>
          </a:p>
        </p:txBody>
      </p:sp>
      <p:sp>
        <p:nvSpPr>
          <p:cNvPr id="13" name="Text Placeholder 31"/>
          <p:cNvSpPr>
            <a:spLocks noGrp="1"/>
          </p:cNvSpPr>
          <p:nvPr>
            <p:ph type="body" sz="quarter" idx="17" hasCustomPrompt="1"/>
          </p:nvPr>
        </p:nvSpPr>
        <p:spPr bwMode="gray">
          <a:xfrm>
            <a:off x="8270598" y="5513832"/>
            <a:ext cx="3108960" cy="457200"/>
          </a:xfrm>
        </p:spPr>
        <p:txBody>
          <a:bodyPr anchor="ctr" anchorCtr="0">
            <a:noAutofit/>
          </a:bodyPr>
          <a:lstStyle>
            <a:lvl1pPr marL="0" indent="0" algn="ctr">
              <a:lnSpc>
                <a:spcPct val="90000"/>
              </a:lnSpc>
              <a:spcBef>
                <a:spcPts val="0"/>
              </a:spcBef>
              <a:buNone/>
              <a:defRPr sz="2400" cap="none" baseline="0">
                <a:solidFill>
                  <a:schemeClr val="bg1"/>
                </a:solidFill>
              </a:defRPr>
            </a:lvl1pPr>
          </a:lstStyle>
          <a:p>
            <a:pPr lvl="0"/>
            <a:r>
              <a:rPr lang="en-US"/>
              <a:t>Click To Add Text</a:t>
            </a:r>
            <a:endParaRPr lang="en-US" dirty="0"/>
          </a:p>
        </p:txBody>
      </p:sp>
      <p:sp>
        <p:nvSpPr>
          <p:cNvPr id="14" name="Text Placeholder 2"/>
          <p:cNvSpPr>
            <a:spLocks noGrp="1"/>
          </p:cNvSpPr>
          <p:nvPr>
            <p:ph type="body" sz="quarter" idx="19" hasCustomPrompt="1"/>
          </p:nvPr>
        </p:nvSpPr>
        <p:spPr>
          <a:xfrm>
            <a:off x="4091862" y="1024128"/>
            <a:ext cx="45719" cy="5852160"/>
          </a:xfrm>
          <a:solidFill>
            <a:srgbClr val="465050"/>
          </a:solidFill>
        </p:spPr>
        <p:txBody>
          <a:bodyPr vert="horz" lIns="0" tIns="0" rIns="0" bIns="0" rtlCol="0">
            <a:noAutofit/>
          </a:bodyPr>
          <a:lstStyle>
            <a:lvl1pPr>
              <a:defRPr lang="en-US" sz="100" baseline="0" dirty="0"/>
            </a:lvl1pPr>
          </a:lstStyle>
          <a:p>
            <a:pPr marL="0" lvl="0" indent="0">
              <a:buNone/>
            </a:pPr>
            <a:r>
              <a:rPr lang="en-US" dirty="0"/>
              <a:t> </a:t>
            </a:r>
          </a:p>
        </p:txBody>
      </p:sp>
      <p:sp>
        <p:nvSpPr>
          <p:cNvPr id="15" name="Text Placeholder 10"/>
          <p:cNvSpPr>
            <a:spLocks noGrp="1"/>
          </p:cNvSpPr>
          <p:nvPr>
            <p:ph type="body" sz="quarter" idx="20" hasCustomPrompt="1"/>
          </p:nvPr>
        </p:nvSpPr>
        <p:spPr>
          <a:xfrm>
            <a:off x="8042723" y="1024128"/>
            <a:ext cx="47866" cy="5852160"/>
          </a:xfrm>
          <a:solidFill>
            <a:srgbClr val="465050"/>
          </a:solidFill>
        </p:spPr>
        <p:txBody>
          <a:bodyPr vert="horz" lIns="0" tIns="0" rIns="0" bIns="0" rtlCol="0">
            <a:noAutofit/>
          </a:bodyPr>
          <a:lstStyle>
            <a:lvl1pPr>
              <a:defRPr lang="en-US" sz="100" baseline="0" dirty="0"/>
            </a:lvl1pPr>
          </a:lstStyle>
          <a:p>
            <a:pPr marL="0" lvl="0" indent="0">
              <a:buNone/>
            </a:pPr>
            <a:r>
              <a:rPr lang="en-US" dirty="0"/>
              <a:t> </a:t>
            </a:r>
          </a:p>
        </p:txBody>
      </p:sp>
      <p:pic>
        <p:nvPicPr>
          <p:cNvPr id="17" name="Picture 16">
            <a:extLst>
              <a:ext uri="{FF2B5EF4-FFF2-40B4-BE49-F238E27FC236}">
                <a16:creationId xmlns:a16="http://schemas.microsoft.com/office/drawing/2014/main" id="{64B10EDE-2F38-4F07-805A-27611CDDC7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3" name="Title 2">
            <a:extLst>
              <a:ext uri="{FF2B5EF4-FFF2-40B4-BE49-F238E27FC236}">
                <a16:creationId xmlns:a16="http://schemas.microsoft.com/office/drawing/2014/main" id="{151FE5D1-51EB-4B07-8D1E-65BD37C8B29D}"/>
              </a:ext>
            </a:extLst>
          </p:cNvPr>
          <p:cNvSpPr>
            <a:spLocks noGrp="1"/>
          </p:cNvSpPr>
          <p:nvPr>
            <p:ph type="title" hasCustomPrompt="1"/>
          </p:nvPr>
        </p:nvSpPr>
        <p:spPr/>
        <p:txBody>
          <a:bodyPr/>
          <a:lstStyle>
            <a:lvl1pPr>
              <a:defRPr/>
            </a:lvl1pPr>
          </a:lstStyle>
          <a:p>
            <a:r>
              <a:rPr lang="en-US"/>
              <a:t>Click to ADD TITLE</a:t>
            </a:r>
          </a:p>
        </p:txBody>
      </p:sp>
      <p:cxnSp>
        <p:nvCxnSpPr>
          <p:cNvPr id="18" name="Straight Connector 17">
            <a:extLst>
              <a:ext uri="{FF2B5EF4-FFF2-40B4-BE49-F238E27FC236}">
                <a16:creationId xmlns:a16="http://schemas.microsoft.com/office/drawing/2014/main" id="{06EA9A7C-A7A8-40E9-9E64-EA867BAEF1E4}"/>
              </a:ext>
            </a:extLst>
          </p:cNvPr>
          <p:cNvCxnSpPr/>
          <p:nvPr userDrawn="1"/>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819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amp; 4 Images">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41E98210-3B61-406A-92F0-0EA102D53068}"/>
              </a:ext>
            </a:extLst>
          </p:cNvPr>
          <p:cNvSpPr>
            <a:spLocks noGrp="1"/>
          </p:cNvSpPr>
          <p:nvPr>
            <p:ph type="pic" sz="quarter" idx="25"/>
          </p:nvPr>
        </p:nvSpPr>
        <p:spPr>
          <a:xfrm>
            <a:off x="9155113" y="1024128"/>
            <a:ext cx="3036887" cy="5833872"/>
          </a:xfrm>
        </p:spPr>
        <p:txBody>
          <a:bodyPr anchor="ctr" anchorCtr="0"/>
          <a:lstStyle>
            <a:lvl1pPr marL="0" indent="0" algn="ctr">
              <a:buFontTx/>
              <a:buNone/>
              <a:defRPr/>
            </a:lvl1pPr>
          </a:lstStyle>
          <a:p>
            <a:r>
              <a:rPr lang="en-US"/>
              <a:t>Click icon to add picture</a:t>
            </a:r>
          </a:p>
        </p:txBody>
      </p:sp>
      <p:sp>
        <p:nvSpPr>
          <p:cNvPr id="7" name="Picture Placeholder 3"/>
          <p:cNvSpPr>
            <a:spLocks noGrp="1"/>
          </p:cNvSpPr>
          <p:nvPr>
            <p:ph type="pic" sz="quarter" idx="12"/>
          </p:nvPr>
        </p:nvSpPr>
        <p:spPr>
          <a:xfrm>
            <a:off x="0" y="1024128"/>
            <a:ext cx="3017520" cy="583387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5" name="Picture Placeholder 25"/>
          <p:cNvSpPr>
            <a:spLocks noGrp="1"/>
          </p:cNvSpPr>
          <p:nvPr>
            <p:ph type="pic" sz="quarter" idx="14"/>
          </p:nvPr>
        </p:nvSpPr>
        <p:spPr>
          <a:xfrm>
            <a:off x="6097317" y="1024128"/>
            <a:ext cx="3017520" cy="583387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6" name="Picture Placeholder 6"/>
          <p:cNvSpPr>
            <a:spLocks noGrp="1"/>
          </p:cNvSpPr>
          <p:nvPr>
            <p:ph type="pic" sz="quarter" idx="13"/>
          </p:nvPr>
        </p:nvSpPr>
        <p:spPr>
          <a:xfrm>
            <a:off x="3047585" y="1024128"/>
            <a:ext cx="3017520" cy="5833872"/>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16" name="Text Placeholder 33"/>
          <p:cNvSpPr>
            <a:spLocks noGrp="1"/>
          </p:cNvSpPr>
          <p:nvPr>
            <p:ph type="body" sz="quarter" idx="18" hasCustomPrompt="1"/>
          </p:nvPr>
        </p:nvSpPr>
        <p:spPr>
          <a:xfrm>
            <a:off x="179178" y="5239512"/>
            <a:ext cx="11833644" cy="1005840"/>
          </a:xfrm>
          <a:prstGeom prst="parallelogram">
            <a:avLst>
              <a:gd name="adj" fmla="val 28788"/>
            </a:avLst>
          </a:prstGeom>
          <a:solidFill>
            <a:schemeClr val="tx1">
              <a:lumMod val="75000"/>
              <a:alpha val="90000"/>
            </a:schemeClr>
          </a:solidFill>
          <a:ln w="19050">
            <a:noFill/>
          </a:ln>
        </p:spPr>
        <p:txBody>
          <a:bodyPr vert="horz" lIns="454941" tIns="37851" rIns="75702" bIns="72790" rtlCol="0" anchor="b">
            <a:noAutofit/>
          </a:bodyPr>
          <a:lstStyle>
            <a:lvl1pPr>
              <a:defRPr lang="en-US" sz="1094" dirty="0">
                <a:solidFill>
                  <a:schemeClr val="bg1"/>
                </a:solidFill>
                <a:latin typeface="Futura Std Medium" charset="0"/>
              </a:defRPr>
            </a:lvl1pPr>
          </a:lstStyle>
          <a:p>
            <a:pPr lvl="0"/>
            <a:r>
              <a:rPr lang="en-US" dirty="0"/>
              <a:t> </a:t>
            </a:r>
          </a:p>
        </p:txBody>
      </p:sp>
      <p:sp>
        <p:nvSpPr>
          <p:cNvPr id="10" name="Text Placeholder 27"/>
          <p:cNvSpPr>
            <a:spLocks noGrp="1"/>
          </p:cNvSpPr>
          <p:nvPr>
            <p:ph type="body" sz="quarter" idx="15" hasCustomPrompt="1"/>
          </p:nvPr>
        </p:nvSpPr>
        <p:spPr bwMode="gray">
          <a:xfrm>
            <a:off x="406939" y="5513832"/>
            <a:ext cx="2514600" cy="457200"/>
          </a:xfrm>
        </p:spPr>
        <p:txBody>
          <a:bodyPr anchor="ctr" anchorCtr="0">
            <a:noAutofit/>
          </a:bodyPr>
          <a:lstStyle>
            <a:lvl1pPr marL="0" indent="0" algn="ctr">
              <a:lnSpc>
                <a:spcPct val="90000"/>
              </a:lnSpc>
              <a:spcBef>
                <a:spcPts val="0"/>
              </a:spcBef>
              <a:buNone/>
              <a:defRPr sz="2000" cap="none" baseline="0">
                <a:solidFill>
                  <a:schemeClr val="bg1"/>
                </a:solidFill>
              </a:defRPr>
            </a:lvl1pPr>
          </a:lstStyle>
          <a:p>
            <a:pPr lvl="0"/>
            <a:r>
              <a:rPr lang="en-US"/>
              <a:t>Click to add text</a:t>
            </a:r>
            <a:endParaRPr lang="en-US" dirty="0"/>
          </a:p>
        </p:txBody>
      </p:sp>
      <p:sp>
        <p:nvSpPr>
          <p:cNvPr id="11" name="Text Placeholder 29"/>
          <p:cNvSpPr>
            <a:spLocks noGrp="1"/>
          </p:cNvSpPr>
          <p:nvPr>
            <p:ph type="body" sz="quarter" idx="16" hasCustomPrompt="1"/>
          </p:nvPr>
        </p:nvSpPr>
        <p:spPr bwMode="gray">
          <a:xfrm>
            <a:off x="3141737" y="5513832"/>
            <a:ext cx="2834640" cy="457200"/>
          </a:xfrm>
        </p:spPr>
        <p:txBody>
          <a:bodyPr vert="horz" lIns="0" tIns="0" rIns="0" bIns="0" rtlCol="0" anchor="ctr" anchorCtr="0">
            <a:noAutofit/>
          </a:bodyPr>
          <a:lstStyle>
            <a:lvl1pPr algn="ctr">
              <a:spcBef>
                <a:spcPts val="0"/>
              </a:spcBef>
              <a:defRPr lang="en-US" sz="2000" cap="none" baseline="0" dirty="0">
                <a:solidFill>
                  <a:schemeClr val="bg1"/>
                </a:solidFill>
              </a:defRPr>
            </a:lvl1pPr>
          </a:lstStyle>
          <a:p>
            <a:pPr marL="0" lvl="0" indent="0" algn="ctr">
              <a:buNone/>
            </a:pPr>
            <a:r>
              <a:rPr lang="en-US"/>
              <a:t>Click to add text</a:t>
            </a:r>
            <a:endParaRPr lang="en-US" dirty="0"/>
          </a:p>
        </p:txBody>
      </p:sp>
      <p:sp>
        <p:nvSpPr>
          <p:cNvPr id="13" name="Text Placeholder 31"/>
          <p:cNvSpPr>
            <a:spLocks noGrp="1"/>
          </p:cNvSpPr>
          <p:nvPr>
            <p:ph type="body" sz="quarter" idx="17" hasCustomPrompt="1"/>
          </p:nvPr>
        </p:nvSpPr>
        <p:spPr bwMode="gray">
          <a:xfrm>
            <a:off x="6190347" y="5513832"/>
            <a:ext cx="2832812" cy="457200"/>
          </a:xfrm>
        </p:spPr>
        <p:txBody>
          <a:bodyPr vert="horz" lIns="0" tIns="0" rIns="0" bIns="0" rtlCol="0" anchor="ctr" anchorCtr="0">
            <a:noAutofit/>
          </a:bodyPr>
          <a:lstStyle>
            <a:lvl1pPr algn="ctr">
              <a:spcBef>
                <a:spcPts val="0"/>
              </a:spcBef>
              <a:defRPr lang="en-US" sz="2000" cap="none" baseline="0" dirty="0">
                <a:solidFill>
                  <a:schemeClr val="bg1"/>
                </a:solidFill>
              </a:defRPr>
            </a:lvl1pPr>
          </a:lstStyle>
          <a:p>
            <a:pPr marL="0" lvl="0" indent="0" algn="ctr">
              <a:buNone/>
            </a:pPr>
            <a:r>
              <a:rPr lang="en-US"/>
              <a:t>Click to add text</a:t>
            </a:r>
            <a:endParaRPr lang="en-US" dirty="0"/>
          </a:p>
        </p:txBody>
      </p:sp>
      <p:sp>
        <p:nvSpPr>
          <p:cNvPr id="14" name="Text Placeholder 2"/>
          <p:cNvSpPr>
            <a:spLocks noGrp="1"/>
          </p:cNvSpPr>
          <p:nvPr>
            <p:ph type="body" sz="quarter" idx="19" hasCustomPrompt="1"/>
          </p:nvPr>
        </p:nvSpPr>
        <p:spPr>
          <a:xfrm>
            <a:off x="3009693" y="1024128"/>
            <a:ext cx="45719" cy="5852160"/>
          </a:xfrm>
          <a:solidFill>
            <a:srgbClr val="465050"/>
          </a:solidFill>
        </p:spPr>
        <p:txBody>
          <a:bodyPr vert="horz" lIns="0" tIns="0" rIns="0" bIns="0" rtlCol="0">
            <a:noAutofit/>
          </a:bodyPr>
          <a:lstStyle>
            <a:lvl1pPr>
              <a:defRPr lang="en-US" sz="100" baseline="0" smtClean="0"/>
            </a:lvl1pPr>
          </a:lstStyle>
          <a:p>
            <a:pPr marL="0" lvl="0" indent="0">
              <a:buNone/>
            </a:pPr>
            <a:r>
              <a:rPr lang="en-US"/>
              <a:t> </a:t>
            </a:r>
          </a:p>
        </p:txBody>
      </p:sp>
      <p:sp>
        <p:nvSpPr>
          <p:cNvPr id="15" name="Text Placeholder 10"/>
          <p:cNvSpPr>
            <a:spLocks noGrp="1"/>
          </p:cNvSpPr>
          <p:nvPr>
            <p:ph type="body" sz="quarter" idx="20" hasCustomPrompt="1"/>
          </p:nvPr>
        </p:nvSpPr>
        <p:spPr>
          <a:xfrm>
            <a:off x="6057278" y="1024128"/>
            <a:ext cx="47866" cy="5852160"/>
          </a:xfrm>
          <a:solidFill>
            <a:srgbClr val="465050"/>
          </a:solidFill>
        </p:spPr>
        <p:txBody>
          <a:bodyPr/>
          <a:lstStyle>
            <a:lvl1pPr marL="0" indent="0">
              <a:buNone/>
              <a:defRPr sz="100" baseline="0"/>
            </a:lvl1pPr>
          </a:lstStyle>
          <a:p>
            <a:pPr lvl="0"/>
            <a:r>
              <a:rPr lang="en-US"/>
              <a:t>  </a:t>
            </a:r>
            <a:endParaRPr lang="en-US" dirty="0"/>
          </a:p>
        </p:txBody>
      </p:sp>
      <p:pic>
        <p:nvPicPr>
          <p:cNvPr id="17" name="Picture 16">
            <a:extLst>
              <a:ext uri="{FF2B5EF4-FFF2-40B4-BE49-F238E27FC236}">
                <a16:creationId xmlns:a16="http://schemas.microsoft.com/office/drawing/2014/main" id="{64B10EDE-2F38-4F07-805A-27611CDDC7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19" name="Text Placeholder 10">
            <a:extLst>
              <a:ext uri="{FF2B5EF4-FFF2-40B4-BE49-F238E27FC236}">
                <a16:creationId xmlns:a16="http://schemas.microsoft.com/office/drawing/2014/main" id="{A99E06A1-DC41-4065-AB83-0AB81BDF46DE}"/>
              </a:ext>
            </a:extLst>
          </p:cNvPr>
          <p:cNvSpPr>
            <a:spLocks noGrp="1"/>
          </p:cNvSpPr>
          <p:nvPr>
            <p:ph type="body" sz="quarter" idx="23" hasCustomPrompt="1"/>
          </p:nvPr>
        </p:nvSpPr>
        <p:spPr>
          <a:xfrm>
            <a:off x="9107010" y="1024128"/>
            <a:ext cx="47866" cy="5852160"/>
          </a:xfrm>
          <a:solidFill>
            <a:srgbClr val="465050"/>
          </a:solidFill>
        </p:spPr>
        <p:txBody>
          <a:bodyPr vert="horz" lIns="0" tIns="0" rIns="0" bIns="0" rtlCol="0">
            <a:noAutofit/>
          </a:bodyPr>
          <a:lstStyle>
            <a:lvl1pPr>
              <a:defRPr lang="en-US" sz="100" baseline="0" dirty="0"/>
            </a:lvl1pPr>
          </a:lstStyle>
          <a:p>
            <a:pPr marL="0" lvl="0" indent="0">
              <a:buNone/>
            </a:pPr>
            <a:r>
              <a:rPr lang="en-US"/>
              <a:t>  </a:t>
            </a:r>
            <a:endParaRPr lang="en-US" dirty="0"/>
          </a:p>
        </p:txBody>
      </p:sp>
      <p:sp>
        <p:nvSpPr>
          <p:cNvPr id="9" name="Text Placeholder 8">
            <a:extLst>
              <a:ext uri="{FF2B5EF4-FFF2-40B4-BE49-F238E27FC236}">
                <a16:creationId xmlns:a16="http://schemas.microsoft.com/office/drawing/2014/main" id="{C36BD653-3D98-4AC9-9964-E7ECEDC460CC}"/>
              </a:ext>
            </a:extLst>
          </p:cNvPr>
          <p:cNvSpPr>
            <a:spLocks noGrp="1"/>
          </p:cNvSpPr>
          <p:nvPr>
            <p:ph type="body" sz="quarter" idx="24"/>
          </p:nvPr>
        </p:nvSpPr>
        <p:spPr bwMode="ltGray">
          <a:xfrm>
            <a:off x="9237129" y="5513832"/>
            <a:ext cx="2514600" cy="457200"/>
          </a:xfrm>
        </p:spPr>
        <p:txBody>
          <a:bodyPr vert="horz" lIns="0" tIns="0" rIns="0" bIns="0" rtlCol="0" anchor="ctr" anchorCtr="0">
            <a:noAutofit/>
          </a:bodyPr>
          <a:lstStyle>
            <a:lvl1pPr algn="ctr">
              <a:spcBef>
                <a:spcPts val="0"/>
              </a:spcBef>
              <a:defRPr lang="en-US" sz="2000" cap="none" baseline="0">
                <a:solidFill>
                  <a:schemeClr val="bg1"/>
                </a:solidFill>
              </a:defRPr>
            </a:lvl1pPr>
          </a:lstStyle>
          <a:p>
            <a:pPr marL="0" lvl="0" indent="0" algn="ctr">
              <a:buNone/>
            </a:pPr>
            <a:endParaRPr lang="en-US"/>
          </a:p>
        </p:txBody>
      </p:sp>
      <p:sp>
        <p:nvSpPr>
          <p:cNvPr id="3" name="Title 2">
            <a:extLst>
              <a:ext uri="{FF2B5EF4-FFF2-40B4-BE49-F238E27FC236}">
                <a16:creationId xmlns:a16="http://schemas.microsoft.com/office/drawing/2014/main" id="{095B3BF7-A00B-418D-A4C6-91EB41110ADB}"/>
              </a:ext>
            </a:extLst>
          </p:cNvPr>
          <p:cNvSpPr>
            <a:spLocks noGrp="1"/>
          </p:cNvSpPr>
          <p:nvPr>
            <p:ph type="title" hasCustomPrompt="1"/>
          </p:nvPr>
        </p:nvSpPr>
        <p:spPr/>
        <p:txBody>
          <a:bodyPr/>
          <a:lstStyle>
            <a:lvl1pPr>
              <a:defRPr/>
            </a:lvl1pPr>
          </a:lstStyle>
          <a:p>
            <a:r>
              <a:rPr lang="en-US"/>
              <a:t>Click to ADD TITLE</a:t>
            </a:r>
          </a:p>
        </p:txBody>
      </p:sp>
      <p:cxnSp>
        <p:nvCxnSpPr>
          <p:cNvPr id="18" name="Straight Connector 17">
            <a:extLst>
              <a:ext uri="{FF2B5EF4-FFF2-40B4-BE49-F238E27FC236}">
                <a16:creationId xmlns:a16="http://schemas.microsoft.com/office/drawing/2014/main" id="{600D4459-2BBF-4C4E-BC46-E65DF78F446D}"/>
              </a:ext>
            </a:extLst>
          </p:cNvPr>
          <p:cNvCxnSpPr/>
          <p:nvPr userDrawn="1"/>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890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Case Study">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3047" y="1024137"/>
            <a:ext cx="12188953" cy="5833863"/>
          </a:xfrm>
        </p:spPr>
        <p:txBody>
          <a:bodyPr anchor="ctr"/>
          <a:lstStyle>
            <a:lvl1pPr marL="0" indent="0" algn="ctr">
              <a:buNone/>
              <a:defRPr>
                <a:solidFill>
                  <a:schemeClr val="tx1"/>
                </a:solidFill>
                <a:latin typeface="+mn-lt"/>
              </a:defRPr>
            </a:lvl1pPr>
          </a:lstStyle>
          <a:p>
            <a:r>
              <a:rPr lang="en-US"/>
              <a:t>Click icon to add picture</a:t>
            </a:r>
            <a:endParaRPr lang="en-US" dirty="0"/>
          </a:p>
        </p:txBody>
      </p:sp>
      <p:sp>
        <p:nvSpPr>
          <p:cNvPr id="9" name="Text Placeholder 33"/>
          <p:cNvSpPr>
            <a:spLocks noGrp="1"/>
          </p:cNvSpPr>
          <p:nvPr>
            <p:ph type="body" sz="quarter" idx="18" hasCustomPrompt="1"/>
          </p:nvPr>
        </p:nvSpPr>
        <p:spPr>
          <a:xfrm>
            <a:off x="-510706" y="4749440"/>
            <a:ext cx="9248306" cy="1495912"/>
          </a:xfrm>
          <a:prstGeom prst="parallelogram">
            <a:avLst>
              <a:gd name="adj" fmla="val 30051"/>
            </a:avLst>
          </a:prstGeom>
          <a:solidFill>
            <a:schemeClr val="tx1">
              <a:lumMod val="75000"/>
              <a:alpha val="90000"/>
            </a:schemeClr>
          </a:solidFill>
          <a:ln w="19050">
            <a:noFill/>
          </a:ln>
        </p:spPr>
        <p:txBody>
          <a:bodyPr vert="horz" lIns="454941" tIns="37851" rIns="75702" bIns="72790" rtlCol="0" anchor="b">
            <a:noAutofit/>
          </a:bodyPr>
          <a:lstStyle>
            <a:lvl1pPr>
              <a:defRPr lang="en-US" sz="1094" dirty="0">
                <a:solidFill>
                  <a:schemeClr val="bg1"/>
                </a:solidFill>
                <a:latin typeface="Futura Std Medium" charset="0"/>
              </a:defRPr>
            </a:lvl1pPr>
          </a:lstStyle>
          <a:p>
            <a:pPr lvl="0"/>
            <a:r>
              <a:rPr lang="en-US" dirty="0"/>
              <a:t> </a:t>
            </a:r>
          </a:p>
        </p:txBody>
      </p:sp>
      <p:pic>
        <p:nvPicPr>
          <p:cNvPr id="13" name="Picture 12">
            <a:extLst>
              <a:ext uri="{FF2B5EF4-FFF2-40B4-BE49-F238E27FC236}">
                <a16:creationId xmlns:a16="http://schemas.microsoft.com/office/drawing/2014/main" id="{C7B7014C-EB32-49CA-8640-A8673EB040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10" name="Text Placeholder 27"/>
          <p:cNvSpPr>
            <a:spLocks noGrp="1"/>
          </p:cNvSpPr>
          <p:nvPr>
            <p:ph type="body" sz="quarter" idx="15" hasCustomPrompt="1"/>
          </p:nvPr>
        </p:nvSpPr>
        <p:spPr bwMode="gray">
          <a:xfrm>
            <a:off x="406940" y="4836996"/>
            <a:ext cx="7863840" cy="1320800"/>
          </a:xfrm>
        </p:spPr>
        <p:txBody>
          <a:bodyPr anchor="ctr" anchorCtr="0">
            <a:noAutofit/>
          </a:bodyPr>
          <a:lstStyle>
            <a:lvl1pPr marL="0" indent="0" algn="l">
              <a:lnSpc>
                <a:spcPct val="100000"/>
              </a:lnSpc>
              <a:spcBef>
                <a:spcPts val="0"/>
              </a:spcBef>
              <a:buNone/>
              <a:defRPr sz="2000" cap="none" baseline="0">
                <a:solidFill>
                  <a:schemeClr val="bg1"/>
                </a:solidFill>
              </a:defRPr>
            </a:lvl1pPr>
          </a:lstStyle>
          <a:p>
            <a:pPr lvl="0"/>
            <a:r>
              <a:rPr lang="en-US" dirty="0"/>
              <a:t>Click to add text</a:t>
            </a:r>
          </a:p>
        </p:txBody>
      </p:sp>
      <p:sp>
        <p:nvSpPr>
          <p:cNvPr id="14" name="Text Placeholder 33">
            <a:extLst>
              <a:ext uri="{FF2B5EF4-FFF2-40B4-BE49-F238E27FC236}">
                <a16:creationId xmlns:a16="http://schemas.microsoft.com/office/drawing/2014/main" id="{B1ED78A0-A56B-4703-A84F-DDB45C4928AA}"/>
              </a:ext>
            </a:extLst>
          </p:cNvPr>
          <p:cNvSpPr>
            <a:spLocks noGrp="1"/>
          </p:cNvSpPr>
          <p:nvPr>
            <p:ph type="body" sz="quarter" idx="22"/>
          </p:nvPr>
        </p:nvSpPr>
        <p:spPr>
          <a:xfrm>
            <a:off x="8280401" y="4749440"/>
            <a:ext cx="2926080" cy="1495912"/>
          </a:xfrm>
          <a:prstGeom prst="parallelogram">
            <a:avLst>
              <a:gd name="adj" fmla="val 30051"/>
            </a:avLst>
          </a:pr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Futura Std Medium" charset="0"/>
              </a:defRPr>
            </a:lvl1pPr>
          </a:lstStyle>
          <a:p>
            <a:pPr lvl="0"/>
            <a:endParaRPr lang="en-US" dirty="0"/>
          </a:p>
        </p:txBody>
      </p:sp>
      <p:sp>
        <p:nvSpPr>
          <p:cNvPr id="2" name="Title 1">
            <a:extLst>
              <a:ext uri="{FF2B5EF4-FFF2-40B4-BE49-F238E27FC236}">
                <a16:creationId xmlns:a16="http://schemas.microsoft.com/office/drawing/2014/main" id="{A6571AC3-625A-4C34-ACE1-5D93DAC1F54B}"/>
              </a:ext>
            </a:extLst>
          </p:cNvPr>
          <p:cNvSpPr>
            <a:spLocks noGrp="1"/>
          </p:cNvSpPr>
          <p:nvPr>
            <p:ph type="title" hasCustomPrompt="1"/>
          </p:nvPr>
        </p:nvSpPr>
        <p:spPr/>
        <p:txBody>
          <a:bodyPr anchor="ctr" anchorCtr="0"/>
          <a:lstStyle>
            <a:lvl1pPr>
              <a:defRPr/>
            </a:lvl1pPr>
          </a:lstStyle>
          <a:p>
            <a:r>
              <a:rPr lang="en-US"/>
              <a:t>Click to ADD TITLE</a:t>
            </a:r>
          </a:p>
        </p:txBody>
      </p:sp>
      <p:sp>
        <p:nvSpPr>
          <p:cNvPr id="11" name="Content Placeholder 10">
            <a:extLst>
              <a:ext uri="{FF2B5EF4-FFF2-40B4-BE49-F238E27FC236}">
                <a16:creationId xmlns:a16="http://schemas.microsoft.com/office/drawing/2014/main" id="{E31CBF66-77EF-44DB-ACBB-09A4D8263E88}"/>
              </a:ext>
            </a:extLst>
          </p:cNvPr>
          <p:cNvSpPr>
            <a:spLocks noGrp="1"/>
          </p:cNvSpPr>
          <p:nvPr>
            <p:ph sz="quarter" idx="23" hasCustomPrompt="1"/>
          </p:nvPr>
        </p:nvSpPr>
        <p:spPr>
          <a:xfrm>
            <a:off x="8812248" y="4836996"/>
            <a:ext cx="1920240" cy="1320800"/>
          </a:xfrm>
        </p:spPr>
        <p:txBody>
          <a:bodyPr anchor="b" anchorCtr="0"/>
          <a:lstStyle>
            <a:lvl1pPr marL="0" indent="0" algn="ctr">
              <a:buFontTx/>
              <a:buNone/>
              <a:defRPr sz="1200"/>
            </a:lvl1pPr>
            <a:lvl2pPr marL="386674" indent="0">
              <a:buFontTx/>
              <a:buNone/>
              <a:defRPr/>
            </a:lvl2pPr>
            <a:lvl3pPr marL="704088" indent="0">
              <a:buFontTx/>
              <a:buNone/>
              <a:defRPr/>
            </a:lvl3pPr>
            <a:lvl4pPr marL="987552" indent="0">
              <a:buFontTx/>
              <a:buNone/>
              <a:defRPr/>
            </a:lvl4pPr>
            <a:lvl5pPr marL="1261872" indent="0">
              <a:buFontTx/>
              <a:buNone/>
              <a:defRPr/>
            </a:lvl5pPr>
          </a:lstStyle>
          <a:p>
            <a:pPr lvl="0"/>
            <a:r>
              <a:rPr lang="en-US"/>
              <a:t>Click on insert picture icon to insert logo</a:t>
            </a:r>
          </a:p>
        </p:txBody>
      </p:sp>
      <p:cxnSp>
        <p:nvCxnSpPr>
          <p:cNvPr id="12" name="Straight Connector 11">
            <a:extLst>
              <a:ext uri="{FF2B5EF4-FFF2-40B4-BE49-F238E27FC236}">
                <a16:creationId xmlns:a16="http://schemas.microsoft.com/office/drawing/2014/main" id="{2F772A10-09E0-42AF-8D63-44A86DEE3550}"/>
              </a:ext>
            </a:extLst>
          </p:cNvPr>
          <p:cNvCxnSpPr/>
          <p:nvPr userDrawn="1"/>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109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Closing Slide">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3155715-9B8A-4254-9DB4-FAD6881A923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72087" y="4043606"/>
            <a:ext cx="3252063" cy="1265243"/>
          </a:xfrm>
          <a:prstGeom prst="rect">
            <a:avLst/>
          </a:prstGeom>
        </p:spPr>
      </p:pic>
      <p:sp>
        <p:nvSpPr>
          <p:cNvPr id="4" name="Rectangle 4">
            <a:extLst>
              <a:ext uri="{FF2B5EF4-FFF2-40B4-BE49-F238E27FC236}">
                <a16:creationId xmlns:a16="http://schemas.microsoft.com/office/drawing/2014/main" id="{9D0B2398-61EA-4742-BD78-CDE4CDDB67DE}"/>
              </a:ext>
            </a:extLst>
          </p:cNvPr>
          <p:cNvSpPr/>
          <p:nvPr userDrawn="1"/>
        </p:nvSpPr>
        <p:spPr>
          <a:xfrm>
            <a:off x="1" y="-12032"/>
            <a:ext cx="3898232" cy="6877142"/>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43698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877142"/>
              <a:gd name="connsiteX1" fmla="*/ 11367745 w 11367745"/>
              <a:gd name="connsiteY1" fmla="*/ 0 h 6877142"/>
              <a:gd name="connsiteX2" fmla="*/ 6255328 w 11367745"/>
              <a:gd name="connsiteY2" fmla="*/ 5041232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5448360 w 11367745"/>
              <a:gd name="connsiteY2" fmla="*/ 4728411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5448360 w 11367745"/>
              <a:gd name="connsiteY2" fmla="*/ 4728411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5448360 w 11367745"/>
              <a:gd name="connsiteY2" fmla="*/ 4728411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5448360 w 11367745"/>
              <a:gd name="connsiteY2" fmla="*/ 4728411 h 6877142"/>
              <a:gd name="connsiteX3" fmla="*/ 6808614 w 11367745"/>
              <a:gd name="connsiteY3" fmla="*/ 6877142 h 6877142"/>
              <a:gd name="connsiteX4" fmla="*/ 0 w 11367745"/>
              <a:gd name="connsiteY4" fmla="*/ 6870032 h 6877142"/>
              <a:gd name="connsiteX5" fmla="*/ 0 w 11367745"/>
              <a:gd name="connsiteY5" fmla="*/ 12032 h 6877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67745" h="6877142">
                <a:moveTo>
                  <a:pt x="0" y="12032"/>
                </a:moveTo>
                <a:lnTo>
                  <a:pt x="11367745" y="0"/>
                </a:lnTo>
                <a:cubicBezTo>
                  <a:pt x="9493718" y="1572491"/>
                  <a:pt x="6951519" y="3531816"/>
                  <a:pt x="5448360" y="4728411"/>
                </a:cubicBezTo>
                <a:cubicBezTo>
                  <a:pt x="6347820" y="6080686"/>
                  <a:pt x="5755860" y="5474005"/>
                  <a:pt x="6808614" y="6877142"/>
                </a:cubicBezTo>
                <a:lnTo>
                  <a:pt x="0" y="6870032"/>
                </a:lnTo>
                <a:lnTo>
                  <a:pt x="0" y="12032"/>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 name="Freeform 4">
            <a:extLst>
              <a:ext uri="{FF2B5EF4-FFF2-40B4-BE49-F238E27FC236}">
                <a16:creationId xmlns:a16="http://schemas.microsoft.com/office/drawing/2014/main" id="{6AF157FD-3E5A-4234-80E9-7213BF6C0308}"/>
              </a:ext>
            </a:extLst>
          </p:cNvPr>
          <p:cNvSpPr/>
          <p:nvPr userDrawn="1"/>
        </p:nvSpPr>
        <p:spPr>
          <a:xfrm>
            <a:off x="0" y="4081706"/>
            <a:ext cx="2608941" cy="2788159"/>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Lst>
            <a:ahLst/>
            <a:cxnLst>
              <a:cxn ang="0">
                <a:pos x="connsiteX0" y="connsiteY0"/>
              </a:cxn>
              <a:cxn ang="0">
                <a:pos x="connsiteX1" y="connsiteY1"/>
              </a:cxn>
              <a:cxn ang="0">
                <a:pos x="connsiteX2" y="connsiteY2"/>
              </a:cxn>
            </a:cxnLst>
            <a:rect l="l" t="t" r="r" b="b"/>
            <a:pathLst>
              <a:path w="1166989" h="1213426">
                <a:moveTo>
                  <a:pt x="857693" y="0"/>
                </a:moveTo>
                <a:lnTo>
                  <a:pt x="1166989" y="1211531"/>
                </a:lnTo>
                <a:lnTo>
                  <a:pt x="0" y="1213426"/>
                </a:lnTo>
              </a:path>
            </a:pathLst>
          </a:custGeom>
          <a:gradFill>
            <a:gsLst>
              <a:gs pos="2000">
                <a:schemeClr val="bg2">
                  <a:lumMod val="50000"/>
                </a:schemeClr>
              </a:gs>
              <a:gs pos="100000">
                <a:schemeClr val="bg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Isosceles Triangle 3">
            <a:extLst>
              <a:ext uri="{FF2B5EF4-FFF2-40B4-BE49-F238E27FC236}">
                <a16:creationId xmlns:a16="http://schemas.microsoft.com/office/drawing/2014/main" id="{0E04AF69-E276-4B63-A5F3-8D62965A2144}"/>
              </a:ext>
            </a:extLst>
          </p:cNvPr>
          <p:cNvSpPr/>
          <p:nvPr userDrawn="1"/>
        </p:nvSpPr>
        <p:spPr>
          <a:xfrm rot="13120470">
            <a:off x="1657082" y="-1713349"/>
            <a:ext cx="2123869" cy="9434624"/>
          </a:xfrm>
          <a:custGeom>
            <a:avLst/>
            <a:gdLst>
              <a:gd name="connsiteX0" fmla="*/ 0 w 1349298"/>
              <a:gd name="connsiteY0" fmla="*/ 5885253 h 5885253"/>
              <a:gd name="connsiteX1" fmla="*/ 674649 w 1349298"/>
              <a:gd name="connsiteY1" fmla="*/ 0 h 5885253"/>
              <a:gd name="connsiteX2" fmla="*/ 1349298 w 1349298"/>
              <a:gd name="connsiteY2" fmla="*/ 5885253 h 5885253"/>
              <a:gd name="connsiteX3" fmla="*/ 0 w 1349298"/>
              <a:gd name="connsiteY3" fmla="*/ 5885253 h 5885253"/>
              <a:gd name="connsiteX0" fmla="*/ 0 w 1304760"/>
              <a:gd name="connsiteY0" fmla="*/ 5885253 h 5885253"/>
              <a:gd name="connsiteX1" fmla="*/ 674649 w 1304760"/>
              <a:gd name="connsiteY1" fmla="*/ 0 h 5885253"/>
              <a:gd name="connsiteX2" fmla="*/ 1304760 w 1304760"/>
              <a:gd name="connsiteY2" fmla="*/ 5698299 h 5885253"/>
              <a:gd name="connsiteX3" fmla="*/ 0 w 1304760"/>
              <a:gd name="connsiteY3" fmla="*/ 5885253 h 5885253"/>
              <a:gd name="connsiteX0" fmla="*/ 0 w 1386992"/>
              <a:gd name="connsiteY0" fmla="*/ 5829786 h 5829786"/>
              <a:gd name="connsiteX1" fmla="*/ 756881 w 1386992"/>
              <a:gd name="connsiteY1" fmla="*/ 0 h 5829786"/>
              <a:gd name="connsiteX2" fmla="*/ 1386992 w 1386992"/>
              <a:gd name="connsiteY2" fmla="*/ 5698299 h 5829786"/>
              <a:gd name="connsiteX3" fmla="*/ 0 w 1386992"/>
              <a:gd name="connsiteY3" fmla="*/ 5829786 h 5829786"/>
              <a:gd name="connsiteX0" fmla="*/ 0 w 1613616"/>
              <a:gd name="connsiteY0" fmla="*/ 5273942 h 5698299"/>
              <a:gd name="connsiteX1" fmla="*/ 983505 w 1613616"/>
              <a:gd name="connsiteY1" fmla="*/ 0 h 5698299"/>
              <a:gd name="connsiteX2" fmla="*/ 1613616 w 1613616"/>
              <a:gd name="connsiteY2" fmla="*/ 5698299 h 5698299"/>
              <a:gd name="connsiteX3" fmla="*/ 0 w 1613616"/>
              <a:gd name="connsiteY3" fmla="*/ 5273942 h 5698299"/>
              <a:gd name="connsiteX0" fmla="*/ 0 w 2111499"/>
              <a:gd name="connsiteY0" fmla="*/ 5273942 h 5273942"/>
              <a:gd name="connsiteX1" fmla="*/ 983505 w 2111499"/>
              <a:gd name="connsiteY1" fmla="*/ 0 h 5273942"/>
              <a:gd name="connsiteX2" fmla="*/ 2111499 w 2111499"/>
              <a:gd name="connsiteY2" fmla="*/ 4721711 h 5273942"/>
              <a:gd name="connsiteX3" fmla="*/ 0 w 2111499"/>
              <a:gd name="connsiteY3" fmla="*/ 5273942 h 5273942"/>
              <a:gd name="connsiteX0" fmla="*/ 0 w 2111499"/>
              <a:gd name="connsiteY0" fmla="*/ 4717306 h 4717306"/>
              <a:gd name="connsiteX1" fmla="*/ 932758 w 2111499"/>
              <a:gd name="connsiteY1" fmla="*/ 0 h 4717306"/>
              <a:gd name="connsiteX2" fmla="*/ 2111499 w 2111499"/>
              <a:gd name="connsiteY2" fmla="*/ 4165075 h 4717306"/>
              <a:gd name="connsiteX3" fmla="*/ 0 w 2111499"/>
              <a:gd name="connsiteY3" fmla="*/ 4717306 h 4717306"/>
              <a:gd name="connsiteX0" fmla="*/ 0 w 3931298"/>
              <a:gd name="connsiteY0" fmla="*/ 4717306 h 4717306"/>
              <a:gd name="connsiteX1" fmla="*/ 932758 w 3931298"/>
              <a:gd name="connsiteY1" fmla="*/ 0 h 4717306"/>
              <a:gd name="connsiteX2" fmla="*/ 3931298 w 3931298"/>
              <a:gd name="connsiteY2" fmla="*/ 4480286 h 4717306"/>
              <a:gd name="connsiteX3" fmla="*/ 0 w 3931298"/>
              <a:gd name="connsiteY3" fmla="*/ 4717306 h 4717306"/>
              <a:gd name="connsiteX0" fmla="*/ 35679 w 2998540"/>
              <a:gd name="connsiteY0" fmla="*/ 5024381 h 5024381"/>
              <a:gd name="connsiteX1" fmla="*/ 0 w 2998540"/>
              <a:gd name="connsiteY1" fmla="*/ 0 h 5024381"/>
              <a:gd name="connsiteX2" fmla="*/ 2998540 w 2998540"/>
              <a:gd name="connsiteY2" fmla="*/ 4480286 h 5024381"/>
              <a:gd name="connsiteX3" fmla="*/ 35679 w 2998540"/>
              <a:gd name="connsiteY3" fmla="*/ 5024381 h 5024381"/>
              <a:gd name="connsiteX0" fmla="*/ 0 w 3359513"/>
              <a:gd name="connsiteY0" fmla="*/ 4923649 h 4923649"/>
              <a:gd name="connsiteX1" fmla="*/ 360973 w 3359513"/>
              <a:gd name="connsiteY1" fmla="*/ 0 h 4923649"/>
              <a:gd name="connsiteX2" fmla="*/ 3359513 w 3359513"/>
              <a:gd name="connsiteY2" fmla="*/ 4480286 h 4923649"/>
              <a:gd name="connsiteX3" fmla="*/ 0 w 3359513"/>
              <a:gd name="connsiteY3" fmla="*/ 4923649 h 4923649"/>
              <a:gd name="connsiteX0" fmla="*/ 0 w 3359513"/>
              <a:gd name="connsiteY0" fmla="*/ 4137435 h 4137435"/>
              <a:gd name="connsiteX1" fmla="*/ 1823306 w 3359513"/>
              <a:gd name="connsiteY1" fmla="*/ 0 h 4137435"/>
              <a:gd name="connsiteX2" fmla="*/ 3359513 w 3359513"/>
              <a:gd name="connsiteY2" fmla="*/ 3694072 h 4137435"/>
              <a:gd name="connsiteX3" fmla="*/ 0 w 3359513"/>
              <a:gd name="connsiteY3" fmla="*/ 4137435 h 4137435"/>
              <a:gd name="connsiteX0" fmla="*/ 0 w 3163954"/>
              <a:gd name="connsiteY0" fmla="*/ 4137435 h 4137435"/>
              <a:gd name="connsiteX1" fmla="*/ 1823306 w 3163954"/>
              <a:gd name="connsiteY1" fmla="*/ 0 h 4137435"/>
              <a:gd name="connsiteX2" fmla="*/ 3163954 w 3163954"/>
              <a:gd name="connsiteY2" fmla="*/ 3451242 h 4137435"/>
              <a:gd name="connsiteX3" fmla="*/ 0 w 3163954"/>
              <a:gd name="connsiteY3" fmla="*/ 4137435 h 4137435"/>
              <a:gd name="connsiteX0" fmla="*/ 0 w 2066613"/>
              <a:gd name="connsiteY0" fmla="*/ 4130703 h 4130703"/>
              <a:gd name="connsiteX1" fmla="*/ 725965 w 2066613"/>
              <a:gd name="connsiteY1" fmla="*/ 0 h 4130703"/>
              <a:gd name="connsiteX2" fmla="*/ 2066613 w 2066613"/>
              <a:gd name="connsiteY2" fmla="*/ 3451242 h 4130703"/>
              <a:gd name="connsiteX3" fmla="*/ 0 w 2066613"/>
              <a:gd name="connsiteY3" fmla="*/ 4130703 h 4130703"/>
              <a:gd name="connsiteX0" fmla="*/ 0 w 2119185"/>
              <a:gd name="connsiteY0" fmla="*/ 4203399 h 4203399"/>
              <a:gd name="connsiteX1" fmla="*/ 778537 w 2119185"/>
              <a:gd name="connsiteY1" fmla="*/ 0 h 4203399"/>
              <a:gd name="connsiteX2" fmla="*/ 2119185 w 2119185"/>
              <a:gd name="connsiteY2" fmla="*/ 3451242 h 4203399"/>
              <a:gd name="connsiteX3" fmla="*/ 0 w 2119185"/>
              <a:gd name="connsiteY3" fmla="*/ 4203399 h 4203399"/>
              <a:gd name="connsiteX0" fmla="*/ 0 w 2119185"/>
              <a:gd name="connsiteY0" fmla="*/ 4216619 h 4216619"/>
              <a:gd name="connsiteX1" fmla="*/ 816110 w 2119185"/>
              <a:gd name="connsiteY1" fmla="*/ 0 h 4216619"/>
              <a:gd name="connsiteX2" fmla="*/ 2119185 w 2119185"/>
              <a:gd name="connsiteY2" fmla="*/ 3464462 h 4216619"/>
              <a:gd name="connsiteX3" fmla="*/ 0 w 2119185"/>
              <a:gd name="connsiteY3" fmla="*/ 4216619 h 4216619"/>
              <a:gd name="connsiteX0" fmla="*/ 0 w 2119185"/>
              <a:gd name="connsiteY0" fmla="*/ 4184713 h 4184713"/>
              <a:gd name="connsiteX1" fmla="*/ 797400 w 2119185"/>
              <a:gd name="connsiteY1" fmla="*/ 0 h 4184713"/>
              <a:gd name="connsiteX2" fmla="*/ 2119185 w 2119185"/>
              <a:gd name="connsiteY2" fmla="*/ 3432556 h 4184713"/>
              <a:gd name="connsiteX3" fmla="*/ 0 w 2119185"/>
              <a:gd name="connsiteY3" fmla="*/ 4184713 h 4184713"/>
              <a:gd name="connsiteX0" fmla="*/ 0 w 2119185"/>
              <a:gd name="connsiteY0" fmla="*/ 4163102 h 4163102"/>
              <a:gd name="connsiteX1" fmla="*/ 807948 w 2119185"/>
              <a:gd name="connsiteY1" fmla="*/ 0 h 4163102"/>
              <a:gd name="connsiteX2" fmla="*/ 2119185 w 2119185"/>
              <a:gd name="connsiteY2" fmla="*/ 3410945 h 4163102"/>
              <a:gd name="connsiteX3" fmla="*/ 0 w 2119185"/>
              <a:gd name="connsiteY3" fmla="*/ 4163102 h 4163102"/>
              <a:gd name="connsiteX0" fmla="*/ 0 w 2123869"/>
              <a:gd name="connsiteY0" fmla="*/ 4163102 h 4163102"/>
              <a:gd name="connsiteX1" fmla="*/ 807948 w 2123869"/>
              <a:gd name="connsiteY1" fmla="*/ 0 h 4163102"/>
              <a:gd name="connsiteX2" fmla="*/ 2123869 w 2123869"/>
              <a:gd name="connsiteY2" fmla="*/ 3413517 h 4163102"/>
              <a:gd name="connsiteX3" fmla="*/ 0 w 2123869"/>
              <a:gd name="connsiteY3" fmla="*/ 4163102 h 4163102"/>
              <a:gd name="connsiteX0" fmla="*/ 0 w 2123869"/>
              <a:gd name="connsiteY0" fmla="*/ 4155313 h 4155313"/>
              <a:gd name="connsiteX1" fmla="*/ 785813 w 2123869"/>
              <a:gd name="connsiteY1" fmla="*/ 0 h 4155313"/>
              <a:gd name="connsiteX2" fmla="*/ 2123869 w 2123869"/>
              <a:gd name="connsiteY2" fmla="*/ 3405728 h 4155313"/>
              <a:gd name="connsiteX3" fmla="*/ 0 w 2123869"/>
              <a:gd name="connsiteY3" fmla="*/ 4155313 h 4155313"/>
              <a:gd name="connsiteX0" fmla="*/ 0 w 2123869"/>
              <a:gd name="connsiteY0" fmla="*/ 4147524 h 4147524"/>
              <a:gd name="connsiteX1" fmla="*/ 763677 w 2123869"/>
              <a:gd name="connsiteY1" fmla="*/ 0 h 4147524"/>
              <a:gd name="connsiteX2" fmla="*/ 2123869 w 2123869"/>
              <a:gd name="connsiteY2" fmla="*/ 3397939 h 4147524"/>
              <a:gd name="connsiteX3" fmla="*/ 0 w 2123869"/>
              <a:gd name="connsiteY3" fmla="*/ 4147524 h 4147524"/>
            </a:gdLst>
            <a:ahLst/>
            <a:cxnLst>
              <a:cxn ang="0">
                <a:pos x="connsiteX0" y="connsiteY0"/>
              </a:cxn>
              <a:cxn ang="0">
                <a:pos x="connsiteX1" y="connsiteY1"/>
              </a:cxn>
              <a:cxn ang="0">
                <a:pos x="connsiteX2" y="connsiteY2"/>
              </a:cxn>
              <a:cxn ang="0">
                <a:pos x="connsiteX3" y="connsiteY3"/>
              </a:cxn>
            </a:cxnLst>
            <a:rect l="l" t="t" r="r" b="b"/>
            <a:pathLst>
              <a:path w="2123869" h="4147524">
                <a:moveTo>
                  <a:pt x="0" y="4147524"/>
                </a:moveTo>
                <a:lnTo>
                  <a:pt x="763677" y="0"/>
                </a:lnTo>
                <a:lnTo>
                  <a:pt x="2123869" y="3397939"/>
                </a:lnTo>
                <a:lnTo>
                  <a:pt x="0" y="4147524"/>
                </a:lnTo>
                <a:close/>
              </a:path>
            </a:pathLst>
          </a:custGeom>
          <a:gradFill>
            <a:gsLst>
              <a:gs pos="2000">
                <a:schemeClr val="bg2">
                  <a:lumMod val="75000"/>
                </a:schemeClr>
              </a:gs>
              <a:gs pos="100000">
                <a:schemeClr val="bg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32076992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Gold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254418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cSld name="Full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9548" y="1"/>
            <a:ext cx="12201549" cy="6858000"/>
          </a:xfrm>
        </p:spPr>
        <p:txBody>
          <a:bodyPr anchor="ctr"/>
          <a:lstStyle>
            <a:lvl1pPr marL="0" indent="0" algn="ctr">
              <a:buFontTx/>
              <a:buNone/>
              <a:defRPr baseline="0">
                <a:solidFill>
                  <a:schemeClr val="tx1"/>
                </a:solidFill>
                <a:latin typeface="+mn-lt"/>
              </a:defRPr>
            </a:lvl1pPr>
          </a:lstStyle>
          <a:p>
            <a:r>
              <a:rPr lang="en-US"/>
              <a:t>Drag picture to placeholder or click icon to add</a:t>
            </a:r>
            <a:endParaRPr lang="en-US" dirty="0"/>
          </a:p>
        </p:txBody>
      </p:sp>
      <p:sp>
        <p:nvSpPr>
          <p:cNvPr id="5" name="Text Placeholder 33"/>
          <p:cNvSpPr>
            <a:spLocks noGrp="1"/>
          </p:cNvSpPr>
          <p:nvPr>
            <p:ph type="body" sz="quarter" idx="18" hasCustomPrompt="1"/>
          </p:nvPr>
        </p:nvSpPr>
        <p:spPr>
          <a:xfrm>
            <a:off x="-9548" y="5033360"/>
            <a:ext cx="12201549" cy="902866"/>
          </a:xfrm>
          <a:solidFill>
            <a:srgbClr val="000000">
              <a:alpha val="90000"/>
            </a:srgbClr>
          </a:solidFill>
        </p:spPr>
        <p:txBody>
          <a:bodyPr anchor="ctr"/>
          <a:lstStyle>
            <a:lvl1pPr marL="0" indent="0" algn="ctr">
              <a:buNone/>
              <a:defRPr/>
            </a:lvl1pPr>
          </a:lstStyle>
          <a:p>
            <a:pPr lvl="0"/>
            <a:r>
              <a:rPr lang="en-US" dirty="0"/>
              <a:t> </a:t>
            </a:r>
          </a:p>
        </p:txBody>
      </p:sp>
      <p:sp>
        <p:nvSpPr>
          <p:cNvPr id="6" name="Text Placeholder 29"/>
          <p:cNvSpPr>
            <a:spLocks noGrp="1"/>
          </p:cNvSpPr>
          <p:nvPr>
            <p:ph type="body" sz="quarter" idx="16" hasCustomPrompt="1"/>
          </p:nvPr>
        </p:nvSpPr>
        <p:spPr bwMode="gray">
          <a:xfrm>
            <a:off x="293192" y="5239526"/>
            <a:ext cx="11605619" cy="490537"/>
          </a:xfrm>
        </p:spPr>
        <p:txBody>
          <a:bodyPr anchor="ctr">
            <a:normAutofit/>
          </a:bodyPr>
          <a:lstStyle>
            <a:lvl1pPr marL="0" indent="0" algn="ctr">
              <a:lnSpc>
                <a:spcPct val="90000"/>
              </a:lnSpc>
              <a:buNone/>
              <a:defRPr sz="3200" baseline="0">
                <a:solidFill>
                  <a:schemeClr val="bg1"/>
                </a:solidFill>
                <a:latin typeface="+mn-lt"/>
              </a:defRPr>
            </a:lvl1pPr>
          </a:lstStyle>
          <a:p>
            <a:pPr lvl="0"/>
            <a:r>
              <a:rPr lang="en-US" dirty="0"/>
              <a:t>Click to add text</a:t>
            </a:r>
          </a:p>
        </p:txBody>
      </p:sp>
    </p:spTree>
    <p:extLst>
      <p:ext uri="{BB962C8B-B14F-4D97-AF65-F5344CB8AC3E}">
        <p14:creationId xmlns:p14="http://schemas.microsoft.com/office/powerpoint/2010/main" val="3349965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userDrawn="1">
  <p:cSld name="Two Full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18859" y="0"/>
            <a:ext cx="6073141" cy="6857999"/>
          </a:xfrm>
        </p:spPr>
        <p:txBody>
          <a:bodyPr anchor="ctr"/>
          <a:lstStyle>
            <a:lvl1pPr marL="0" indent="0" algn="ctr">
              <a:buNone/>
              <a:defRPr>
                <a:solidFill>
                  <a:schemeClr val="tx1"/>
                </a:solidFill>
                <a:latin typeface="+mn-lt"/>
              </a:defRPr>
            </a:lvl1pPr>
          </a:lstStyle>
          <a:p>
            <a:r>
              <a:rPr lang="en-US"/>
              <a:t>Drag picture to placeholder or click icon to add</a:t>
            </a:r>
            <a:endParaRPr lang="en-US" dirty="0"/>
          </a:p>
        </p:txBody>
      </p:sp>
      <p:sp>
        <p:nvSpPr>
          <p:cNvPr id="7" name="Picture Placeholder 3"/>
          <p:cNvSpPr>
            <a:spLocks noGrp="1"/>
          </p:cNvSpPr>
          <p:nvPr>
            <p:ph type="pic" sz="quarter" idx="12"/>
          </p:nvPr>
        </p:nvSpPr>
        <p:spPr>
          <a:xfrm>
            <a:off x="1" y="1"/>
            <a:ext cx="6073140" cy="6858000"/>
          </a:xfrm>
        </p:spPr>
        <p:txBody>
          <a:bodyPr anchor="ctr"/>
          <a:lstStyle>
            <a:lvl1pPr marL="0" indent="0" algn="ctr">
              <a:buNone/>
              <a:defRPr>
                <a:solidFill>
                  <a:schemeClr val="tx1"/>
                </a:solidFill>
                <a:latin typeface="+mn-lt"/>
              </a:defRPr>
            </a:lvl1pPr>
          </a:lstStyle>
          <a:p>
            <a:r>
              <a:rPr lang="en-US"/>
              <a:t>Drag picture to placeholder or click icon to add</a:t>
            </a:r>
            <a:endParaRPr lang="en-US" dirty="0"/>
          </a:p>
        </p:txBody>
      </p:sp>
      <p:sp>
        <p:nvSpPr>
          <p:cNvPr id="9" name="Text Placeholder 33"/>
          <p:cNvSpPr>
            <a:spLocks noGrp="1"/>
          </p:cNvSpPr>
          <p:nvPr>
            <p:ph type="body" sz="quarter" idx="18" hasCustomPrompt="1"/>
          </p:nvPr>
        </p:nvSpPr>
        <p:spPr>
          <a:xfrm>
            <a:off x="-9548"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bwMode="gray">
          <a:xfrm>
            <a:off x="387496"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bwMode="gray">
          <a:xfrm>
            <a:off x="6498774" y="5015592"/>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73141" y="0"/>
            <a:ext cx="45719" cy="6858000"/>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288151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cSld name="Content &amp; Image">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a:xfrm>
            <a:off x="4610587" y="1220583"/>
            <a:ext cx="7150883" cy="4956048"/>
          </a:xfrm>
        </p:spPr>
        <p:txBody>
          <a:bodyPr anchor="ctr"/>
          <a:lstStyle>
            <a:lvl1pPr marL="0" indent="0" algn="ctr">
              <a:buNone/>
              <a:defRPr>
                <a:solidFill>
                  <a:schemeClr val="tx1"/>
                </a:solidFill>
                <a:latin typeface="+mn-lt"/>
              </a:defRPr>
            </a:lvl1pPr>
          </a:lstStyle>
          <a:p>
            <a:r>
              <a:rPr lang="en-US"/>
              <a:t>Drag picture to placeholder or click icon to add</a:t>
            </a:r>
            <a:endParaRPr lang="en-US" dirty="0"/>
          </a:p>
        </p:txBody>
      </p:sp>
      <p:sp>
        <p:nvSpPr>
          <p:cNvPr id="8" name="Content Placeholder 2"/>
          <p:cNvSpPr>
            <a:spLocks noGrp="1"/>
          </p:cNvSpPr>
          <p:nvPr>
            <p:ph idx="13" hasCustomPrompt="1"/>
          </p:nvPr>
        </p:nvSpPr>
        <p:spPr>
          <a:xfrm>
            <a:off x="431756" y="1220583"/>
            <a:ext cx="3866395" cy="4956048"/>
          </a:xfrm>
        </p:spPr>
        <p:txBody>
          <a:bodyPr>
            <a:normAutofit/>
          </a:bodyPr>
          <a:lstStyle>
            <a:lvl1pPr>
              <a:defRPr sz="2200"/>
            </a:lvl1pPr>
            <a:lvl2pPr>
              <a:defRPr sz="2000"/>
            </a:lvl2pPr>
            <a:lvl3pPr>
              <a:defRPr sz="1800"/>
            </a:lvl3pPr>
            <a:lvl4pPr>
              <a:defRPr sz="1600"/>
            </a:lvl4pPr>
            <a:lvl5pPr>
              <a:defRPr sz="1400" baseline="0"/>
            </a:lvl5pPr>
            <a:lvl6pPr>
              <a:defRPr sz="2000"/>
            </a:lvl6pPr>
            <a:lvl7pPr>
              <a:defRPr sz="2000"/>
            </a:lvl7pPr>
            <a:lvl8pPr>
              <a:defRPr sz="2000"/>
            </a:lvl8pPr>
            <a:lvl9pPr>
              <a:defRPr sz="20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a:xfrm>
            <a:off x="411480" y="347471"/>
            <a:ext cx="9601200" cy="347472"/>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1057647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userDrawn="1">
  <p:cSld name="Black Background">
    <p:bg bwMode="black">
      <p:bgPr>
        <a:solidFill>
          <a:srgbClr val="000000"/>
        </a:solidFill>
        <a:effectLst/>
      </p:bgPr>
    </p:bg>
    <p:spTree>
      <p:nvGrpSpPr>
        <p:cNvPr id="1" name=""/>
        <p:cNvGrpSpPr/>
        <p:nvPr/>
      </p:nvGrpSpPr>
      <p:grpSpPr>
        <a:xfrm>
          <a:off x="0" y="0"/>
          <a:ext cx="0" cy="0"/>
          <a:chOff x="0" y="0"/>
          <a:chExt cx="0" cy="0"/>
        </a:xfrm>
      </p:grpSpPr>
      <p:sp>
        <p:nvSpPr>
          <p:cNvPr id="10"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3023916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cSld name="1_Title &amp; 1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9101" y="1220583"/>
            <a:ext cx="11353800" cy="4979800"/>
          </a:xfrm>
        </p:spPr>
        <p:txBody>
          <a:bodyPr anchor="ctr"/>
          <a:lstStyle>
            <a:lvl1pPr marL="0" indent="0" algn="ctr">
              <a:buFontTx/>
              <a:buNone/>
              <a:defRPr baseline="0">
                <a:solidFill>
                  <a:schemeClr val="tx1"/>
                </a:solidFill>
                <a:latin typeface="+mn-lt"/>
              </a:defRPr>
            </a:lvl1pPr>
          </a:lstStyle>
          <a:p>
            <a:r>
              <a:rPr lang="en-US"/>
              <a:t>Click icon to add picture</a:t>
            </a:r>
            <a:endParaRPr lang="en-US" dirty="0"/>
          </a:p>
        </p:txBody>
      </p:sp>
      <p:sp>
        <p:nvSpPr>
          <p:cNvPr id="2" name="Title 1"/>
          <p:cNvSpPr>
            <a:spLocks noGrp="1"/>
          </p:cNvSpPr>
          <p:nvPr>
            <p:ph type="title" hasCustomPrompt="1"/>
          </p:nvPr>
        </p:nvSpPr>
        <p:spPr>
          <a:xfrm>
            <a:off x="411480"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196102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Gold Accent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303957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Gold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3965360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ck Background">
    <p:bg bwMode="black">
      <p:bgPr>
        <a:solidFill>
          <a:srgbClr val="000000"/>
        </a:solidFill>
        <a:effectLst/>
      </p:bgPr>
    </p:bg>
    <p:spTree>
      <p:nvGrpSpPr>
        <p:cNvPr id="1" name=""/>
        <p:cNvGrpSpPr/>
        <p:nvPr/>
      </p:nvGrpSpPr>
      <p:grpSpPr>
        <a:xfrm>
          <a:off x="0" y="0"/>
          <a:ext cx="0" cy="0"/>
          <a:chOff x="0" y="0"/>
          <a:chExt cx="0" cy="0"/>
        </a:xfrm>
      </p:grpSpPr>
      <p:sp>
        <p:nvSpPr>
          <p:cNvPr id="10"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22308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Blank_DO NOT DELET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Green Block &amp; Content">
    <p:spTree>
      <p:nvGrpSpPr>
        <p:cNvPr id="1" name=""/>
        <p:cNvGrpSpPr/>
        <p:nvPr/>
      </p:nvGrpSpPr>
      <p:grpSpPr>
        <a:xfrm>
          <a:off x="0" y="0"/>
          <a:ext cx="0" cy="0"/>
          <a:chOff x="0" y="0"/>
          <a:chExt cx="0" cy="0"/>
        </a:xfrm>
      </p:grpSpPr>
      <p:sp>
        <p:nvSpPr>
          <p:cNvPr id="10" name="Content Placeholder 3"/>
          <p:cNvSpPr>
            <a:spLocks noGrp="1"/>
          </p:cNvSpPr>
          <p:nvPr>
            <p:ph sz="half" idx="2"/>
          </p:nvPr>
        </p:nvSpPr>
        <p:spPr>
          <a:xfrm>
            <a:off x="4797387" y="758952"/>
            <a:ext cx="7082577" cy="5715000"/>
          </a:xfrm>
        </p:spPr>
        <p:txBody>
          <a:bodyPr anchor="ctr">
            <a:normAutofit/>
          </a:bodyPr>
          <a:lstStyle>
            <a:lvl1pPr>
              <a:buClr>
                <a:schemeClr val="accent2"/>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0"/>
            <a:ext cx="4262664" cy="685800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all" spc="0" normalizeH="0" baseline="0" noProof="0" dirty="0">
              <a:ln>
                <a:noFill/>
              </a:ln>
              <a:solidFill>
                <a:schemeClr val="accent5">
                  <a:lumMod val="75000"/>
                </a:schemeClr>
              </a:solidFill>
              <a:effectLst/>
              <a:uLnTx/>
              <a:uFillTx/>
              <a:latin typeface="+mn-lt"/>
              <a:ea typeface="+mn-ea"/>
              <a:cs typeface="+mn-cs"/>
            </a:endParaRPr>
          </a:p>
        </p:txBody>
      </p:sp>
      <p:sp>
        <p:nvSpPr>
          <p:cNvPr id="11" name="Title 7"/>
          <p:cNvSpPr>
            <a:spLocks noGrp="1"/>
          </p:cNvSpPr>
          <p:nvPr>
            <p:ph type="title" hasCustomPrompt="1"/>
          </p:nvPr>
        </p:nvSpPr>
        <p:spPr>
          <a:xfrm>
            <a:off x="290438" y="2616470"/>
            <a:ext cx="3590282" cy="1625060"/>
          </a:xfrm>
        </p:spPr>
        <p:txBody>
          <a:bodyPr>
            <a:normAutofit/>
          </a:bodyPr>
          <a:lstStyle>
            <a:lvl1pPr>
              <a:lnSpc>
                <a:spcPct val="80000"/>
              </a:lnSpc>
              <a:defRPr sz="4000" cap="all" baseline="0"/>
            </a:lvl1pPr>
          </a:lstStyle>
          <a:p>
            <a:r>
              <a:rPr lang="en-US" dirty="0"/>
              <a:t>Click to Edit Master Title Style</a:t>
            </a:r>
          </a:p>
        </p:txBody>
      </p:sp>
      <p:sp>
        <p:nvSpPr>
          <p:cNvPr id="7" name="Rectangle 6"/>
          <p:cNvSpPr txBox="1">
            <a:spLocks noChangeArrowheads="1"/>
          </p:cNvSpPr>
          <p:nvPr userDrawn="1"/>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32534" y="243620"/>
            <a:ext cx="1441921" cy="297181"/>
          </a:xfrm>
          <a:prstGeom prst="rect">
            <a:avLst/>
          </a:prstGeom>
        </p:spPr>
      </p:pic>
    </p:spTree>
    <p:extLst>
      <p:ext uri="{BB962C8B-B14F-4D97-AF65-F5344CB8AC3E}">
        <p14:creationId xmlns:p14="http://schemas.microsoft.com/office/powerpoint/2010/main" val="106347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Gree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6943" y="3133535"/>
            <a:ext cx="10186176" cy="590931"/>
          </a:xfrm>
        </p:spPr>
        <p:txBody>
          <a:bodyPr wrap="square" anchor="ct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59" y="312673"/>
            <a:ext cx="860651" cy="334270"/>
          </a:xfrm>
          <a:prstGeom prst="rect">
            <a:avLst/>
          </a:prstGeom>
        </p:spPr>
      </p:pic>
    </p:spTree>
    <p:extLst>
      <p:ext uri="{BB962C8B-B14F-4D97-AF65-F5344CB8AC3E}">
        <p14:creationId xmlns:p14="http://schemas.microsoft.com/office/powerpoint/2010/main" val="263494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Blank_Image_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90126016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Title &amp; 1 Image w Fade">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1" y="1024137"/>
            <a:ext cx="12192001" cy="5833863"/>
          </a:xfrm>
          <a:gradFill>
            <a:gsLst>
              <a:gs pos="90000">
                <a:srgbClr val="FFFFFF">
                  <a:alpha val="25000"/>
                </a:srgbClr>
              </a:gs>
              <a:gs pos="75000">
                <a:srgbClr val="FFFFFF">
                  <a:alpha val="50000"/>
                </a:srgbClr>
              </a:gs>
              <a:gs pos="55000">
                <a:srgbClr val="FFFFFF">
                  <a:alpha val="90000"/>
                </a:srgbClr>
              </a:gs>
              <a:gs pos="35000">
                <a:schemeClr val="bg1"/>
              </a:gs>
            </a:gsLst>
            <a:lin ang="0" scaled="0"/>
          </a:gradFill>
        </p:spPr>
        <p:txBody>
          <a:bodyPr anchor="ctr"/>
          <a:lstStyle>
            <a:lvl1pPr marL="0" indent="0" algn="ctr">
              <a:buNone/>
              <a:defRPr>
                <a:solidFill>
                  <a:schemeClr val="tx1"/>
                </a:solidFill>
                <a:latin typeface="+mn-lt"/>
              </a:defRPr>
            </a:lvl1pPr>
          </a:lstStyle>
          <a:p>
            <a:r>
              <a:rPr lang="en-US"/>
              <a:t>Click icon to add picture</a:t>
            </a:r>
            <a:endParaRPr lang="en-US" dirty="0"/>
          </a:p>
        </p:txBody>
      </p:sp>
      <p:pic>
        <p:nvPicPr>
          <p:cNvPr id="13" name="Picture 12">
            <a:extLst>
              <a:ext uri="{FF2B5EF4-FFF2-40B4-BE49-F238E27FC236}">
                <a16:creationId xmlns:a16="http://schemas.microsoft.com/office/drawing/2014/main" id="{C7B7014C-EB32-49CA-8640-A8673EB040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
        <p:nvSpPr>
          <p:cNvPr id="3" name="Title 2">
            <a:extLst>
              <a:ext uri="{FF2B5EF4-FFF2-40B4-BE49-F238E27FC236}">
                <a16:creationId xmlns:a16="http://schemas.microsoft.com/office/drawing/2014/main" id="{ABE382D4-3AC2-49F9-B25C-6147C6B70C02}"/>
              </a:ext>
            </a:extLst>
          </p:cNvPr>
          <p:cNvSpPr>
            <a:spLocks noGrp="1"/>
          </p:cNvSpPr>
          <p:nvPr>
            <p:ph type="title" hasCustomPrompt="1"/>
          </p:nvPr>
        </p:nvSpPr>
        <p:spPr/>
        <p:txBody>
          <a:bodyPr/>
          <a:lstStyle>
            <a:lvl1pPr>
              <a:defRPr/>
            </a:lvl1pPr>
          </a:lstStyle>
          <a:p>
            <a:r>
              <a:rPr lang="en-US"/>
              <a:t>Click to ADD TITLE</a:t>
            </a:r>
          </a:p>
        </p:txBody>
      </p:sp>
      <p:sp>
        <p:nvSpPr>
          <p:cNvPr id="4" name="Text Placeholder 3">
            <a:extLst>
              <a:ext uri="{FF2B5EF4-FFF2-40B4-BE49-F238E27FC236}">
                <a16:creationId xmlns:a16="http://schemas.microsoft.com/office/drawing/2014/main" id="{D29060FD-C0D9-47F4-9B9F-A1485FB0673D}"/>
              </a:ext>
            </a:extLst>
          </p:cNvPr>
          <p:cNvSpPr>
            <a:spLocks noGrp="1"/>
          </p:cNvSpPr>
          <p:nvPr>
            <p:ph type="body" sz="quarter" idx="22" hasCustomPrompt="1"/>
          </p:nvPr>
        </p:nvSpPr>
        <p:spPr>
          <a:xfrm>
            <a:off x="0" y="1024128"/>
            <a:ext cx="5742432" cy="5833872"/>
          </a:xfrm>
          <a:gradFill>
            <a:gsLst>
              <a:gs pos="100000">
                <a:schemeClr val="bg1">
                  <a:alpha val="0"/>
                </a:schemeClr>
              </a:gs>
              <a:gs pos="90000">
                <a:srgbClr val="FFFFFF">
                  <a:alpha val="25000"/>
                </a:srgbClr>
              </a:gs>
              <a:gs pos="75000">
                <a:srgbClr val="FFFFFF">
                  <a:alpha val="50000"/>
                </a:srgbClr>
              </a:gs>
              <a:gs pos="55000">
                <a:srgbClr val="FFFFFF">
                  <a:alpha val="90000"/>
                </a:srgbClr>
              </a:gs>
              <a:gs pos="35000">
                <a:schemeClr val="bg1"/>
              </a:gs>
            </a:gsLst>
          </a:gradFill>
        </p:spPr>
        <p:txBody>
          <a:bodyPr vert="horz" lIns="0" tIns="0" rIns="0" bIns="0" rtlCol="0">
            <a:noAutofit/>
          </a:bodyPr>
          <a:lstStyle>
            <a:lvl1pPr marL="273582" indent="-273582">
              <a:buClr>
                <a:schemeClr val="bg1"/>
              </a:buClr>
              <a:buFont typeface="Arial" panose="020B0604020202020204" pitchFamily="34" charset="0"/>
              <a:buChar char="•"/>
              <a:defRPr lang="en-US" dirty="0">
                <a:solidFill>
                  <a:schemeClr val="bg1"/>
                </a:solidFill>
              </a:defRPr>
            </a:lvl1pPr>
            <a:lvl2pPr>
              <a:defRPr lang="en-US" dirty="0"/>
            </a:lvl2pPr>
          </a:lstStyle>
          <a:p>
            <a:pPr marL="0" lvl="0" indent="0">
              <a:buClr>
                <a:schemeClr val="bg1"/>
              </a:buClr>
              <a:buNone/>
            </a:pPr>
            <a:r>
              <a:rPr lang="en-US" dirty="0"/>
              <a:t> </a:t>
            </a:r>
          </a:p>
        </p:txBody>
      </p:sp>
      <p:sp>
        <p:nvSpPr>
          <p:cNvPr id="8" name="Text Placeholder 4">
            <a:extLst>
              <a:ext uri="{FF2B5EF4-FFF2-40B4-BE49-F238E27FC236}">
                <a16:creationId xmlns:a16="http://schemas.microsoft.com/office/drawing/2014/main" id="{5E29014A-1667-4104-A12B-5AC4AEA177A3}"/>
              </a:ext>
            </a:extLst>
          </p:cNvPr>
          <p:cNvSpPr>
            <a:spLocks noGrp="1"/>
          </p:cNvSpPr>
          <p:nvPr>
            <p:ph type="body" sz="quarter" idx="17"/>
          </p:nvPr>
        </p:nvSpPr>
        <p:spPr>
          <a:xfrm>
            <a:off x="424870" y="1720312"/>
            <a:ext cx="5169106" cy="4420512"/>
          </a:xfrm>
        </p:spPr>
        <p:txBody>
          <a:bodyPr vert="horz" lIns="0" tIns="0" rIns="0" bIns="0" rtlCol="0" anchor="ctr" anchorCtr="0">
            <a:noAutofit/>
          </a:bodyPr>
          <a:lstStyle>
            <a:lvl1pPr>
              <a:defRPr lang="en-US" dirty="0"/>
            </a:lvl1pPr>
          </a:lstStyle>
          <a:p>
            <a:pPr lvl="0"/>
            <a:r>
              <a:rPr lang="en-US"/>
              <a:t>Edit Master text styles</a:t>
            </a:r>
          </a:p>
        </p:txBody>
      </p:sp>
      <p:cxnSp>
        <p:nvCxnSpPr>
          <p:cNvPr id="9" name="Straight Connector 8">
            <a:extLst>
              <a:ext uri="{FF2B5EF4-FFF2-40B4-BE49-F238E27FC236}">
                <a16:creationId xmlns:a16="http://schemas.microsoft.com/office/drawing/2014/main" id="{B80151B9-AB40-4A0C-B4C6-C6086FB1E7D3}"/>
              </a:ext>
            </a:extLst>
          </p:cNvPr>
          <p:cNvCxnSpPr/>
          <p:nvPr/>
        </p:nvCxnSpPr>
        <p:spPr>
          <a:xfrm>
            <a:off x="-9236" y="999836"/>
            <a:ext cx="12198096" cy="0"/>
          </a:xfrm>
          <a:prstGeom prst="line">
            <a:avLst/>
          </a:prstGeom>
          <a:ln w="44450">
            <a:solidFill>
              <a:srgbClr val="465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968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0800000">
            <a:off x="3" y="0"/>
            <a:ext cx="6090249" cy="6858000"/>
          </a:xfrm>
          <a:prstGeom prst="rect">
            <a:avLst/>
          </a:prstGeom>
        </p:spPr>
      </p:pic>
      <p:sp>
        <p:nvSpPr>
          <p:cNvPr id="2" name="Title 1"/>
          <p:cNvSpPr>
            <a:spLocks noGrp="1"/>
          </p:cNvSpPr>
          <p:nvPr>
            <p:ph type="ctrTitle" hasCustomPrompt="1"/>
          </p:nvPr>
        </p:nvSpPr>
        <p:spPr>
          <a:xfrm>
            <a:off x="427701" y="2889534"/>
            <a:ext cx="5417220" cy="1077218"/>
          </a:xfrm>
        </p:spPr>
        <p:txBody>
          <a:bodyPr wrap="square" tIns="91440" anchor="ctr" anchorCtr="0">
            <a:spAutoFit/>
          </a:bodyPr>
          <a:lstStyle>
            <a:lvl1pPr>
              <a:lnSpc>
                <a:spcPct val="80000"/>
              </a:lnSpc>
              <a:defRPr sz="4000" b="0" cap="all" baseline="0">
                <a:solidFill>
                  <a:schemeClr val="bg1"/>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a:xfrm>
            <a:off x="427704" y="5448379"/>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a:xfrm>
            <a:off x="427704" y="5759945"/>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a:xfrm>
            <a:off x="427704" y="6247693"/>
            <a:ext cx="5424946" cy="193899"/>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3" name="Rectangle 12"/>
          <p:cNvSpPr/>
          <p:nvPr userDrawn="1"/>
        </p:nvSpPr>
        <p:spPr>
          <a:xfrm>
            <a:off x="606856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49901" y="2647455"/>
            <a:ext cx="4015632" cy="1561385"/>
          </a:xfrm>
          <a:prstGeom prst="rect">
            <a:avLst/>
          </a:prstGeom>
        </p:spPr>
      </p:pic>
    </p:spTree>
    <p:extLst>
      <p:ext uri="{BB962C8B-B14F-4D97-AF65-F5344CB8AC3E}">
        <p14:creationId xmlns:p14="http://schemas.microsoft.com/office/powerpoint/2010/main" val="2102198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7581" y="1222375"/>
            <a:ext cx="11471932" cy="4956048"/>
          </a:xfrm>
        </p:spPr>
        <p:txBody>
          <a:bodyPr>
            <a:normAutofit/>
          </a:bodyPr>
          <a:lstStyle>
            <a:lvl1pPr marL="273582" indent="-273582">
              <a:lnSpc>
                <a:spcPct val="90000"/>
              </a:lnSpc>
              <a:spcBef>
                <a:spcPts val="2139"/>
              </a:spcBef>
              <a:buClr>
                <a:schemeClr val="tx1"/>
              </a:buClr>
              <a:defRPr sz="2200" b="0">
                <a:solidFill>
                  <a:schemeClr val="tx1"/>
                </a:solidFill>
                <a:latin typeface="+mn-lt"/>
              </a:defRPr>
            </a:lvl1pPr>
            <a:lvl2pPr marL="813195" indent="-271694">
              <a:lnSpc>
                <a:spcPct val="90000"/>
              </a:lnSpc>
              <a:spcBef>
                <a:spcPts val="0"/>
              </a:spcBef>
              <a:spcAft>
                <a:spcPts val="238"/>
              </a:spcAft>
              <a:defRPr sz="2000" b="0">
                <a:solidFill>
                  <a:schemeClr val="tx1"/>
                </a:solidFill>
                <a:latin typeface="+mn-lt"/>
              </a:defRPr>
            </a:lvl2pPr>
            <a:lvl3pPr marL="1358470" indent="-271694">
              <a:lnSpc>
                <a:spcPct val="90000"/>
              </a:lnSpc>
              <a:spcBef>
                <a:spcPts val="0"/>
              </a:spcBef>
              <a:spcAft>
                <a:spcPts val="238"/>
              </a:spcAft>
              <a:defRPr sz="1800" b="0">
                <a:solidFill>
                  <a:schemeClr val="tx1"/>
                </a:solidFill>
                <a:latin typeface="+mn-lt"/>
              </a:defRPr>
            </a:lvl3pPr>
            <a:lvl4pPr marL="1901952" indent="-271694">
              <a:lnSpc>
                <a:spcPct val="90000"/>
              </a:lnSpc>
              <a:defRPr sz="1600" b="0">
                <a:solidFill>
                  <a:schemeClr val="tx1"/>
                </a:solidFill>
                <a:latin typeface="+mn-lt"/>
              </a:defRPr>
            </a:lvl4pPr>
            <a:lvl5pPr marL="2441448" indent="-271694">
              <a:lnSpc>
                <a:spcPct val="90000"/>
              </a:lnSpc>
              <a:defRPr sz="1400" b="0" baseline="0">
                <a:solidFill>
                  <a:schemeClr val="tx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a:xfrm>
            <a:off x="411482" y="347472"/>
            <a:ext cx="10255125"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284574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0800000">
            <a:off x="1" y="0"/>
            <a:ext cx="2589382" cy="6858000"/>
          </a:xfrm>
          <a:prstGeom prst="rect">
            <a:avLst/>
          </a:prstGeom>
        </p:spPr>
      </p:pic>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02618" y="0"/>
            <a:ext cx="2589382" cy="6858000"/>
          </a:xfrm>
          <a:prstGeom prst="rect">
            <a:avLst/>
          </a:prstGeom>
        </p:spPr>
      </p:pic>
      <p:sp>
        <p:nvSpPr>
          <p:cNvPr id="6"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3342" y="290349"/>
            <a:ext cx="968895" cy="382321"/>
          </a:xfrm>
          <a:prstGeom prst="rect">
            <a:avLst/>
          </a:prstGeom>
        </p:spPr>
      </p:pic>
      <p:sp>
        <p:nvSpPr>
          <p:cNvPr id="2" name="Rectangle 1"/>
          <p:cNvSpPr/>
          <p:nvPr userDrawn="1"/>
        </p:nvSpPr>
        <p:spPr>
          <a:xfrm>
            <a:off x="2585547" y="0"/>
            <a:ext cx="70209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itle 21"/>
          <p:cNvSpPr>
            <a:spLocks noGrp="1"/>
          </p:cNvSpPr>
          <p:nvPr>
            <p:ph type="title" hasCustomPrompt="1"/>
          </p:nvPr>
        </p:nvSpPr>
        <p:spPr>
          <a:xfrm>
            <a:off x="2984942" y="627503"/>
            <a:ext cx="6222120" cy="344710"/>
          </a:xfrm>
        </p:spPr>
        <p:txBody>
          <a:bodyPr wrap="square" anchor="ctr">
            <a:spAutoFit/>
          </a:bodyPr>
          <a:lstStyle>
            <a:lvl1pPr algn="l">
              <a:lnSpc>
                <a:spcPct val="80000"/>
              </a:lnSpc>
              <a:defRPr sz="2800">
                <a:solidFill>
                  <a:schemeClr val="bg2"/>
                </a:solidFill>
                <a:latin typeface="+mn-lt"/>
              </a:defRPr>
            </a:lvl1pPr>
          </a:lstStyle>
          <a:p>
            <a:r>
              <a:rPr lang="en-US" dirty="0"/>
              <a:t>Click to add agenda title</a:t>
            </a:r>
          </a:p>
        </p:txBody>
      </p:sp>
      <p:sp>
        <p:nvSpPr>
          <p:cNvPr id="20" name="Content Placeholder 3"/>
          <p:cNvSpPr>
            <a:spLocks noGrp="1"/>
          </p:cNvSpPr>
          <p:nvPr>
            <p:ph sz="half" idx="2" hasCustomPrompt="1"/>
          </p:nvPr>
        </p:nvSpPr>
        <p:spPr>
          <a:xfrm>
            <a:off x="2984942" y="1334817"/>
            <a:ext cx="6222120" cy="5145885"/>
          </a:xfrm>
        </p:spPr>
        <p:txBody>
          <a:bodyPr anchor="t">
            <a:normAutofit/>
          </a:bodyPr>
          <a:lstStyle>
            <a:lvl1pPr marL="457200" indent="-457200">
              <a:buClr>
                <a:schemeClr val="tx1"/>
              </a:buClr>
              <a:buFont typeface="+mj-lt"/>
              <a:buAutoNum type="arabicPeriod"/>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960261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Rectangle 12"/>
          <p:cNvSpPr/>
          <p:nvPr userDrawn="1"/>
        </p:nvSpPr>
        <p:spPr>
          <a:xfrm>
            <a:off x="2534520"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230672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Green Divi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6286"/>
          </a:xfrm>
          <a:prstGeom prst="rect">
            <a:avLst/>
          </a:prstGeom>
        </p:spPr>
      </p:pic>
      <p:sp>
        <p:nvSpPr>
          <p:cNvPr id="22" name="Title 21"/>
          <p:cNvSpPr>
            <a:spLocks noGrp="1"/>
          </p:cNvSpPr>
          <p:nvPr>
            <p:ph type="title" hasCustomPrompt="1"/>
          </p:nvPr>
        </p:nvSpPr>
        <p:spPr>
          <a:xfrm>
            <a:off x="386943" y="3133538"/>
            <a:ext cx="10186176" cy="590931"/>
          </a:xfrm>
        </p:spPr>
        <p:txBody>
          <a:bodyPr wrap="square" anchor="ct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3342" y="290349"/>
            <a:ext cx="968895" cy="382321"/>
          </a:xfrm>
          <a:prstGeom prst="rect">
            <a:avLst/>
          </a:prstGeom>
        </p:spPr>
      </p:pic>
    </p:spTree>
    <p:extLst>
      <p:ext uri="{BB962C8B-B14F-4D97-AF65-F5344CB8AC3E}">
        <p14:creationId xmlns:p14="http://schemas.microsoft.com/office/powerpoint/2010/main" val="3141224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Green Color Block &amp; Conten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4236685" cy="6858000"/>
          </a:xfrm>
          <a:prstGeom prst="rect">
            <a:avLst/>
          </a:prstGeom>
        </p:spPr>
      </p:pic>
      <p:sp>
        <p:nvSpPr>
          <p:cNvPr id="10" name="Content Placeholder 3"/>
          <p:cNvSpPr>
            <a:spLocks noGrp="1"/>
          </p:cNvSpPr>
          <p:nvPr>
            <p:ph sz="half" idx="2" hasCustomPrompt="1"/>
          </p:nvPr>
        </p:nvSpPr>
        <p:spPr>
          <a:xfrm>
            <a:off x="4694639" y="772358"/>
            <a:ext cx="7082577" cy="5477522"/>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a:xfrm>
            <a:off x="430546" y="2984948"/>
            <a:ext cx="3271299" cy="886397"/>
          </a:xfrm>
        </p:spPr>
        <p:txBody>
          <a:bodyPr wrap="square"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185" y="293170"/>
            <a:ext cx="967228" cy="376084"/>
          </a:xfrm>
          <a:prstGeom prst="rect">
            <a:avLst/>
          </a:prstGeom>
        </p:spPr>
      </p:pic>
    </p:spTree>
    <p:extLst>
      <p:ext uri="{BB962C8B-B14F-4D97-AF65-F5344CB8AC3E}">
        <p14:creationId xmlns:p14="http://schemas.microsoft.com/office/powerpoint/2010/main" val="389867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138455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Only - No Footer">
    <p:spTree>
      <p:nvGrpSpPr>
        <p:cNvPr id="1" name=""/>
        <p:cNvGrpSpPr/>
        <p:nvPr/>
      </p:nvGrpSpPr>
      <p:grpSpPr>
        <a:xfrm>
          <a:off x="0" y="0"/>
          <a:ext cx="0" cy="0"/>
          <a:chOff x="0" y="0"/>
          <a:chExt cx="0" cy="0"/>
        </a:xfrm>
      </p:grpSpPr>
      <p:sp>
        <p:nvSpPr>
          <p:cNvPr id="2" name="Rectangle 1"/>
          <p:cNvSpPr/>
          <p:nvPr/>
        </p:nvSpPr>
        <p:spPr>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schemeClr val="bg1"/>
              </a:solidFill>
            </a:endParaRPr>
          </a:p>
        </p:txBody>
      </p:sp>
      <p:sp>
        <p:nvSpPr>
          <p:cNvPr id="8" name="Title 7"/>
          <p:cNvSpPr>
            <a:spLocks noGrp="1"/>
          </p:cNvSpPr>
          <p:nvPr>
            <p:ph type="title" hasCustomPrompt="1"/>
          </p:nvPr>
        </p:nvSpPr>
        <p:spPr/>
        <p:txBody>
          <a:bodyPr/>
          <a:lstStyle>
            <a:lvl1pPr>
              <a:defRPr/>
            </a:lvl1pPr>
          </a:lstStyle>
          <a:p>
            <a:r>
              <a:rPr lang="en-US" dirty="0"/>
              <a:t>Click to add title</a:t>
            </a:r>
          </a:p>
        </p:txBody>
      </p:sp>
      <p:sp>
        <p:nvSpPr>
          <p:cNvPr id="5"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2920540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33715" y="1222375"/>
            <a:ext cx="5430358" cy="4956048"/>
          </a:xfrm>
        </p:spPr>
        <p:txBody>
          <a:bodyPr/>
          <a:lstStyle>
            <a:lvl1pPr>
              <a:defRPr sz="2200"/>
            </a:lvl1pPr>
            <a:lvl2pPr>
              <a:defRPr sz="2000"/>
            </a:lvl2pPr>
            <a:lvl3pPr>
              <a:defRPr sz="1800"/>
            </a:lvl3pPr>
            <a:lvl4pPr>
              <a:defRPr sz="1600"/>
            </a:lvl4pPr>
            <a:lvl5pPr>
              <a:defRPr sz="1400" baseline="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21145" y="1222375"/>
            <a:ext cx="5431536" cy="4956048"/>
          </a:xfrm>
        </p:spPr>
        <p:txBody>
          <a:bodyPr/>
          <a:lstStyle>
            <a:lvl1pPr>
              <a:defRPr sz="2200"/>
            </a:lvl1pPr>
            <a:lvl2pPr>
              <a:defRPr sz="2000"/>
            </a:lvl2pPr>
            <a:lvl3pPr>
              <a:defRPr sz="1800"/>
            </a:lvl3pPr>
            <a:lvl4pPr>
              <a:defRPr sz="1600"/>
            </a:lvl4pPr>
            <a:lvl5pPr>
              <a:defRPr sz="140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p:cNvSpPr>
            <a:spLocks noGrp="1"/>
          </p:cNvSpPr>
          <p:nvPr>
            <p:ph type="title" hasCustomPrompt="1"/>
          </p:nvPr>
        </p:nvSpPr>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216813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Green Color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65236"/>
          <a:stretch/>
        </p:blipFill>
        <p:spPr>
          <a:xfrm>
            <a:off x="0" y="-1"/>
            <a:ext cx="4236684" cy="6858000"/>
          </a:xfrm>
          <a:prstGeom prst="rect">
            <a:avLst/>
          </a:prstGeom>
        </p:spPr>
      </p:pic>
      <p:sp>
        <p:nvSpPr>
          <p:cNvPr id="10" name="Content Placeholder 3"/>
          <p:cNvSpPr>
            <a:spLocks noGrp="1"/>
          </p:cNvSpPr>
          <p:nvPr>
            <p:ph sz="half" idx="2" hasCustomPrompt="1"/>
          </p:nvPr>
        </p:nvSpPr>
        <p:spPr>
          <a:xfrm>
            <a:off x="4694637" y="772358"/>
            <a:ext cx="7082577" cy="5477522"/>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30546" y="2984944"/>
            <a:ext cx="3271299" cy="886397"/>
          </a:xfrm>
        </p:spPr>
        <p:txBody>
          <a:bodyPr wrap="square"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118545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33717" y="1222375"/>
            <a:ext cx="3526818" cy="4956048"/>
          </a:xfrm>
        </p:spPr>
        <p:txBody>
          <a:bodyPr/>
          <a:lstStyle>
            <a:lvl1pPr>
              <a:defRPr sz="2200"/>
            </a:lvl1pPr>
            <a:lvl2pPr>
              <a:defRPr sz="2000"/>
            </a:lvl2pPr>
            <a:lvl3pPr>
              <a:defRPr sz="1800"/>
            </a:lvl3pPr>
            <a:lvl4pPr>
              <a:defRPr sz="1600"/>
            </a:lvl4pPr>
            <a:lvl5pPr>
              <a:defRPr sz="1400" baseline="0"/>
            </a:lvl5pPr>
            <a:lvl6pPr>
              <a:defRPr sz="1900"/>
            </a:lvl6pPr>
            <a:lvl7pPr>
              <a:defRPr sz="1900"/>
            </a:lvl7pPr>
            <a:lvl8pPr>
              <a:defRPr sz="1900"/>
            </a:lvl8pPr>
            <a:lvl9pPr>
              <a:defRPr sz="19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4"/>
          <p:cNvSpPr>
            <a:spLocks noGrp="1"/>
          </p:cNvSpPr>
          <p:nvPr>
            <p:ph type="title" hasCustomPrompt="1"/>
          </p:nvPr>
        </p:nvSpPr>
        <p:spPr/>
        <p:txBody>
          <a:bodyPr/>
          <a:lstStyle>
            <a:lvl1pPr>
              <a:defRPr/>
            </a:lvl1pPr>
          </a:lstStyle>
          <a:p>
            <a:r>
              <a:rPr lang="en-US" dirty="0"/>
              <a:t>Click to add title</a:t>
            </a:r>
          </a:p>
        </p:txBody>
      </p:sp>
      <p:sp>
        <p:nvSpPr>
          <p:cNvPr id="20" name="Content Placeholder 19"/>
          <p:cNvSpPr>
            <a:spLocks noGrp="1"/>
          </p:cNvSpPr>
          <p:nvPr>
            <p:ph sz="quarter" idx="15" hasCustomPrompt="1"/>
          </p:nvPr>
        </p:nvSpPr>
        <p:spPr>
          <a:xfrm>
            <a:off x="4334938" y="1222375"/>
            <a:ext cx="3531780" cy="4956048"/>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241122" y="1222375"/>
            <a:ext cx="3531780" cy="4956048"/>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54612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0530" y="1222379"/>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1"/>
          <p:cNvSpPr>
            <a:spLocks noGrp="1"/>
          </p:cNvSpPr>
          <p:nvPr>
            <p:ph sz="quarter" idx="16" hasCustomPrompt="1"/>
          </p:nvPr>
        </p:nvSpPr>
        <p:spPr>
          <a:xfrm>
            <a:off x="6470142" y="1222379"/>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1"/>
          <p:cNvSpPr>
            <a:spLocks noGrp="1"/>
          </p:cNvSpPr>
          <p:nvPr>
            <p:ph sz="quarter" idx="20" hasCustomPrompt="1"/>
          </p:nvPr>
        </p:nvSpPr>
        <p:spPr>
          <a:xfrm>
            <a:off x="6470142" y="3808387"/>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11"/>
          <p:cNvSpPr>
            <a:spLocks noGrp="1"/>
          </p:cNvSpPr>
          <p:nvPr>
            <p:ph sz="quarter" idx="19" hasCustomPrompt="1"/>
          </p:nvPr>
        </p:nvSpPr>
        <p:spPr>
          <a:xfrm>
            <a:off x="430530" y="3808387"/>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031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One Over One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1757" y="1222375"/>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p:cNvSpPr>
            <a:spLocks noGrp="1"/>
          </p:cNvSpPr>
          <p:nvPr>
            <p:ph sz="quarter" idx="19" hasCustomPrompt="1"/>
          </p:nvPr>
        </p:nvSpPr>
        <p:spPr>
          <a:xfrm>
            <a:off x="431757" y="3808382"/>
            <a:ext cx="11341143" cy="2369054"/>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126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650666" y="1222375"/>
            <a:ext cx="7122234" cy="4956048"/>
          </a:xfrm>
        </p:spPr>
        <p:txBody>
          <a:bodyPr/>
          <a:lstStyle>
            <a:lvl1pPr>
              <a:defRPr sz="2200"/>
            </a:lvl1pPr>
            <a:lvl2pPr>
              <a:defRPr sz="2000"/>
            </a:lvl2pPr>
            <a:lvl3pPr>
              <a:defRPr sz="1800"/>
            </a:lvl3pPr>
            <a:lvl4pPr>
              <a:defRPr sz="1600"/>
            </a:lvl4pPr>
            <a:lvl5pPr>
              <a:defRPr sz="1400" baseline="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hasCustomPrompt="1"/>
          </p:nvPr>
        </p:nvSpPr>
        <p:spPr>
          <a:xfrm>
            <a:off x="433715" y="1222375"/>
            <a:ext cx="3866348" cy="4956048"/>
          </a:xfrm>
        </p:spPr>
        <p:txBody>
          <a:bodyPr/>
          <a:lstStyle>
            <a:lvl1pPr>
              <a:defRPr sz="2200"/>
            </a:lvl1pPr>
            <a:lvl2pPr>
              <a:defRPr sz="2000"/>
            </a:lvl2pPr>
            <a:lvl3pPr>
              <a:defRPr sz="1800"/>
            </a:lvl3pPr>
            <a:lvl4pPr>
              <a:defRPr sz="1600"/>
            </a:lvl4pPr>
            <a:lvl5pPr>
              <a:defRPr sz="1400"/>
            </a:lvl5pPr>
            <a:lvl6pPr>
              <a:defRPr sz="2400"/>
            </a:lvl6pPr>
            <a:lvl7pPr>
              <a:defRPr sz="2400"/>
            </a:lvl7pPr>
            <a:lvl8pPr>
              <a:defRPr sz="2400"/>
            </a:lvl8pPr>
            <a:lvl9pPr>
              <a:defRPr sz="24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2322798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 &amp; Image">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a:xfrm>
            <a:off x="4610587" y="1220583"/>
            <a:ext cx="7150883" cy="4956048"/>
          </a:xfrm>
        </p:spPr>
        <p:txBody>
          <a:bodyPr anchor="ctr"/>
          <a:lstStyle>
            <a:lvl1pPr marL="0" indent="0" algn="ctr">
              <a:buNone/>
              <a:defRPr>
                <a:solidFill>
                  <a:schemeClr val="tx1"/>
                </a:solidFill>
                <a:latin typeface="+mn-lt"/>
              </a:defRPr>
            </a:lvl1pPr>
          </a:lstStyle>
          <a:p>
            <a:r>
              <a:rPr lang="en-US" dirty="0"/>
              <a:t>Click icon to add picture</a:t>
            </a:r>
          </a:p>
        </p:txBody>
      </p:sp>
      <p:sp>
        <p:nvSpPr>
          <p:cNvPr id="8" name="Content Placeholder 2"/>
          <p:cNvSpPr>
            <a:spLocks noGrp="1"/>
          </p:cNvSpPr>
          <p:nvPr>
            <p:ph idx="13" hasCustomPrompt="1"/>
          </p:nvPr>
        </p:nvSpPr>
        <p:spPr>
          <a:xfrm>
            <a:off x="431756" y="1220583"/>
            <a:ext cx="3866395" cy="4956048"/>
          </a:xfrm>
        </p:spPr>
        <p:txBody>
          <a:bodyPr>
            <a:normAutofit/>
          </a:bodyPr>
          <a:lstStyle>
            <a:lvl1pPr>
              <a:defRPr sz="2200"/>
            </a:lvl1pPr>
            <a:lvl2pPr>
              <a:defRPr sz="2000"/>
            </a:lvl2pPr>
            <a:lvl3pPr>
              <a:defRPr sz="1800"/>
            </a:lvl3pPr>
            <a:lvl4pPr>
              <a:defRPr sz="1600"/>
            </a:lvl4pPr>
            <a:lvl5pPr>
              <a:defRPr sz="1400" baseline="0"/>
            </a:lvl5pPr>
            <a:lvl6pPr>
              <a:defRPr sz="2000"/>
            </a:lvl6pPr>
            <a:lvl7pPr>
              <a:defRPr sz="2000"/>
            </a:lvl7pPr>
            <a:lvl8pPr>
              <a:defRPr sz="2000"/>
            </a:lvl8pPr>
            <a:lvl9pPr>
              <a:defRPr sz="20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hasCustomPrompt="1"/>
          </p:nvPr>
        </p:nvSpPr>
        <p:spPr>
          <a:xfrm>
            <a:off x="411482" y="347471"/>
            <a:ext cx="10259568" cy="347472"/>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327185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mp; 1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9101" y="1220583"/>
            <a:ext cx="11353800" cy="4979800"/>
          </a:xfrm>
        </p:spPr>
        <p:txBody>
          <a:bodyPr anchor="ctr"/>
          <a:lstStyle>
            <a:lvl1pPr marL="0" indent="0" algn="ctr">
              <a:buFontTx/>
              <a:buNone/>
              <a:defRPr baseline="0">
                <a:solidFill>
                  <a:schemeClr val="tx1"/>
                </a:solidFill>
                <a:latin typeface="+mn-lt"/>
              </a:defRPr>
            </a:lvl1pPr>
          </a:lstStyle>
          <a:p>
            <a:r>
              <a:rPr lang="en-US" dirty="0"/>
              <a:t>Click icon to add picture</a:t>
            </a:r>
          </a:p>
        </p:txBody>
      </p:sp>
      <p:sp>
        <p:nvSpPr>
          <p:cNvPr id="2" name="Title 1"/>
          <p:cNvSpPr>
            <a:spLocks noGrp="1"/>
          </p:cNvSpPr>
          <p:nvPr>
            <p:ph type="title" hasCustomPrompt="1"/>
          </p:nvPr>
        </p:nvSpPr>
        <p:spPr>
          <a:xfrm>
            <a:off x="411482"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266312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mp; 2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32205" y="1024137"/>
            <a:ext cx="6059797" cy="5480643"/>
          </a:xfrm>
        </p:spPr>
        <p:txBody>
          <a:bodyPr anchor="ctr"/>
          <a:lstStyle>
            <a:lvl1pPr marL="0" indent="0" algn="ctr">
              <a:buNone/>
              <a:defRPr>
                <a:solidFill>
                  <a:schemeClr val="tx1"/>
                </a:solidFill>
                <a:latin typeface="+mn-lt"/>
              </a:defRPr>
            </a:lvl1pPr>
          </a:lstStyle>
          <a:p>
            <a:r>
              <a:rPr lang="en-US" dirty="0"/>
              <a:t>Click icon to add picture</a:t>
            </a:r>
          </a:p>
        </p:txBody>
      </p:sp>
      <p:sp>
        <p:nvSpPr>
          <p:cNvPr id="7" name="Picture Placeholder 3"/>
          <p:cNvSpPr>
            <a:spLocks noGrp="1"/>
          </p:cNvSpPr>
          <p:nvPr>
            <p:ph type="pic" sz="quarter" idx="12"/>
          </p:nvPr>
        </p:nvSpPr>
        <p:spPr>
          <a:xfrm>
            <a:off x="3049" y="1024137"/>
            <a:ext cx="6081233" cy="5480643"/>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2" name="Title 11"/>
          <p:cNvSpPr>
            <a:spLocks noGrp="1"/>
          </p:cNvSpPr>
          <p:nvPr>
            <p:ph type="title" hasCustomPrompt="1"/>
          </p:nvPr>
        </p:nvSpPr>
        <p:spPr>
          <a:xfrm>
            <a:off x="411482"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9" name="Text Placeholder 33"/>
          <p:cNvSpPr>
            <a:spLocks noGrp="1"/>
          </p:cNvSpPr>
          <p:nvPr>
            <p:ph type="body" sz="quarter" idx="18" hasCustomPrompt="1"/>
          </p:nvPr>
        </p:nvSpPr>
        <p:spPr>
          <a:xfrm>
            <a:off x="-9546"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a:xfrm>
            <a:off x="387498"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a:xfrm>
            <a:off x="6498774" y="5015596"/>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86205" y="1024137"/>
            <a:ext cx="45719" cy="5480643"/>
          </a:xfrm>
          <a:solidFill>
            <a:schemeClr val="tx2">
              <a:lumMod val="75000"/>
            </a:schemeClr>
          </a:solidFill>
        </p:spPr>
        <p:txBody>
          <a:bodyPr/>
          <a:lstStyle>
            <a:lvl1pPr marL="0" indent="0">
              <a:buNone/>
              <a:defRPr/>
            </a:lvl1pPr>
          </a:lstStyle>
          <a:p>
            <a:pPr lvl="0"/>
            <a:r>
              <a:rPr lang="en-US" dirty="0"/>
              <a:t> </a:t>
            </a:r>
          </a:p>
        </p:txBody>
      </p:sp>
      <p:sp>
        <p:nvSpPr>
          <p:cNvPr id="20" name="Text Placeholder 2"/>
          <p:cNvSpPr>
            <a:spLocks noGrp="1"/>
          </p:cNvSpPr>
          <p:nvPr>
            <p:ph type="body" sz="quarter" idx="21" hasCustomPrompt="1"/>
          </p:nvPr>
        </p:nvSpPr>
        <p:spPr>
          <a:xfrm rot="5400000">
            <a:off x="6074666" y="-5093199"/>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78630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1024128"/>
            <a:ext cx="4042250"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5" name="Picture Placeholder 25"/>
          <p:cNvSpPr>
            <a:spLocks noGrp="1"/>
          </p:cNvSpPr>
          <p:nvPr>
            <p:ph type="pic" sz="quarter" idx="14"/>
          </p:nvPr>
        </p:nvSpPr>
        <p:spPr>
          <a:xfrm>
            <a:off x="8159301" y="1024128"/>
            <a:ext cx="4032702"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6" name="Picture Placeholder 6"/>
          <p:cNvSpPr>
            <a:spLocks noGrp="1"/>
          </p:cNvSpPr>
          <p:nvPr>
            <p:ph type="pic" sz="quarter" idx="13"/>
          </p:nvPr>
        </p:nvSpPr>
        <p:spPr>
          <a:xfrm>
            <a:off x="4078856" y="1024128"/>
            <a:ext cx="4034293" cy="5480652"/>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2" name="Title 11"/>
          <p:cNvSpPr>
            <a:spLocks noGrp="1"/>
          </p:cNvSpPr>
          <p:nvPr>
            <p:ph type="title" hasCustomPrompt="1"/>
          </p:nvPr>
        </p:nvSpPr>
        <p:spPr>
          <a:xfrm>
            <a:off x="411482"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
        <p:nvSpPr>
          <p:cNvPr id="16" name="Text Placeholder 33"/>
          <p:cNvSpPr>
            <a:spLocks noGrp="1"/>
          </p:cNvSpPr>
          <p:nvPr>
            <p:ph type="body" sz="quarter" idx="18" hasCustomPrompt="1"/>
          </p:nvPr>
        </p:nvSpPr>
        <p:spPr>
          <a:xfrm>
            <a:off x="-9546"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a:xfrm>
            <a:off x="4254711" y="5011674"/>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3" y="1024128"/>
            <a:ext cx="45719" cy="5480652"/>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6" y="1024128"/>
            <a:ext cx="47866" cy="5480652"/>
          </a:xfrm>
          <a:solidFill>
            <a:schemeClr val="tx2">
              <a:lumMod val="75000"/>
            </a:schemeClr>
          </a:solidFill>
        </p:spPr>
        <p:txBody>
          <a:bodyPr/>
          <a:lstStyle>
            <a:lvl1pPr marL="0" indent="0">
              <a:buNone/>
              <a:defRPr baseline="0"/>
            </a:lvl1pPr>
          </a:lstStyle>
          <a:p>
            <a:pPr lvl="0"/>
            <a:r>
              <a:rPr lang="en-US" dirty="0"/>
              <a:t> </a:t>
            </a:r>
          </a:p>
        </p:txBody>
      </p:sp>
      <p:sp>
        <p:nvSpPr>
          <p:cNvPr id="20" name="Text Placeholder 2"/>
          <p:cNvSpPr>
            <a:spLocks noGrp="1"/>
          </p:cNvSpPr>
          <p:nvPr>
            <p:ph type="body" sz="quarter" idx="21" hasCustomPrompt="1"/>
          </p:nvPr>
        </p:nvSpPr>
        <p:spPr>
          <a:xfrm rot="5400000">
            <a:off x="6074666" y="-5093208"/>
            <a:ext cx="45719" cy="12188952"/>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7036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9546" y="1"/>
            <a:ext cx="12201549" cy="6858000"/>
          </a:xfrm>
        </p:spPr>
        <p:txBody>
          <a:bodyPr anchor="ctr"/>
          <a:lstStyle>
            <a:lvl1pPr marL="0" indent="0" algn="ctr">
              <a:buFontTx/>
              <a:buNone/>
              <a:defRPr baseline="0">
                <a:solidFill>
                  <a:schemeClr val="tx1"/>
                </a:solidFill>
                <a:latin typeface="+mn-lt"/>
              </a:defRPr>
            </a:lvl1pPr>
          </a:lstStyle>
          <a:p>
            <a:r>
              <a:rPr lang="en-US" dirty="0"/>
              <a:t>Click icon to add picture</a:t>
            </a:r>
          </a:p>
        </p:txBody>
      </p:sp>
      <p:sp>
        <p:nvSpPr>
          <p:cNvPr id="5" name="Text Placeholder 33"/>
          <p:cNvSpPr>
            <a:spLocks noGrp="1"/>
          </p:cNvSpPr>
          <p:nvPr>
            <p:ph type="body" sz="quarter" idx="18" hasCustomPrompt="1"/>
          </p:nvPr>
        </p:nvSpPr>
        <p:spPr>
          <a:xfrm>
            <a:off x="-9546" y="5033360"/>
            <a:ext cx="12201549" cy="902866"/>
          </a:xfrm>
          <a:solidFill>
            <a:srgbClr val="000000">
              <a:alpha val="90000"/>
            </a:srgbClr>
          </a:solidFill>
        </p:spPr>
        <p:txBody>
          <a:bodyPr anchor="ctr"/>
          <a:lstStyle>
            <a:lvl1pPr marL="0" indent="0" algn="ctr">
              <a:buNone/>
              <a:defRPr/>
            </a:lvl1pPr>
          </a:lstStyle>
          <a:p>
            <a:pPr lvl="0"/>
            <a:r>
              <a:rPr lang="en-US" dirty="0"/>
              <a:t> </a:t>
            </a:r>
          </a:p>
        </p:txBody>
      </p:sp>
      <p:sp>
        <p:nvSpPr>
          <p:cNvPr id="6" name="Text Placeholder 29"/>
          <p:cNvSpPr>
            <a:spLocks noGrp="1"/>
          </p:cNvSpPr>
          <p:nvPr>
            <p:ph type="body" sz="quarter" idx="16" hasCustomPrompt="1"/>
          </p:nvPr>
        </p:nvSpPr>
        <p:spPr>
          <a:xfrm>
            <a:off x="293194" y="5239530"/>
            <a:ext cx="11605619" cy="490537"/>
          </a:xfrm>
        </p:spPr>
        <p:txBody>
          <a:bodyPr anchor="ctr">
            <a:normAutofit/>
          </a:bodyPr>
          <a:lstStyle>
            <a:lvl1pPr marL="0" indent="0" algn="ctr">
              <a:lnSpc>
                <a:spcPct val="90000"/>
              </a:lnSpc>
              <a:buNone/>
              <a:defRPr sz="3200" baseline="0">
                <a:solidFill>
                  <a:schemeClr val="bg1"/>
                </a:solidFill>
                <a:latin typeface="+mn-lt"/>
              </a:defRPr>
            </a:lvl1pPr>
          </a:lstStyle>
          <a:p>
            <a:pPr lvl="0"/>
            <a:r>
              <a:rPr lang="en-US" dirty="0"/>
              <a:t>Click to add text</a:t>
            </a:r>
          </a:p>
        </p:txBody>
      </p:sp>
    </p:spTree>
    <p:extLst>
      <p:ext uri="{BB962C8B-B14F-4D97-AF65-F5344CB8AC3E}">
        <p14:creationId xmlns:p14="http://schemas.microsoft.com/office/powerpoint/2010/main" val="3671535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Full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089249" y="4"/>
            <a:ext cx="6102752" cy="6857999"/>
          </a:xfrm>
        </p:spPr>
        <p:txBody>
          <a:bodyPr anchor="ctr"/>
          <a:lstStyle>
            <a:lvl1pPr marL="0" indent="0" algn="ctr">
              <a:buNone/>
              <a:defRPr>
                <a:solidFill>
                  <a:schemeClr val="tx1"/>
                </a:solidFill>
                <a:latin typeface="+mn-lt"/>
              </a:defRPr>
            </a:lvl1pPr>
          </a:lstStyle>
          <a:p>
            <a:r>
              <a:rPr lang="en-US" dirty="0"/>
              <a:t>Click icon to add picture</a:t>
            </a:r>
          </a:p>
        </p:txBody>
      </p:sp>
      <p:sp>
        <p:nvSpPr>
          <p:cNvPr id="7" name="Picture Placeholder 3"/>
          <p:cNvSpPr>
            <a:spLocks noGrp="1"/>
          </p:cNvSpPr>
          <p:nvPr>
            <p:ph type="pic" sz="quarter" idx="12"/>
          </p:nvPr>
        </p:nvSpPr>
        <p:spPr>
          <a:xfrm>
            <a:off x="2" y="1"/>
            <a:ext cx="6081233"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9" name="Text Placeholder 33"/>
          <p:cNvSpPr>
            <a:spLocks noGrp="1"/>
          </p:cNvSpPr>
          <p:nvPr>
            <p:ph type="body" sz="quarter" idx="18" hasCustomPrompt="1"/>
          </p:nvPr>
        </p:nvSpPr>
        <p:spPr>
          <a:xfrm>
            <a:off x="-9546" y="4853735"/>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a:xfrm>
            <a:off x="387498" y="5028290"/>
            <a:ext cx="5314257" cy="465138"/>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a:xfrm>
            <a:off x="6498774" y="5015596"/>
            <a:ext cx="5325766" cy="490537"/>
          </a:xfrm>
        </p:spPr>
        <p:txBody>
          <a:bodyPr anchor="ctr"/>
          <a:lstStyle>
            <a:lvl1pPr marL="0" indent="0" algn="ctr">
              <a:lnSpc>
                <a:spcPct val="90000"/>
              </a:lnSpc>
              <a:buNone/>
              <a:defRPr sz="24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6073143" y="0"/>
            <a:ext cx="45719" cy="6858000"/>
          </a:xfrm>
          <a:solidFill>
            <a:schemeClr val="tx2">
              <a:lumMod val="75000"/>
            </a:schemeClr>
          </a:solid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00826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Full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0"/>
            <a:ext cx="4042250"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5" name="Picture Placeholder 25"/>
          <p:cNvSpPr>
            <a:spLocks noGrp="1"/>
          </p:cNvSpPr>
          <p:nvPr>
            <p:ph type="pic" sz="quarter" idx="14"/>
          </p:nvPr>
        </p:nvSpPr>
        <p:spPr>
          <a:xfrm>
            <a:off x="8159301" y="0"/>
            <a:ext cx="4032702"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6" name="Picture Placeholder 6"/>
          <p:cNvSpPr>
            <a:spLocks noGrp="1"/>
          </p:cNvSpPr>
          <p:nvPr>
            <p:ph type="pic" sz="quarter" idx="13"/>
          </p:nvPr>
        </p:nvSpPr>
        <p:spPr>
          <a:xfrm>
            <a:off x="4078856" y="0"/>
            <a:ext cx="4034293" cy="6858000"/>
          </a:xfrm>
        </p:spPr>
        <p:txBody>
          <a:bodyPr anchor="ctr"/>
          <a:lstStyle>
            <a:lvl1pPr marL="0" indent="0" algn="ctr">
              <a:buNone/>
              <a:defRPr>
                <a:solidFill>
                  <a:schemeClr val="tx1"/>
                </a:solidFill>
                <a:latin typeface="+mn-lt"/>
              </a:defRPr>
            </a:lvl1pPr>
          </a:lstStyle>
          <a:p>
            <a:r>
              <a:rPr lang="en-US" dirty="0"/>
              <a:t>Click icon to add picture</a:t>
            </a:r>
          </a:p>
        </p:txBody>
      </p:sp>
      <p:sp>
        <p:nvSpPr>
          <p:cNvPr id="16" name="Text Placeholder 33"/>
          <p:cNvSpPr>
            <a:spLocks noGrp="1"/>
          </p:cNvSpPr>
          <p:nvPr>
            <p:ph type="body" sz="quarter" idx="18" hasCustomPrompt="1"/>
          </p:nvPr>
        </p:nvSpPr>
        <p:spPr>
          <a:xfrm>
            <a:off x="-9546" y="4849813"/>
            <a:ext cx="12201549" cy="814248"/>
          </a:xfrm>
          <a:solidFill>
            <a:srgbClr val="000000">
              <a:alpha val="89804"/>
            </a:srgbClr>
          </a:solidFill>
        </p:spPr>
        <p:txBody>
          <a:bodyPr anchor="ctr"/>
          <a:lstStyle>
            <a:lvl1pPr marL="0" indent="0" algn="ctr">
              <a:buNone/>
              <a:defRPr/>
            </a:lvl1pPr>
          </a:lstStyle>
          <a:p>
            <a:pPr lvl="0"/>
            <a:r>
              <a:rPr lang="en-US" dirty="0"/>
              <a:t> </a:t>
            </a:r>
          </a:p>
        </p:txBody>
      </p:sp>
      <p:sp>
        <p:nvSpPr>
          <p:cNvPr id="10" name="Text Placeholder 27"/>
          <p:cNvSpPr>
            <a:spLocks noGrp="1"/>
          </p:cNvSpPr>
          <p:nvPr>
            <p:ph type="body" sz="quarter" idx="15" hasCustomPrompt="1"/>
          </p:nvPr>
        </p:nvSpPr>
        <p:spPr>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1" name="Text Placeholder 29"/>
          <p:cNvSpPr>
            <a:spLocks noGrp="1"/>
          </p:cNvSpPr>
          <p:nvPr>
            <p:ph type="body" sz="quarter" idx="16" hasCustomPrompt="1"/>
          </p:nvPr>
        </p:nvSpPr>
        <p:spPr>
          <a:xfrm>
            <a:off x="4254711" y="5011674"/>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3" name="Text Placeholder 31"/>
          <p:cNvSpPr>
            <a:spLocks noGrp="1"/>
          </p:cNvSpPr>
          <p:nvPr>
            <p:ph type="body" sz="quarter" idx="17" hasCustomPrompt="1"/>
          </p:nvPr>
        </p:nvSpPr>
        <p:spPr>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a:t>Click to add text</a:t>
            </a:r>
          </a:p>
        </p:txBody>
      </p:sp>
      <p:sp>
        <p:nvSpPr>
          <p:cNvPr id="14" name="Text Placeholder 2"/>
          <p:cNvSpPr>
            <a:spLocks noGrp="1"/>
          </p:cNvSpPr>
          <p:nvPr>
            <p:ph type="body" sz="quarter" idx="19" hasCustomPrompt="1"/>
          </p:nvPr>
        </p:nvSpPr>
        <p:spPr>
          <a:xfrm>
            <a:off x="4032700" y="0"/>
            <a:ext cx="45720" cy="6858000"/>
          </a:xfrm>
          <a:solidFill>
            <a:schemeClr val="tx2">
              <a:lumMod val="75000"/>
            </a:schemeClr>
          </a:solidFill>
        </p:spPr>
        <p:txBody>
          <a:bodyPr/>
          <a:lstStyle>
            <a:lvl1pPr marL="0" indent="0">
              <a:buNone/>
              <a:defRPr/>
            </a:lvl1pPr>
          </a:lstStyle>
          <a:p>
            <a:pPr lvl="0"/>
            <a:r>
              <a:rPr lang="en-US" dirty="0"/>
              <a:t> </a:t>
            </a:r>
          </a:p>
        </p:txBody>
      </p:sp>
      <p:sp>
        <p:nvSpPr>
          <p:cNvPr id="15" name="Text Placeholder 10"/>
          <p:cNvSpPr>
            <a:spLocks noGrp="1"/>
          </p:cNvSpPr>
          <p:nvPr>
            <p:ph type="body" sz="quarter" idx="20" hasCustomPrompt="1"/>
          </p:nvPr>
        </p:nvSpPr>
        <p:spPr>
          <a:xfrm>
            <a:off x="8113148" y="0"/>
            <a:ext cx="45720" cy="6858000"/>
          </a:xfrm>
          <a:solidFill>
            <a:schemeClr val="tx2">
              <a:lumMod val="75000"/>
            </a:schemeClr>
          </a:solidFill>
        </p:spPr>
        <p:txBody>
          <a:bodyPr/>
          <a:lstStyle>
            <a:lvl1pPr marL="0" indent="0">
              <a:buNone/>
              <a:defRPr baseline="0"/>
            </a:lvl1pPr>
          </a:lstStyle>
          <a:p>
            <a:pPr lvl="0"/>
            <a:r>
              <a:rPr lang="en-US" dirty="0"/>
              <a:t> </a:t>
            </a:r>
          </a:p>
        </p:txBody>
      </p:sp>
    </p:spTree>
    <p:extLst>
      <p:ext uri="{BB962C8B-B14F-4D97-AF65-F5344CB8AC3E}">
        <p14:creationId xmlns:p14="http://schemas.microsoft.com/office/powerpoint/2010/main" val="1404412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Green Number Divider">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3342" y="290349"/>
            <a:ext cx="968895" cy="382321"/>
          </a:xfrm>
          <a:prstGeom prst="rect">
            <a:avLst/>
          </a:prstGeom>
        </p:spPr>
      </p:pic>
      <p:sp>
        <p:nvSpPr>
          <p:cNvPr id="3" name="Rectangle 2"/>
          <p:cNvSpPr/>
          <p:nvPr userDrawn="1"/>
        </p:nvSpPr>
        <p:spPr>
          <a:xfrm>
            <a:off x="1482573"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a:xfrm>
            <a:off x="437479" y="2590309"/>
            <a:ext cx="1691925" cy="1687739"/>
          </a:xfrm>
          <a:prstGeom prst="ellipse">
            <a:avLst/>
          </a:prstGeom>
          <a:solidFill>
            <a:schemeClr val="bg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82"/>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spTree>
    <p:extLst>
      <p:ext uri="{BB962C8B-B14F-4D97-AF65-F5344CB8AC3E}">
        <p14:creationId xmlns:p14="http://schemas.microsoft.com/office/powerpoint/2010/main" val="3367918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with Half Imag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6123434" y="0"/>
            <a:ext cx="6068567" cy="6858000"/>
          </a:xfrm>
        </p:spPr>
        <p:txBody>
          <a:bodyPr anchor="ctr"/>
          <a:lstStyle>
            <a:lvl1pPr marL="0" indent="0" algn="ctr">
              <a:buNone/>
              <a:defRPr/>
            </a:lvl1pPr>
          </a:lstStyle>
          <a:p>
            <a:r>
              <a:rPr lang="en-US" dirty="0"/>
              <a:t>Insert Photo Here</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6090249" cy="6858000"/>
          </a:xfrm>
          <a:prstGeom prst="rect">
            <a:avLst/>
          </a:prstGeom>
        </p:spPr>
      </p:pic>
      <p:sp>
        <p:nvSpPr>
          <p:cNvPr id="2" name="Title 1"/>
          <p:cNvSpPr>
            <a:spLocks noGrp="1"/>
          </p:cNvSpPr>
          <p:nvPr>
            <p:ph type="ctrTitle" hasCustomPrompt="1"/>
          </p:nvPr>
        </p:nvSpPr>
        <p:spPr>
          <a:xfrm>
            <a:off x="427964" y="2738406"/>
            <a:ext cx="5417220" cy="1077218"/>
          </a:xfrm>
        </p:spPr>
        <p:txBody>
          <a:bodyPr wrap="square" tIns="91440" anchor="ctr" anchorCtr="0">
            <a:spAutoFit/>
          </a:bodyPr>
          <a:lstStyle>
            <a:lvl1pPr>
              <a:lnSpc>
                <a:spcPct val="80000"/>
              </a:lnSpc>
              <a:defRPr sz="4000" b="0" cap="all" baseline="0">
                <a:solidFill>
                  <a:schemeClr val="bg1"/>
                </a:solidFill>
                <a:effectLst/>
                <a:latin typeface="+mn-lt"/>
              </a:defRPr>
            </a:lvl1pPr>
          </a:lstStyle>
          <a:p>
            <a:r>
              <a:rPr lang="en-US" dirty="0"/>
              <a:t>Click to Add Presentation Title</a:t>
            </a:r>
          </a:p>
        </p:txBody>
      </p:sp>
      <p:sp>
        <p:nvSpPr>
          <p:cNvPr id="3" name="Subtitle 2"/>
          <p:cNvSpPr>
            <a:spLocks noGrp="1"/>
          </p:cNvSpPr>
          <p:nvPr>
            <p:ph type="subTitle" idx="1" hasCustomPrompt="1"/>
          </p:nvPr>
        </p:nvSpPr>
        <p:spPr>
          <a:xfrm>
            <a:off x="427965" y="5450094"/>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a:xfrm>
            <a:off x="427965" y="5761660"/>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a:xfrm>
            <a:off x="427965" y="6249408"/>
            <a:ext cx="5424946" cy="193899"/>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2" name="Rectangle 11"/>
          <p:cNvSpPr/>
          <p:nvPr userDrawn="1"/>
        </p:nvSpPr>
        <p:spPr>
          <a:xfrm>
            <a:off x="6068568" y="0"/>
            <a:ext cx="548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7964" y="430263"/>
            <a:ext cx="1553480" cy="604035"/>
          </a:xfrm>
          <a:prstGeom prst="rect">
            <a:avLst/>
          </a:prstGeom>
        </p:spPr>
      </p:pic>
    </p:spTree>
    <p:extLst>
      <p:ext uri="{BB962C8B-B14F-4D97-AF65-F5344CB8AC3E}">
        <p14:creationId xmlns:p14="http://schemas.microsoft.com/office/powerpoint/2010/main" val="504492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with Full Image">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0" y="0"/>
            <a:ext cx="12192000" cy="6858000"/>
          </a:xfrm>
        </p:spPr>
        <p:txBody>
          <a:bodyPr anchor="ctr"/>
          <a:lstStyle>
            <a:lvl1pPr marL="0" indent="0" algn="ctr">
              <a:buNone/>
              <a:defRPr/>
            </a:lvl1pPr>
          </a:lstStyle>
          <a:p>
            <a:r>
              <a:rPr lang="en-US" dirty="0"/>
              <a:t>Click icon to add picture</a:t>
            </a:r>
          </a:p>
        </p:txBody>
      </p:sp>
      <p:sp>
        <p:nvSpPr>
          <p:cNvPr id="5" name="Text Placeholder 4"/>
          <p:cNvSpPr>
            <a:spLocks noGrp="1"/>
          </p:cNvSpPr>
          <p:nvPr>
            <p:ph type="body" sz="quarter" idx="17" hasCustomPrompt="1"/>
          </p:nvPr>
        </p:nvSpPr>
        <p:spPr>
          <a:xfrm>
            <a:off x="3" y="3474002"/>
            <a:ext cx="6105804" cy="2774398"/>
          </a:xfrm>
          <a:solidFill>
            <a:srgbClr val="000000">
              <a:alpha val="70000"/>
            </a:srgbClr>
          </a:solidFill>
        </p:spPr>
        <p:txBody>
          <a:bodyPr/>
          <a:lstStyle>
            <a:lvl1pPr marL="0" indent="0">
              <a:buNone/>
              <a:defRPr/>
            </a:lvl1pPr>
            <a:lvl2pPr marL="541501" indent="0">
              <a:buNone/>
              <a:defRPr/>
            </a:lvl2pPr>
            <a:lvl3pPr marL="1086776" indent="0">
              <a:buNone/>
              <a:defRPr/>
            </a:lvl3pPr>
            <a:lvl4pPr marL="1630163" indent="0">
              <a:buNone/>
              <a:defRPr/>
            </a:lvl4pPr>
            <a:lvl5pPr marL="2173551" indent="0">
              <a:buNone/>
              <a:defRPr/>
            </a:lvl5pPr>
          </a:lstStyle>
          <a:p>
            <a:pPr lvl="0"/>
            <a:r>
              <a:rPr lang="en-US" dirty="0"/>
              <a:t> </a:t>
            </a:r>
          </a:p>
        </p:txBody>
      </p:sp>
      <p:sp>
        <p:nvSpPr>
          <p:cNvPr id="2" name="Title 1"/>
          <p:cNvSpPr>
            <a:spLocks noGrp="1"/>
          </p:cNvSpPr>
          <p:nvPr>
            <p:ph type="ctrTitle" hasCustomPrompt="1"/>
          </p:nvPr>
        </p:nvSpPr>
        <p:spPr>
          <a:xfrm>
            <a:off x="256908" y="3759916"/>
            <a:ext cx="5686317" cy="886397"/>
          </a:xfrm>
        </p:spPr>
        <p:txBody>
          <a:bodyPr wrap="square" anchor="ctr" anchorCtr="0">
            <a:spAutoFit/>
          </a:bodyPr>
          <a:lstStyle>
            <a:lvl1pPr algn="l">
              <a:lnSpc>
                <a:spcPct val="80000"/>
              </a:lnSpc>
              <a:defRPr sz="3600" b="0" i="0" cap="all" baseline="0">
                <a:solidFill>
                  <a:schemeClr val="bg1"/>
                </a:solidFill>
                <a:effectLst/>
                <a:latin typeface="+mj-lt"/>
                <a:ea typeface="DIN Pro Black" charset="0"/>
                <a:cs typeface="DIN Pro Black" charset="0"/>
              </a:defRPr>
            </a:lvl1pPr>
          </a:lstStyle>
          <a:p>
            <a:r>
              <a:rPr lang="en-US" dirty="0"/>
              <a:t>Click to Add Presentation Title</a:t>
            </a:r>
          </a:p>
        </p:txBody>
      </p:sp>
      <p:sp>
        <p:nvSpPr>
          <p:cNvPr id="3" name="Subtitle 2"/>
          <p:cNvSpPr>
            <a:spLocks noGrp="1"/>
          </p:cNvSpPr>
          <p:nvPr>
            <p:ph type="subTitle" idx="1" hasCustomPrompt="1"/>
          </p:nvPr>
        </p:nvSpPr>
        <p:spPr>
          <a:xfrm>
            <a:off x="256908" y="5001760"/>
            <a:ext cx="5686317" cy="246221"/>
          </a:xfrm>
        </p:spPr>
        <p:txBody>
          <a:bodyPr wrap="square" anchor="b">
            <a:spAutoFit/>
          </a:bodyPr>
          <a:lstStyle>
            <a:lvl1pPr marL="0" indent="0" algn="l">
              <a:lnSpc>
                <a:spcPct val="80000"/>
              </a:lnSpc>
              <a:spcBef>
                <a:spcPts val="0"/>
              </a:spcBef>
              <a:spcAft>
                <a:spcPts val="800"/>
              </a:spcAft>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a:xfrm>
            <a:off x="256908" y="5282547"/>
            <a:ext cx="5686317" cy="221599"/>
          </a:xfrm>
        </p:spPr>
        <p:txBody>
          <a:bodyPr wrap="square" anchor="t">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1" name="Text Placeholder 9"/>
          <p:cNvSpPr>
            <a:spLocks noGrp="1"/>
          </p:cNvSpPr>
          <p:nvPr>
            <p:ph type="body" sz="quarter" idx="13" hasCustomPrompt="1"/>
          </p:nvPr>
        </p:nvSpPr>
        <p:spPr>
          <a:xfrm>
            <a:off x="256908" y="5793141"/>
            <a:ext cx="2242645" cy="193899"/>
          </a:xfrm>
        </p:spPr>
        <p:txBody>
          <a:bodyPr wrap="square">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3397288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9" name="Hexagon 8"/>
          <p:cNvSpPr/>
          <p:nvPr userDrawn="1"/>
        </p:nvSpPr>
        <p:spPr>
          <a:xfrm rot="5400000">
            <a:off x="3132287" y="766361"/>
            <a:ext cx="5930052" cy="5325278"/>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20335" y="2271981"/>
            <a:ext cx="5951332" cy="2314038"/>
          </a:xfrm>
          <a:prstGeom prst="rect">
            <a:avLst/>
          </a:prstGeom>
        </p:spPr>
      </p:pic>
    </p:spTree>
    <p:extLst>
      <p:ext uri="{BB962C8B-B14F-4D97-AF65-F5344CB8AC3E}">
        <p14:creationId xmlns:p14="http://schemas.microsoft.com/office/powerpoint/2010/main" val="14246568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ccent Color Slide Options">
    <p:spTree>
      <p:nvGrpSpPr>
        <p:cNvPr id="1" name=""/>
        <p:cNvGrpSpPr/>
        <p:nvPr/>
      </p:nvGrpSpPr>
      <p:grpSpPr>
        <a:xfrm>
          <a:off x="0" y="0"/>
          <a:ext cx="0" cy="0"/>
          <a:chOff x="0" y="0"/>
          <a:chExt cx="0" cy="0"/>
        </a:xfrm>
      </p:grpSpPr>
      <p:sp>
        <p:nvSpPr>
          <p:cNvPr id="2" name="TextBox 1"/>
          <p:cNvSpPr txBox="1"/>
          <p:nvPr/>
        </p:nvSpPr>
        <p:spPr>
          <a:xfrm>
            <a:off x="858996" y="1505409"/>
            <a:ext cx="10474021" cy="3847207"/>
          </a:xfrm>
          <a:prstGeom prst="rect">
            <a:avLst/>
          </a:prstGeom>
          <a:noFill/>
        </p:spPr>
        <p:txBody>
          <a:bodyPr wrap="none" lIns="0" tIns="0" rIns="0" bIns="0" rtlCol="0" anchor="ctr">
            <a:spAutoFit/>
          </a:bodyPr>
          <a:lstStyle/>
          <a:p>
            <a:pPr algn="ctr"/>
            <a:r>
              <a:rPr lang="en-US" sz="12500" dirty="0">
                <a:solidFill>
                  <a:schemeClr val="bg1"/>
                </a:solidFill>
              </a:rPr>
              <a:t>Accent Color</a:t>
            </a:r>
            <a:br>
              <a:rPr lang="en-US" sz="12500" dirty="0">
                <a:solidFill>
                  <a:schemeClr val="bg1"/>
                </a:solidFill>
              </a:rPr>
            </a:br>
            <a:r>
              <a:rPr lang="en-US" sz="12500" dirty="0">
                <a:solidFill>
                  <a:schemeClr val="bg1"/>
                </a:solidFill>
              </a:rPr>
              <a:t>Slide Options</a:t>
            </a:r>
          </a:p>
        </p:txBody>
      </p:sp>
    </p:spTree>
    <p:extLst>
      <p:ext uri="{BB962C8B-B14F-4D97-AF65-F5344CB8AC3E}">
        <p14:creationId xmlns:p14="http://schemas.microsoft.com/office/powerpoint/2010/main" val="76336367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ue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4262664" cy="6858000"/>
          </a:xfrm>
          <a:prstGeom prst="rect">
            <a:avLst/>
          </a:prstGeom>
        </p:spPr>
      </p:pic>
      <p:sp>
        <p:nvSpPr>
          <p:cNvPr id="10" name="Content Placeholder 3"/>
          <p:cNvSpPr>
            <a:spLocks noGrp="1"/>
          </p:cNvSpPr>
          <p:nvPr>
            <p:ph sz="half" idx="2" hasCustomPrompt="1"/>
          </p:nvPr>
        </p:nvSpPr>
        <p:spPr>
          <a:xfrm>
            <a:off x="4690874"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a:xfrm>
            <a:off x="429768" y="2984472"/>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185" y="293170"/>
            <a:ext cx="967228" cy="376084"/>
          </a:xfrm>
          <a:prstGeom prst="rect">
            <a:avLst/>
          </a:prstGeom>
        </p:spPr>
      </p:pic>
    </p:spTree>
    <p:extLst>
      <p:ext uri="{BB962C8B-B14F-4D97-AF65-F5344CB8AC3E}">
        <p14:creationId xmlns:p14="http://schemas.microsoft.com/office/powerpoint/2010/main" val="3782549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ue 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2" name="Title 21"/>
          <p:cNvSpPr>
            <a:spLocks noGrp="1"/>
          </p:cNvSpPr>
          <p:nvPr>
            <p:ph type="title" hasCustomPrompt="1"/>
          </p:nvPr>
        </p:nvSpPr>
        <p:spPr>
          <a:xfrm>
            <a:off x="384048" y="3133538"/>
            <a:ext cx="10186416" cy="590931"/>
          </a:xfrm>
        </p:spPr>
        <p:txBody>
          <a:bodyP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3342" y="290349"/>
            <a:ext cx="968895" cy="382321"/>
          </a:xfrm>
          <a:prstGeom prst="rect">
            <a:avLst/>
          </a:prstGeom>
        </p:spPr>
      </p:pic>
    </p:spTree>
    <p:extLst>
      <p:ext uri="{BB962C8B-B14F-4D97-AF65-F5344CB8AC3E}">
        <p14:creationId xmlns:p14="http://schemas.microsoft.com/office/powerpoint/2010/main" val="166957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ue Number 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3342" y="290349"/>
            <a:ext cx="968895" cy="382321"/>
          </a:xfrm>
          <a:prstGeom prst="rect">
            <a:avLst/>
          </a:prstGeom>
        </p:spPr>
      </p:pic>
      <p:sp>
        <p:nvSpPr>
          <p:cNvPr id="3" name="Rectangle 2"/>
          <p:cNvSpPr/>
          <p:nvPr userDrawn="1"/>
        </p:nvSpPr>
        <p:spPr>
          <a:xfrm>
            <a:off x="1482573"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a:xfrm>
            <a:off x="437479" y="2590309"/>
            <a:ext cx="1691925" cy="1687739"/>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82"/>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spTree>
    <p:extLst>
      <p:ext uri="{BB962C8B-B14F-4D97-AF65-F5344CB8AC3E}">
        <p14:creationId xmlns:p14="http://schemas.microsoft.com/office/powerpoint/2010/main" val="24847656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ight Blue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4262664" cy="6858000"/>
          </a:xfrm>
          <a:prstGeom prst="rect">
            <a:avLst/>
          </a:prstGeom>
        </p:spPr>
      </p:pic>
      <p:sp>
        <p:nvSpPr>
          <p:cNvPr id="10" name="Content Placeholder 3"/>
          <p:cNvSpPr>
            <a:spLocks noGrp="1"/>
          </p:cNvSpPr>
          <p:nvPr>
            <p:ph sz="half" idx="2" hasCustomPrompt="1"/>
          </p:nvPr>
        </p:nvSpPr>
        <p:spPr>
          <a:xfrm>
            <a:off x="4690874"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a:xfrm>
            <a:off x="429768" y="2984472"/>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185" y="293170"/>
            <a:ext cx="967228" cy="376084"/>
          </a:xfrm>
          <a:prstGeom prst="rect">
            <a:avLst/>
          </a:prstGeom>
        </p:spPr>
      </p:pic>
    </p:spTree>
    <p:extLst>
      <p:ext uri="{BB962C8B-B14F-4D97-AF65-F5344CB8AC3E}">
        <p14:creationId xmlns:p14="http://schemas.microsoft.com/office/powerpoint/2010/main" val="284529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 No Footer">
    <p:spTree>
      <p:nvGrpSpPr>
        <p:cNvPr id="1" name=""/>
        <p:cNvGrpSpPr/>
        <p:nvPr/>
      </p:nvGrpSpPr>
      <p:grpSpPr>
        <a:xfrm>
          <a:off x="0" y="0"/>
          <a:ext cx="0" cy="0"/>
          <a:chOff x="0" y="0"/>
          <a:chExt cx="0" cy="0"/>
        </a:xfrm>
      </p:grpSpPr>
      <p:sp>
        <p:nvSpPr>
          <p:cNvPr id="2" name="Rectangle 1"/>
          <p:cNvSpPr/>
          <p:nvPr/>
        </p:nvSpPr>
        <p:spPr bwMode="gray">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schemeClr val="bg1"/>
              </a:solidFill>
            </a:endParaRPr>
          </a:p>
        </p:txBody>
      </p:sp>
      <p:sp>
        <p:nvSpPr>
          <p:cNvPr id="8" name="Title 7"/>
          <p:cNvSpPr>
            <a:spLocks noGrp="1"/>
          </p:cNvSpPr>
          <p:nvPr>
            <p:ph type="title" hasCustomPrompt="1"/>
          </p:nvPr>
        </p:nvSpPr>
        <p:spPr/>
        <p:txBody>
          <a:bodyPr/>
          <a:lstStyle>
            <a:lvl1pPr>
              <a:defRPr/>
            </a:lvl1pPr>
          </a:lstStyle>
          <a:p>
            <a:r>
              <a:rPr lang="en-US" dirty="0"/>
              <a:t>Click to add title</a:t>
            </a:r>
          </a:p>
        </p:txBody>
      </p:sp>
      <p:sp>
        <p:nvSpPr>
          <p:cNvPr id="5"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609976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Light Blue 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2" name="Title 21"/>
          <p:cNvSpPr>
            <a:spLocks noGrp="1"/>
          </p:cNvSpPr>
          <p:nvPr>
            <p:ph type="title" hasCustomPrompt="1"/>
          </p:nvPr>
        </p:nvSpPr>
        <p:spPr>
          <a:xfrm>
            <a:off x="384048" y="3133538"/>
            <a:ext cx="10186416" cy="590931"/>
          </a:xfrm>
          <a:noFill/>
        </p:spPr>
        <p:txBody>
          <a:bodyPr>
            <a:spAutoFit/>
          </a:bodyPr>
          <a:lstStyle>
            <a:lvl1pPr algn="l">
              <a:lnSpc>
                <a:spcPct val="80000"/>
              </a:lnSpc>
              <a:defRPr sz="480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3342" y="290349"/>
            <a:ext cx="968895" cy="382321"/>
          </a:xfrm>
          <a:prstGeom prst="rect">
            <a:avLst/>
          </a:prstGeom>
        </p:spPr>
      </p:pic>
    </p:spTree>
    <p:extLst>
      <p:ext uri="{BB962C8B-B14F-4D97-AF65-F5344CB8AC3E}">
        <p14:creationId xmlns:p14="http://schemas.microsoft.com/office/powerpoint/2010/main" val="2623612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Light Blue Number Divider">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3342" y="290349"/>
            <a:ext cx="968895" cy="382321"/>
          </a:xfrm>
          <a:prstGeom prst="rect">
            <a:avLst/>
          </a:prstGeom>
        </p:spPr>
      </p:pic>
      <p:sp>
        <p:nvSpPr>
          <p:cNvPr id="3" name="Rectangle 2"/>
          <p:cNvSpPr/>
          <p:nvPr userDrawn="1"/>
        </p:nvSpPr>
        <p:spPr>
          <a:xfrm>
            <a:off x="1482573"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a:xfrm>
            <a:off x="437479" y="2590309"/>
            <a:ext cx="1691925" cy="1687739"/>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82"/>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spTree>
    <p:extLst>
      <p:ext uri="{BB962C8B-B14F-4D97-AF65-F5344CB8AC3E}">
        <p14:creationId xmlns:p14="http://schemas.microsoft.com/office/powerpoint/2010/main" val="3476198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Orange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4262664" cy="6858000"/>
          </a:xfrm>
          <a:prstGeom prst="rect">
            <a:avLst/>
          </a:prstGeom>
        </p:spPr>
      </p:pic>
      <p:sp>
        <p:nvSpPr>
          <p:cNvPr id="10" name="Content Placeholder 3"/>
          <p:cNvSpPr>
            <a:spLocks noGrp="1"/>
          </p:cNvSpPr>
          <p:nvPr>
            <p:ph sz="half" idx="2" hasCustomPrompt="1"/>
          </p:nvPr>
        </p:nvSpPr>
        <p:spPr>
          <a:xfrm>
            <a:off x="4690874"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a:xfrm>
            <a:off x="429768" y="2984472"/>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185" y="293170"/>
            <a:ext cx="967228" cy="376084"/>
          </a:xfrm>
          <a:prstGeom prst="rect">
            <a:avLst/>
          </a:prstGeom>
        </p:spPr>
      </p:pic>
    </p:spTree>
    <p:extLst>
      <p:ext uri="{BB962C8B-B14F-4D97-AF65-F5344CB8AC3E}">
        <p14:creationId xmlns:p14="http://schemas.microsoft.com/office/powerpoint/2010/main" val="610073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Orange 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2" name="Title 21"/>
          <p:cNvSpPr>
            <a:spLocks noGrp="1"/>
          </p:cNvSpPr>
          <p:nvPr>
            <p:ph type="title" hasCustomPrompt="1"/>
          </p:nvPr>
        </p:nvSpPr>
        <p:spPr>
          <a:xfrm>
            <a:off x="384048" y="3133538"/>
            <a:ext cx="10186416" cy="590931"/>
          </a:xfrm>
        </p:spPr>
        <p:txBody>
          <a:bodyP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3342" y="290349"/>
            <a:ext cx="968895" cy="382321"/>
          </a:xfrm>
          <a:prstGeom prst="rect">
            <a:avLst/>
          </a:prstGeom>
        </p:spPr>
      </p:pic>
    </p:spTree>
    <p:extLst>
      <p:ext uri="{BB962C8B-B14F-4D97-AF65-F5344CB8AC3E}">
        <p14:creationId xmlns:p14="http://schemas.microsoft.com/office/powerpoint/2010/main" val="1237147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Orange Number Divider">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3342" y="290349"/>
            <a:ext cx="968895" cy="382321"/>
          </a:xfrm>
          <a:prstGeom prst="rect">
            <a:avLst/>
          </a:prstGeom>
        </p:spPr>
      </p:pic>
      <p:sp>
        <p:nvSpPr>
          <p:cNvPr id="3" name="Rectangle 2"/>
          <p:cNvSpPr/>
          <p:nvPr userDrawn="1"/>
        </p:nvSpPr>
        <p:spPr>
          <a:xfrm>
            <a:off x="1482573"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a:xfrm>
            <a:off x="437479" y="2590309"/>
            <a:ext cx="1691925" cy="1687739"/>
          </a:xfrm>
          <a:prstGeom prst="ellipse">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82"/>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spTree>
    <p:extLst>
      <p:ext uri="{BB962C8B-B14F-4D97-AF65-F5344CB8AC3E}">
        <p14:creationId xmlns:p14="http://schemas.microsoft.com/office/powerpoint/2010/main" val="2712231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Gold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4262664" cy="6858000"/>
          </a:xfrm>
          <a:prstGeom prst="rect">
            <a:avLst/>
          </a:prstGeom>
        </p:spPr>
      </p:pic>
      <p:sp>
        <p:nvSpPr>
          <p:cNvPr id="10" name="Content Placeholder 3"/>
          <p:cNvSpPr>
            <a:spLocks noGrp="1"/>
          </p:cNvSpPr>
          <p:nvPr>
            <p:ph sz="half" idx="2" hasCustomPrompt="1"/>
          </p:nvPr>
        </p:nvSpPr>
        <p:spPr>
          <a:xfrm>
            <a:off x="4690874"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a:xfrm>
            <a:off x="429768" y="2984472"/>
            <a:ext cx="3273552" cy="886397"/>
          </a:xfrm>
        </p:spPr>
        <p:txBody>
          <a:bodyPr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185" y="293170"/>
            <a:ext cx="967228" cy="376084"/>
          </a:xfrm>
          <a:prstGeom prst="rect">
            <a:avLst/>
          </a:prstGeom>
        </p:spPr>
      </p:pic>
    </p:spTree>
    <p:extLst>
      <p:ext uri="{BB962C8B-B14F-4D97-AF65-F5344CB8AC3E}">
        <p14:creationId xmlns:p14="http://schemas.microsoft.com/office/powerpoint/2010/main" val="195833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Gold Accent 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2" name="Title 21"/>
          <p:cNvSpPr>
            <a:spLocks noGrp="1"/>
          </p:cNvSpPr>
          <p:nvPr>
            <p:ph type="title" hasCustomPrompt="1"/>
          </p:nvPr>
        </p:nvSpPr>
        <p:spPr>
          <a:xfrm>
            <a:off x="384048" y="3133538"/>
            <a:ext cx="10186416" cy="590931"/>
          </a:xfrm>
        </p:spPr>
        <p:txBody>
          <a:bodyPr>
            <a:spAutoFit/>
          </a:bodyPr>
          <a:lstStyle>
            <a:lvl1pPr algn="l">
              <a:lnSpc>
                <a:spcPct val="80000"/>
              </a:lnSpc>
              <a:defRPr sz="480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3342" y="290349"/>
            <a:ext cx="968895" cy="382321"/>
          </a:xfrm>
          <a:prstGeom prst="rect">
            <a:avLst/>
          </a:prstGeom>
        </p:spPr>
      </p:pic>
    </p:spTree>
    <p:extLst>
      <p:ext uri="{BB962C8B-B14F-4D97-AF65-F5344CB8AC3E}">
        <p14:creationId xmlns:p14="http://schemas.microsoft.com/office/powerpoint/2010/main" val="3709473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Gold Number Divider">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3342" y="290349"/>
            <a:ext cx="968895" cy="382321"/>
          </a:xfrm>
          <a:prstGeom prst="rect">
            <a:avLst/>
          </a:prstGeom>
        </p:spPr>
      </p:pic>
      <p:sp>
        <p:nvSpPr>
          <p:cNvPr id="3" name="Rectangle 2"/>
          <p:cNvSpPr/>
          <p:nvPr userDrawn="1"/>
        </p:nvSpPr>
        <p:spPr>
          <a:xfrm>
            <a:off x="1482573"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Oval 5"/>
          <p:cNvSpPr/>
          <p:nvPr userDrawn="1"/>
        </p:nvSpPr>
        <p:spPr>
          <a:xfrm>
            <a:off x="437479" y="2590309"/>
            <a:ext cx="1691925" cy="1687739"/>
          </a:xfrm>
          <a:prstGeom prst="ellipse">
            <a:avLst/>
          </a:prstGeom>
          <a:solidFill>
            <a:schemeClr val="accent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a:t>#</a:t>
            </a:r>
          </a:p>
        </p:txBody>
      </p:sp>
      <p:sp>
        <p:nvSpPr>
          <p:cNvPr id="9" name="Title 1"/>
          <p:cNvSpPr>
            <a:spLocks noGrp="1"/>
          </p:cNvSpPr>
          <p:nvPr>
            <p:ph type="ctrTitle" hasCustomPrompt="1"/>
          </p:nvPr>
        </p:nvSpPr>
        <p:spPr>
          <a:xfrm>
            <a:off x="2517817" y="3233282"/>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a:t>Click to add divider Title</a:t>
            </a:r>
          </a:p>
        </p:txBody>
      </p:sp>
    </p:spTree>
    <p:extLst>
      <p:ext uri="{BB962C8B-B14F-4D97-AF65-F5344CB8AC3E}">
        <p14:creationId xmlns:p14="http://schemas.microsoft.com/office/powerpoint/2010/main" val="1745879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ck Background">
    <p:spTree>
      <p:nvGrpSpPr>
        <p:cNvPr id="1" name=""/>
        <p:cNvGrpSpPr/>
        <p:nvPr/>
      </p:nvGrpSpPr>
      <p:grpSpPr>
        <a:xfrm>
          <a:off x="0" y="0"/>
          <a:ext cx="0" cy="0"/>
          <a:chOff x="0" y="0"/>
          <a:chExt cx="0" cy="0"/>
        </a:xfrm>
      </p:grpSpPr>
      <p:sp>
        <p:nvSpPr>
          <p:cNvPr id="10" name="Rectangle 6"/>
          <p:cNvSpPr txBox="1">
            <a:spLocks noChangeArrowheads="1"/>
          </p:cNvSpPr>
          <p:nvPr/>
        </p:nvSpPr>
        <p:spPr bwMode="auto">
          <a:xfrm>
            <a:off x="11320847"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3551648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_DO NOT DELE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50389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33715" y="1222375"/>
            <a:ext cx="5430358" cy="4956048"/>
          </a:xfrm>
        </p:spPr>
        <p:txBody>
          <a:bodyPr/>
          <a:lstStyle>
            <a:lvl1pPr>
              <a:defRPr sz="2200"/>
            </a:lvl1pPr>
            <a:lvl2pPr>
              <a:defRPr sz="2000"/>
            </a:lvl2pPr>
            <a:lvl3pPr>
              <a:defRPr sz="1800"/>
            </a:lvl3pPr>
            <a:lvl4pPr>
              <a:defRPr sz="1600"/>
            </a:lvl4pPr>
            <a:lvl5pPr>
              <a:defRPr sz="1400" baseline="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21143" y="1222375"/>
            <a:ext cx="5431536" cy="4956048"/>
          </a:xfrm>
        </p:spPr>
        <p:txBody>
          <a:bodyPr/>
          <a:lstStyle>
            <a:lvl1pPr>
              <a:defRPr sz="2200"/>
            </a:lvl1pPr>
            <a:lvl2pPr>
              <a:defRPr sz="2000"/>
            </a:lvl2pPr>
            <a:lvl3pPr>
              <a:defRPr sz="1800"/>
            </a:lvl3pPr>
            <a:lvl4pPr>
              <a:defRPr sz="1600"/>
            </a:lvl4pPr>
            <a:lvl5pPr>
              <a:defRPr sz="140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p:cNvSpPr>
            <a:spLocks noGrp="1"/>
          </p:cNvSpPr>
          <p:nvPr>
            <p:ph type="title" hasCustomPrompt="1"/>
          </p:nvPr>
        </p:nvSpPr>
        <p:spPr/>
        <p:txBody>
          <a:bodyPr vert="horz" lIns="0" tIns="0" rIns="0" bIns="0" rtlCol="0" anchor="ctr" anchorCtr="0">
            <a:normAutofit/>
          </a:bodyPr>
          <a:lstStyle>
            <a:lvl1pPr>
              <a:defRPr lang="en-US" dirty="0"/>
            </a:lvl1pPr>
          </a:lstStyle>
          <a:p>
            <a:pPr lvl="0"/>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95899" y="1380744"/>
            <a:ext cx="5568176" cy="5029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21144" y="1380744"/>
            <a:ext cx="5568176" cy="5029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dirty="0"/>
          </a:p>
        </p:txBody>
      </p:sp>
    </p:spTree>
    <p:extLst>
      <p:ext uri="{BB962C8B-B14F-4D97-AF65-F5344CB8AC3E}">
        <p14:creationId xmlns:p14="http://schemas.microsoft.com/office/powerpoint/2010/main" val="359049980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1_Agenda">
    <p:spTree>
      <p:nvGrpSpPr>
        <p:cNvPr id="1" name=""/>
        <p:cNvGrpSpPr/>
        <p:nvPr/>
      </p:nvGrpSpPr>
      <p:grpSpPr>
        <a:xfrm>
          <a:off x="0" y="0"/>
          <a:ext cx="0" cy="0"/>
          <a:chOff x="0" y="0"/>
          <a:chExt cx="0" cy="0"/>
        </a:xfrm>
      </p:grpSpPr>
      <p:sp>
        <p:nvSpPr>
          <p:cNvPr id="10" name="Rectangle 6"/>
          <p:cNvSpPr txBox="1">
            <a:spLocks noChangeArrowheads="1"/>
          </p:cNvSpPr>
          <p:nvPr/>
        </p:nvSpPr>
        <p:spPr bwMode="auto">
          <a:xfrm>
            <a:off x="11306145" y="6711449"/>
            <a:ext cx="592666" cy="1077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700" b="0" i="0" u="none" strike="noStrike" kern="1200" cap="none" spc="0" normalizeH="0" baseline="0" noProof="0" smtClean="0">
                <a:ln>
                  <a:noFill/>
                </a:ln>
                <a:solidFill>
                  <a:schemeClr val="tx1"/>
                </a:solidFill>
                <a:effectLst/>
                <a:uLnTx/>
                <a:uFillTx/>
                <a:latin typeface="Arial" charset="0"/>
                <a:ea typeface="MS PGothic"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700" b="0" i="0" u="none" strike="noStrike" kern="1200" cap="none" spc="0" normalizeH="0" baseline="0" noProof="0" dirty="0">
              <a:ln>
                <a:noFill/>
              </a:ln>
              <a:solidFill>
                <a:schemeClr val="tx1"/>
              </a:solidFill>
              <a:effectLst/>
              <a:uLnTx/>
              <a:uFillTx/>
              <a:latin typeface="Arial" charset="0"/>
              <a:ea typeface="MS PGothic" pitchFamily="34" charset="-128"/>
              <a:cs typeface="+mn-cs"/>
            </a:endParaRPr>
          </a:p>
        </p:txBody>
      </p:sp>
      <p:sp>
        <p:nvSpPr>
          <p:cNvPr id="8" name="Title 7"/>
          <p:cNvSpPr>
            <a:spLocks noGrp="1"/>
          </p:cNvSpPr>
          <p:nvPr>
            <p:ph type="title"/>
          </p:nvPr>
        </p:nvSpPr>
        <p:spPr>
          <a:xfrm>
            <a:off x="288134" y="151422"/>
            <a:ext cx="10149408" cy="457200"/>
          </a:xfrm>
        </p:spPr>
        <p:txBody>
          <a:bodyPr vert="horz" lIns="0" tIns="0" rIns="0" bIns="0" rtlCol="0" anchor="ctr" anchorCtr="0">
            <a:noAutofit/>
          </a:bodyPr>
          <a:lstStyle>
            <a:lvl1pPr>
              <a:defRPr lang="en-US" dirty="0"/>
            </a:lvl1pPr>
          </a:lstStyle>
          <a:p>
            <a:pPr lvl="0"/>
            <a:r>
              <a:rPr lang="en-US"/>
              <a:t>Click to edit Master title style</a:t>
            </a:r>
            <a:endParaRPr lang="en-US" dirty="0"/>
          </a:p>
        </p:txBody>
      </p:sp>
      <p:sp>
        <p:nvSpPr>
          <p:cNvPr id="7" name="Subtitle 2"/>
          <p:cNvSpPr>
            <a:spLocks noGrp="1" noChangeAspect="1"/>
          </p:cNvSpPr>
          <p:nvPr>
            <p:ph type="subTitle" idx="15"/>
          </p:nvPr>
        </p:nvSpPr>
        <p:spPr>
          <a:xfrm>
            <a:off x="288133" y="896112"/>
            <a:ext cx="11594592"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dirty="0"/>
          </a:p>
        </p:txBody>
      </p:sp>
      <p:sp>
        <p:nvSpPr>
          <p:cNvPr id="9" name="Text Placeholder 8"/>
          <p:cNvSpPr>
            <a:spLocks noGrp="1"/>
          </p:cNvSpPr>
          <p:nvPr>
            <p:ph type="body" sz="quarter" idx="16"/>
          </p:nvPr>
        </p:nvSpPr>
        <p:spPr>
          <a:xfrm>
            <a:off x="288133" y="1380744"/>
            <a:ext cx="11594592"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3" name="Picture 12" descr="ThingWorx_PTC_logo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52001" y="914728"/>
            <a:ext cx="2336800" cy="380672"/>
          </a:xfrm>
          <a:prstGeom prst="rect">
            <a:avLst/>
          </a:prstGeom>
        </p:spPr>
      </p:pic>
    </p:spTree>
    <p:extLst>
      <p:ext uri="{BB962C8B-B14F-4D97-AF65-F5344CB8AC3E}">
        <p14:creationId xmlns:p14="http://schemas.microsoft.com/office/powerpoint/2010/main" val="355046690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92609" y="1380744"/>
            <a:ext cx="11599650" cy="5029200"/>
          </a:xfrm>
        </p:spPr>
        <p:txBody>
          <a:bodyPr>
            <a:noAutofit/>
          </a:bodyPr>
          <a:lstStyle>
            <a:lvl1pPr marL="230188" indent="-230188">
              <a:spcBef>
                <a:spcPts val="1800"/>
              </a:spcBef>
              <a:buClr>
                <a:schemeClr val="bg2"/>
              </a:buClr>
              <a:defRPr sz="2000">
                <a:solidFill>
                  <a:schemeClr val="bg2"/>
                </a:solidFill>
              </a:defRPr>
            </a:lvl1pPr>
            <a:lvl2pPr marL="684213" indent="-228600">
              <a:spcBef>
                <a:spcPts val="0"/>
              </a:spcBef>
              <a:spcAft>
                <a:spcPts val="200"/>
              </a:spcAft>
              <a:defRPr sz="1800">
                <a:solidFill>
                  <a:srgbClr val="4C4D4F"/>
                </a:solidFill>
                <a:latin typeface="Arial Narrow" pitchFamily="34" charset="0"/>
              </a:defRPr>
            </a:lvl2pPr>
            <a:lvl3pPr marL="1143000" indent="-228600">
              <a:spcBef>
                <a:spcPts val="0"/>
              </a:spcBef>
              <a:spcAft>
                <a:spcPts val="200"/>
              </a:spcAft>
              <a:defRPr sz="1600">
                <a:solidFill>
                  <a:srgbClr val="4C4D4F"/>
                </a:solidFill>
                <a:latin typeface="Arial Narrow" pitchFamily="34" charset="0"/>
              </a:defRPr>
            </a:lvl3pPr>
            <a:lvl4pPr marL="1428750" indent="-228600">
              <a:defRPr sz="1400">
                <a:solidFill>
                  <a:srgbClr val="4C4D4F"/>
                </a:solidFill>
              </a:defRPr>
            </a:lvl4pPr>
            <a:lvl5pPr marL="1827213" indent="-228600">
              <a:defRPr sz="1400">
                <a:solidFill>
                  <a:srgbClr val="4C4D4F"/>
                </a:solidFill>
              </a:defRPr>
            </a:lvl5pPr>
          </a:lstStyle>
          <a:p>
            <a:pPr lvl="0"/>
            <a:r>
              <a:rPr lang="en-US"/>
              <a:t>Click to edit Master text styles</a:t>
            </a:r>
          </a:p>
          <a:p>
            <a:pPr lvl="1"/>
            <a:r>
              <a:rPr lang="en-US"/>
              <a:t>Second level</a:t>
            </a:r>
          </a:p>
          <a:p>
            <a:pPr lvl="2"/>
            <a:r>
              <a:rPr lang="en-US"/>
              <a:t>Third level</a:t>
            </a:r>
          </a:p>
        </p:txBody>
      </p:sp>
      <p:sp>
        <p:nvSpPr>
          <p:cNvPr id="8" name="Title 7"/>
          <p:cNvSpPr>
            <a:spLocks noGrp="1"/>
          </p:cNvSpPr>
          <p:nvPr>
            <p:ph type="title"/>
          </p:nvPr>
        </p:nvSpPr>
        <p:spPr/>
        <p:txBody>
          <a:bodyPr/>
          <a:lstStyle/>
          <a:p>
            <a:r>
              <a:rPr lang="en-US"/>
              <a:t>Click to edit Master title style</a:t>
            </a:r>
            <a:endParaRPr lang="en-US" dirty="0"/>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dirty="0"/>
          </a:p>
        </p:txBody>
      </p:sp>
    </p:spTree>
    <p:custDataLst>
      <p:tags r:id="rId1"/>
    </p:custDataLst>
    <p:extLst>
      <p:ext uri="{BB962C8B-B14F-4D97-AF65-F5344CB8AC3E}">
        <p14:creationId xmlns:p14="http://schemas.microsoft.com/office/powerpoint/2010/main" val="158026916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hree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295897" y="1380744"/>
            <a:ext cx="3664636" cy="50292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5" name="Title 14"/>
          <p:cNvSpPr>
            <a:spLocks noGrp="1"/>
          </p:cNvSpPr>
          <p:nvPr>
            <p:ph type="title"/>
          </p:nvPr>
        </p:nvSpPr>
        <p:spPr/>
        <p:txBody>
          <a:bodyPr/>
          <a:lstStyle/>
          <a:p>
            <a:r>
              <a:rPr lang="en-US"/>
              <a:t>Click to edit Master title style</a:t>
            </a:r>
          </a:p>
        </p:txBody>
      </p:sp>
      <p:sp>
        <p:nvSpPr>
          <p:cNvPr id="20" name="Content Placeholder 19"/>
          <p:cNvSpPr>
            <a:spLocks noGrp="1"/>
          </p:cNvSpPr>
          <p:nvPr>
            <p:ph sz="quarter" idx="15"/>
          </p:nvPr>
        </p:nvSpPr>
        <p:spPr>
          <a:xfrm>
            <a:off x="4241334" y="1380744"/>
            <a:ext cx="3669792" cy="5029200"/>
          </a:xfrm>
        </p:spPr>
        <p:txBody>
          <a:bodyPr/>
          <a:lstStyle/>
          <a:p>
            <a:pPr lvl="0"/>
            <a:r>
              <a:rPr lang="en-US"/>
              <a:t>Click to edit Master text styles</a:t>
            </a:r>
          </a:p>
          <a:p>
            <a:pPr lvl="1"/>
            <a:r>
              <a:rPr lang="en-US"/>
              <a:t>Second level</a:t>
            </a:r>
          </a:p>
          <a:p>
            <a:pPr lvl="2"/>
            <a:r>
              <a:rPr lang="en-US"/>
              <a:t>Third level</a:t>
            </a:r>
          </a:p>
        </p:txBody>
      </p:sp>
      <p:sp>
        <p:nvSpPr>
          <p:cNvPr id="22" name="Content Placeholder 21"/>
          <p:cNvSpPr>
            <a:spLocks noGrp="1"/>
          </p:cNvSpPr>
          <p:nvPr>
            <p:ph sz="quarter" idx="16"/>
          </p:nvPr>
        </p:nvSpPr>
        <p:spPr>
          <a:xfrm>
            <a:off x="8197494" y="1380744"/>
            <a:ext cx="3669792" cy="5029200"/>
          </a:xfrm>
        </p:spPr>
        <p:txBody>
          <a:bodyPr/>
          <a:lstStyle/>
          <a:p>
            <a:pPr lvl="0"/>
            <a:r>
              <a:rPr lang="en-US"/>
              <a:t>Click to edit Master text styles</a:t>
            </a:r>
          </a:p>
          <a:p>
            <a:pPr lvl="1"/>
            <a:r>
              <a:rPr lang="en-US"/>
              <a:t>Second level</a:t>
            </a:r>
          </a:p>
          <a:p>
            <a:pPr lvl="2"/>
            <a:r>
              <a:rPr lang="en-US"/>
              <a:t>Third level</a:t>
            </a:r>
          </a:p>
        </p:txBody>
      </p:sp>
      <p:sp>
        <p:nvSpPr>
          <p:cNvPr id="8" name="Subtitle 2"/>
          <p:cNvSpPr>
            <a:spLocks noGrp="1" noChangeAspect="1"/>
          </p:cNvSpPr>
          <p:nvPr>
            <p:ph type="subTitle" idx="17"/>
          </p:nvPr>
        </p:nvSpPr>
        <p:spPr>
          <a:xfrm>
            <a:off x="287453" y="896112"/>
            <a:ext cx="11594592"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dirty="0"/>
          </a:p>
        </p:txBody>
      </p:sp>
    </p:spTree>
    <p:extLst>
      <p:ext uri="{BB962C8B-B14F-4D97-AF65-F5344CB8AC3E}">
        <p14:creationId xmlns:p14="http://schemas.microsoft.com/office/powerpoint/2010/main" val="70594158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4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95897" y="1380744"/>
            <a:ext cx="5568176" cy="5029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21142" y="1380744"/>
            <a:ext cx="5568176" cy="5029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dirty="0">
              <a:solidFill>
                <a:srgbClr val="53565A"/>
              </a:solidFill>
            </a:endParaRPr>
          </a:p>
        </p:txBody>
      </p:sp>
    </p:spTree>
    <p:extLst>
      <p:ext uri="{BB962C8B-B14F-4D97-AF65-F5344CB8AC3E}">
        <p14:creationId xmlns:p14="http://schemas.microsoft.com/office/powerpoint/2010/main" val="235652750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391310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92609" y="1380744"/>
            <a:ext cx="11599649" cy="5029200"/>
          </a:xfrm>
        </p:spPr>
        <p:txBody>
          <a:bodyPr>
            <a:noAutofit/>
          </a:bodyPr>
          <a:lstStyle>
            <a:lvl1pPr marL="230188" indent="-230188">
              <a:spcBef>
                <a:spcPts val="1800"/>
              </a:spcBef>
              <a:buClr>
                <a:schemeClr val="bg2"/>
              </a:buClr>
              <a:defRPr sz="2000">
                <a:solidFill>
                  <a:schemeClr val="bg2"/>
                </a:solidFill>
              </a:defRPr>
            </a:lvl1pPr>
            <a:lvl2pPr marL="684213" indent="-228600">
              <a:spcBef>
                <a:spcPts val="0"/>
              </a:spcBef>
              <a:spcAft>
                <a:spcPts val="200"/>
              </a:spcAft>
              <a:defRPr sz="1800">
                <a:solidFill>
                  <a:srgbClr val="4C4D4F"/>
                </a:solidFill>
                <a:latin typeface="Arial Narrow" pitchFamily="34" charset="0"/>
              </a:defRPr>
            </a:lvl2pPr>
            <a:lvl3pPr marL="1143000" indent="-228600">
              <a:spcBef>
                <a:spcPts val="0"/>
              </a:spcBef>
              <a:spcAft>
                <a:spcPts val="200"/>
              </a:spcAft>
              <a:defRPr sz="1600">
                <a:solidFill>
                  <a:srgbClr val="4C4D4F"/>
                </a:solidFill>
                <a:latin typeface="Arial Narrow" pitchFamily="34" charset="0"/>
              </a:defRPr>
            </a:lvl3pPr>
            <a:lvl4pPr marL="1428750" indent="-228600">
              <a:defRPr sz="1400">
                <a:solidFill>
                  <a:srgbClr val="4C4D4F"/>
                </a:solidFill>
              </a:defRPr>
            </a:lvl4pPr>
            <a:lvl5pPr marL="1827213" indent="-228600">
              <a:defRPr sz="1400">
                <a:solidFill>
                  <a:srgbClr val="4C4D4F"/>
                </a:solidFill>
              </a:defRPr>
            </a:lvl5pPr>
          </a:lstStyle>
          <a:p>
            <a:pPr lvl="0"/>
            <a:r>
              <a:rPr lang="en-US"/>
              <a:t>Click to edit Master text styles</a:t>
            </a:r>
          </a:p>
          <a:p>
            <a:pPr lvl="1"/>
            <a:r>
              <a:rPr lang="en-US"/>
              <a:t>Second level</a:t>
            </a:r>
          </a:p>
          <a:p>
            <a:pPr lvl="2"/>
            <a:r>
              <a:rPr lang="en-US"/>
              <a:t>Third level</a:t>
            </a:r>
          </a:p>
        </p:txBody>
      </p:sp>
      <p:sp>
        <p:nvSpPr>
          <p:cNvPr id="8" name="Title 7"/>
          <p:cNvSpPr>
            <a:spLocks noGrp="1"/>
          </p:cNvSpPr>
          <p:nvPr>
            <p:ph type="title"/>
          </p:nvPr>
        </p:nvSpPr>
        <p:spPr/>
        <p:txBody>
          <a:bodyPr/>
          <a:lstStyle/>
          <a:p>
            <a:r>
              <a:rPr lang="en-US"/>
              <a:t>Click to edit Master title style</a:t>
            </a:r>
            <a:endParaRPr lang="en-US" dirty="0"/>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dirty="0"/>
          </a:p>
        </p:txBody>
      </p:sp>
      <p:pic>
        <p:nvPicPr>
          <p:cNvPr id="9" name="Picture 8" descr="ThingWorx_PTC_logo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56800" y="228600"/>
            <a:ext cx="2020736" cy="329184"/>
          </a:xfrm>
          <a:prstGeom prst="rect">
            <a:avLst/>
          </a:prstGeom>
        </p:spPr>
      </p:pic>
    </p:spTree>
    <p:extLst>
      <p:ext uri="{BB962C8B-B14F-4D97-AF65-F5344CB8AC3E}">
        <p14:creationId xmlns:p14="http://schemas.microsoft.com/office/powerpoint/2010/main" val="335863759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lick to edit Master title style</a:t>
            </a:r>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dirty="0"/>
          </a:p>
        </p:txBody>
      </p:sp>
    </p:spTree>
    <p:extLst>
      <p:ext uri="{BB962C8B-B14F-4D97-AF65-F5344CB8AC3E}">
        <p14:creationId xmlns:p14="http://schemas.microsoft.com/office/powerpoint/2010/main" val="93544633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Case Stud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dirty="0"/>
          </a:p>
        </p:txBody>
      </p:sp>
      <p:sp>
        <p:nvSpPr>
          <p:cNvPr id="4" name="Rectangle 10"/>
          <p:cNvSpPr/>
          <p:nvPr userDrawn="1"/>
        </p:nvSpPr>
        <p:spPr>
          <a:xfrm>
            <a:off x="6299202" y="990600"/>
            <a:ext cx="3296045" cy="552714"/>
          </a:xfrm>
          <a:custGeom>
            <a:avLst/>
            <a:gdLst>
              <a:gd name="connsiteX0" fmla="*/ 0 w 3281843"/>
              <a:gd name="connsiteY0" fmla="*/ 0 h 705114"/>
              <a:gd name="connsiteX1" fmla="*/ 3281843 w 3281843"/>
              <a:gd name="connsiteY1" fmla="*/ 0 h 705114"/>
              <a:gd name="connsiteX2" fmla="*/ 3281843 w 3281843"/>
              <a:gd name="connsiteY2" fmla="*/ 705114 h 705114"/>
              <a:gd name="connsiteX3" fmla="*/ 0 w 3281843"/>
              <a:gd name="connsiteY3" fmla="*/ 705114 h 705114"/>
              <a:gd name="connsiteX4" fmla="*/ 0 w 3281843"/>
              <a:gd name="connsiteY4" fmla="*/ 0 h 705114"/>
              <a:gd name="connsiteX0" fmla="*/ 0 w 3281843"/>
              <a:gd name="connsiteY0" fmla="*/ 0 h 705114"/>
              <a:gd name="connsiteX1" fmla="*/ 2964343 w 3281843"/>
              <a:gd name="connsiteY1" fmla="*/ 0 h 705114"/>
              <a:gd name="connsiteX2" fmla="*/ 3281843 w 3281843"/>
              <a:gd name="connsiteY2" fmla="*/ 705114 h 705114"/>
              <a:gd name="connsiteX3" fmla="*/ 0 w 3281843"/>
              <a:gd name="connsiteY3" fmla="*/ 705114 h 705114"/>
              <a:gd name="connsiteX4" fmla="*/ 0 w 3281843"/>
              <a:gd name="connsiteY4" fmla="*/ 0 h 705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1843" h="705114">
                <a:moveTo>
                  <a:pt x="0" y="0"/>
                </a:moveTo>
                <a:lnTo>
                  <a:pt x="2964343" y="0"/>
                </a:lnTo>
                <a:lnTo>
                  <a:pt x="3281843" y="705114"/>
                </a:lnTo>
                <a:lnTo>
                  <a:pt x="0" y="705114"/>
                </a:lnTo>
                <a:lnTo>
                  <a:pt x="0" y="0"/>
                </a:lnTo>
                <a:close/>
              </a:path>
            </a:pathLst>
          </a:custGeom>
          <a:solidFill>
            <a:srgbClr val="FFFFFF"/>
          </a:solidFill>
          <a:ln w="12700" cmpd="sng">
            <a:noFill/>
          </a:ln>
          <a:effectLst/>
        </p:spPr>
        <p:style>
          <a:lnRef idx="1">
            <a:schemeClr val="accent1"/>
          </a:lnRef>
          <a:fillRef idx="3">
            <a:schemeClr val="accent1"/>
          </a:fillRef>
          <a:effectRef idx="2">
            <a:schemeClr val="accent1"/>
          </a:effectRef>
          <a:fontRef idx="minor">
            <a:schemeClr val="lt1"/>
          </a:fontRef>
        </p:style>
        <p:txBody>
          <a:bodyPr lIns="274320" tIns="137160" rIns="274320" bIns="365760" rtlCol="0" anchor="b" anchorCtr="0"/>
          <a:lstStyle/>
          <a:p>
            <a:pPr>
              <a:lnSpc>
                <a:spcPct val="120000"/>
              </a:lnSpc>
              <a:spcAft>
                <a:spcPts val="1200"/>
              </a:spcAft>
            </a:pPr>
            <a:endParaRPr lang="en-US" sz="1200" i="1" dirty="0">
              <a:solidFill>
                <a:schemeClr val="bg1"/>
              </a:solidFill>
            </a:endParaRPr>
          </a:p>
        </p:txBody>
      </p:sp>
      <p:cxnSp>
        <p:nvCxnSpPr>
          <p:cNvPr id="7" name="Straight Connector 6"/>
          <p:cNvCxnSpPr/>
          <p:nvPr userDrawn="1"/>
        </p:nvCxnSpPr>
        <p:spPr>
          <a:xfrm>
            <a:off x="419302" y="1828800"/>
            <a:ext cx="5063873" cy="0"/>
          </a:xfrm>
          <a:prstGeom prst="line">
            <a:avLst/>
          </a:prstGeom>
          <a:ln w="19050" cmpd="sng">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sp>
        <p:nvSpPr>
          <p:cNvPr id="9" name="Rectangle 8"/>
          <p:cNvSpPr/>
          <p:nvPr/>
        </p:nvSpPr>
        <p:spPr>
          <a:xfrm rot="2700000">
            <a:off x="6131096" y="1092684"/>
            <a:ext cx="325997" cy="434663"/>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schemeClr val="bg1"/>
              </a:solidFill>
            </a:endParaRPr>
          </a:p>
        </p:txBody>
      </p:sp>
      <p:sp>
        <p:nvSpPr>
          <p:cNvPr id="10" name="Rectangle 9"/>
          <p:cNvSpPr/>
          <p:nvPr/>
        </p:nvSpPr>
        <p:spPr>
          <a:xfrm>
            <a:off x="6299200" y="1079500"/>
            <a:ext cx="5588000" cy="4876800"/>
          </a:xfrm>
          <a:prstGeom prst="rect">
            <a:avLst/>
          </a:prstGeom>
          <a:gradFill flip="none" rotWithShape="1">
            <a:gsLst>
              <a:gs pos="0">
                <a:schemeClr val="tx1">
                  <a:lumMod val="50000"/>
                </a:schemeClr>
              </a:gs>
              <a:gs pos="100000">
                <a:schemeClr val="tx1">
                  <a:lumMod val="50000"/>
                </a:schemeClr>
              </a:gs>
              <a:gs pos="50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37160" rIns="182880" bIns="228600" rtlCol="0" anchor="t" anchorCtr="0"/>
          <a:lstStyle/>
          <a:p>
            <a:endParaRPr lang="en-US" sz="2200" dirty="0">
              <a:solidFill>
                <a:srgbClr val="53565A"/>
              </a:solidFill>
            </a:endParaRPr>
          </a:p>
        </p:txBody>
      </p:sp>
      <p:sp>
        <p:nvSpPr>
          <p:cNvPr id="15" name="Text Placeholder 13"/>
          <p:cNvSpPr>
            <a:spLocks noGrp="1"/>
          </p:cNvSpPr>
          <p:nvPr userDrawn="1">
            <p:ph type="body" sz="quarter" idx="11"/>
          </p:nvPr>
        </p:nvSpPr>
        <p:spPr>
          <a:xfrm>
            <a:off x="419302" y="2005041"/>
            <a:ext cx="5464931" cy="4478380"/>
          </a:xfrm>
        </p:spPr>
        <p:txBody>
          <a:bodyPr/>
          <a:lstStyle>
            <a:lvl1pPr marL="0" indent="0">
              <a:lnSpc>
                <a:spcPct val="110000"/>
              </a:lnSpc>
              <a:spcBef>
                <a:spcPts val="0"/>
              </a:spcBef>
              <a:spcAft>
                <a:spcPts val="600"/>
              </a:spcAft>
              <a:buNone/>
              <a:defRPr sz="1600">
                <a:solidFill>
                  <a:schemeClr val="tx1"/>
                </a:solidFill>
                <a:latin typeface="+mn-lt"/>
              </a:defRPr>
            </a:lvl1pPr>
            <a:lvl2pPr marL="455613" indent="0">
              <a:buNone/>
              <a:defRPr sz="1600">
                <a:solidFill>
                  <a:schemeClr val="tx1"/>
                </a:solidFill>
                <a:latin typeface="+mn-lt"/>
              </a:defRPr>
            </a:lvl2pPr>
            <a:lvl3pPr marL="914400" indent="0">
              <a:buNone/>
              <a:defRPr sz="1600">
                <a:solidFill>
                  <a:schemeClr val="tx1"/>
                </a:solidFill>
                <a:latin typeface="+mn-lt"/>
              </a:defRPr>
            </a:lvl3pPr>
            <a:lvl4pPr marL="1371600" indent="0">
              <a:buNone/>
              <a:defRPr sz="1600">
                <a:solidFill>
                  <a:schemeClr val="tx1"/>
                </a:solidFill>
                <a:latin typeface="+mn-lt"/>
              </a:defRPr>
            </a:lvl4pPr>
            <a:lvl5pPr marL="1828800" indent="0">
              <a:buNone/>
              <a:defRPr sz="1600">
                <a:solidFill>
                  <a:schemeClr val="tx1"/>
                </a:solidFill>
                <a:latin typeface="+mn-lt"/>
              </a:defRPr>
            </a:lvl5pPr>
          </a:lstStyle>
          <a:p>
            <a:pPr lvl="0"/>
            <a:r>
              <a:rPr lang="en-US" dirty="0"/>
              <a:t>Click to edit Master text styles</a:t>
            </a:r>
          </a:p>
        </p:txBody>
      </p:sp>
      <p:sp>
        <p:nvSpPr>
          <p:cNvPr id="18" name="Picture Placeholder 16"/>
          <p:cNvSpPr>
            <a:spLocks noGrp="1"/>
          </p:cNvSpPr>
          <p:nvPr userDrawn="1">
            <p:ph type="pic" sz="quarter" idx="12"/>
          </p:nvPr>
        </p:nvSpPr>
        <p:spPr>
          <a:xfrm>
            <a:off x="6652684" y="4116388"/>
            <a:ext cx="4883149" cy="2392362"/>
          </a:xfrm>
          <a:ln w="9525">
            <a:solidFill>
              <a:schemeClr val="tx1">
                <a:lumMod val="50000"/>
              </a:schemeClr>
            </a:solidFill>
          </a:ln>
        </p:spPr>
        <p:txBody>
          <a:bodyPr/>
          <a:lstStyle/>
          <a:p>
            <a:endParaRPr lang="en-US"/>
          </a:p>
        </p:txBody>
      </p:sp>
      <p:sp>
        <p:nvSpPr>
          <p:cNvPr id="21" name="Text Placeholder 19"/>
          <p:cNvSpPr>
            <a:spLocks noGrp="1"/>
          </p:cNvSpPr>
          <p:nvPr userDrawn="1">
            <p:ph type="body" sz="quarter" idx="13"/>
          </p:nvPr>
        </p:nvSpPr>
        <p:spPr>
          <a:xfrm>
            <a:off x="6667500" y="1188906"/>
            <a:ext cx="4853517" cy="2574925"/>
          </a:xfrm>
        </p:spPr>
        <p:txBody>
          <a:bodyPr/>
          <a:lstStyle>
            <a:lvl1pPr marL="0" indent="0">
              <a:lnSpc>
                <a:spcPct val="100000"/>
              </a:lnSpc>
              <a:spcBef>
                <a:spcPts val="0"/>
              </a:spcBef>
              <a:spcAft>
                <a:spcPts val="1200"/>
              </a:spcAft>
              <a:buNone/>
              <a:defRPr sz="1600" i="1">
                <a:solidFill>
                  <a:schemeClr val="bg1"/>
                </a:solidFill>
                <a:latin typeface="Arial Narrow" panose="020B0606020202030204" pitchFamily="34" charset="0"/>
              </a:defRPr>
            </a:lvl1pPr>
            <a:lvl2pPr marL="455613"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dirty="0"/>
              <a:t>Click to edit Master text styles</a:t>
            </a:r>
          </a:p>
        </p:txBody>
      </p:sp>
      <p:sp>
        <p:nvSpPr>
          <p:cNvPr id="24" name="Picture Placeholder 22"/>
          <p:cNvSpPr>
            <a:spLocks noGrp="1"/>
          </p:cNvSpPr>
          <p:nvPr userDrawn="1">
            <p:ph type="pic" sz="quarter" idx="14"/>
          </p:nvPr>
        </p:nvSpPr>
        <p:spPr>
          <a:xfrm>
            <a:off x="419301" y="1052513"/>
            <a:ext cx="5064075" cy="615950"/>
          </a:xfrm>
        </p:spPr>
        <p:txBody>
          <a:bodyPr/>
          <a:lstStyle/>
          <a:p>
            <a:endParaRPr lang="en-US" dirty="0"/>
          </a:p>
        </p:txBody>
      </p:sp>
    </p:spTree>
    <p:extLst>
      <p:ext uri="{BB962C8B-B14F-4D97-AF65-F5344CB8AC3E}">
        <p14:creationId xmlns:p14="http://schemas.microsoft.com/office/powerpoint/2010/main" val="197580047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92609" y="1222375"/>
            <a:ext cx="11599650" cy="4956048"/>
          </a:xfrm>
        </p:spPr>
        <p:txBody>
          <a:bodyPr>
            <a:normAutofit/>
          </a:bodyPr>
          <a:lstStyle>
            <a:lvl1pPr marL="273582" indent="-273582">
              <a:lnSpc>
                <a:spcPct val="90000"/>
              </a:lnSpc>
              <a:spcBef>
                <a:spcPts val="2139"/>
              </a:spcBef>
              <a:buClr>
                <a:schemeClr val="bg2"/>
              </a:buClr>
              <a:defRPr sz="2200" b="0">
                <a:solidFill>
                  <a:schemeClr val="tx1"/>
                </a:solidFill>
                <a:latin typeface="+mn-lt"/>
              </a:defRPr>
            </a:lvl1pPr>
            <a:lvl2pPr marL="813195" indent="-271694">
              <a:lnSpc>
                <a:spcPct val="90000"/>
              </a:lnSpc>
              <a:spcBef>
                <a:spcPts val="0"/>
              </a:spcBef>
              <a:spcAft>
                <a:spcPts val="238"/>
              </a:spcAft>
              <a:defRPr sz="2000" b="0">
                <a:solidFill>
                  <a:schemeClr val="tx1"/>
                </a:solidFill>
                <a:latin typeface="+mn-lt"/>
              </a:defRPr>
            </a:lvl2pPr>
            <a:lvl3pPr marL="1358470" indent="-271694">
              <a:lnSpc>
                <a:spcPct val="90000"/>
              </a:lnSpc>
              <a:spcBef>
                <a:spcPts val="0"/>
              </a:spcBef>
              <a:spcAft>
                <a:spcPts val="238"/>
              </a:spcAft>
              <a:defRPr sz="1800" b="0">
                <a:solidFill>
                  <a:schemeClr val="tx1"/>
                </a:solidFill>
                <a:latin typeface="+mn-lt"/>
              </a:defRPr>
            </a:lvl3pPr>
            <a:lvl4pPr marL="1698086" indent="-271694">
              <a:lnSpc>
                <a:spcPct val="90000"/>
              </a:lnSpc>
              <a:defRPr sz="1600" b="0">
                <a:solidFill>
                  <a:schemeClr val="tx1"/>
                </a:solidFill>
                <a:latin typeface="+mn-lt"/>
              </a:defRPr>
            </a:lvl4pPr>
            <a:lvl5pPr marL="2171665" indent="-271694">
              <a:lnSpc>
                <a:spcPct val="90000"/>
              </a:lnSpc>
              <a:defRPr sz="1400" b="0" baseline="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07069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33715" y="1222375"/>
            <a:ext cx="3526818" cy="4956048"/>
          </a:xfrm>
        </p:spPr>
        <p:txBody>
          <a:bodyPr/>
          <a:lstStyle>
            <a:lvl1pPr>
              <a:defRPr sz="2200"/>
            </a:lvl1pPr>
            <a:lvl2pPr>
              <a:defRPr sz="2000"/>
            </a:lvl2pPr>
            <a:lvl3pPr>
              <a:defRPr sz="1800"/>
            </a:lvl3pPr>
            <a:lvl4pPr>
              <a:defRPr sz="1600"/>
            </a:lvl4pPr>
            <a:lvl5pPr>
              <a:defRPr sz="1400" baseline="0"/>
            </a:lvl5pPr>
            <a:lvl6pPr>
              <a:defRPr sz="1900"/>
            </a:lvl6pPr>
            <a:lvl7pPr>
              <a:defRPr sz="1900"/>
            </a:lvl7pPr>
            <a:lvl8pPr>
              <a:defRPr sz="1900"/>
            </a:lvl8pPr>
            <a:lvl9pPr>
              <a:defRPr sz="19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4"/>
          <p:cNvSpPr>
            <a:spLocks noGrp="1"/>
          </p:cNvSpPr>
          <p:nvPr>
            <p:ph type="title" hasCustomPrompt="1"/>
          </p:nvPr>
        </p:nvSpPr>
        <p:spPr/>
        <p:txBody>
          <a:bodyPr/>
          <a:lstStyle>
            <a:lvl1pPr>
              <a:defRPr/>
            </a:lvl1pPr>
          </a:lstStyle>
          <a:p>
            <a:r>
              <a:rPr lang="en-US" dirty="0"/>
              <a:t>Click to add title</a:t>
            </a:r>
          </a:p>
        </p:txBody>
      </p:sp>
      <p:sp>
        <p:nvSpPr>
          <p:cNvPr id="20" name="Content Placeholder 19"/>
          <p:cNvSpPr>
            <a:spLocks noGrp="1"/>
          </p:cNvSpPr>
          <p:nvPr>
            <p:ph sz="quarter" idx="15" hasCustomPrompt="1"/>
          </p:nvPr>
        </p:nvSpPr>
        <p:spPr>
          <a:xfrm>
            <a:off x="4334936" y="1222375"/>
            <a:ext cx="3531780" cy="4956048"/>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241120" y="1222375"/>
            <a:ext cx="3531780" cy="4956048"/>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52757" y="2734235"/>
            <a:ext cx="3572437" cy="1389888"/>
          </a:xfrm>
          <a:prstGeom prst="rect">
            <a:avLst/>
          </a:prstGeom>
        </p:spPr>
      </p:pic>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r="49979"/>
          <a:stretch/>
        </p:blipFill>
        <p:spPr>
          <a:xfrm rot="10800000">
            <a:off x="-1" y="-857"/>
            <a:ext cx="6096000" cy="6858000"/>
          </a:xfrm>
          <a:prstGeom prst="rect">
            <a:avLst/>
          </a:prstGeom>
        </p:spPr>
      </p:pic>
      <p:sp>
        <p:nvSpPr>
          <p:cNvPr id="2" name="Title 1"/>
          <p:cNvSpPr>
            <a:spLocks noGrp="1"/>
          </p:cNvSpPr>
          <p:nvPr>
            <p:ph type="ctrTitle" hasCustomPrompt="1"/>
          </p:nvPr>
        </p:nvSpPr>
        <p:spPr bwMode="gray">
          <a:xfrm>
            <a:off x="427701" y="2879275"/>
            <a:ext cx="5417220" cy="1097736"/>
          </a:xfrm>
        </p:spPr>
        <p:txBody>
          <a:bodyPr wrap="square" tIns="91440" anchor="ctr" anchorCtr="0">
            <a:spAutoFit/>
          </a:bodyPr>
          <a:lstStyle>
            <a:lvl1pPr>
              <a:lnSpc>
                <a:spcPct val="80000"/>
              </a:lnSpc>
              <a:defRPr sz="4000" b="0" cap="all" baseline="0">
                <a:solidFill>
                  <a:schemeClr val="bg1"/>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bwMode="gray">
          <a:xfrm>
            <a:off x="427706" y="5443253"/>
            <a:ext cx="5424946" cy="28212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706" y="5759949"/>
            <a:ext cx="5424946" cy="225703"/>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706" y="6247690"/>
            <a:ext cx="5424946" cy="197490"/>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
        <p:nvSpPr>
          <p:cNvPr id="13" name="Rectangle 12"/>
          <p:cNvSpPr/>
          <p:nvPr userDrawn="1"/>
        </p:nvSpPr>
        <p:spPr bwMode="gray">
          <a:xfrm>
            <a:off x="606856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3259220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7583" y="1222375"/>
            <a:ext cx="11471932" cy="4956048"/>
          </a:xfrm>
        </p:spPr>
        <p:txBody>
          <a:bodyPr>
            <a:normAutofit/>
          </a:bodyPr>
          <a:lstStyle>
            <a:lvl1pPr marL="273582" indent="-273582">
              <a:lnSpc>
                <a:spcPct val="90000"/>
              </a:lnSpc>
              <a:spcBef>
                <a:spcPts val="2139"/>
              </a:spcBef>
              <a:buClr>
                <a:schemeClr val="tx1"/>
              </a:buClr>
              <a:defRPr sz="2200" b="0">
                <a:solidFill>
                  <a:schemeClr val="tx1"/>
                </a:solidFill>
                <a:latin typeface="+mn-lt"/>
              </a:defRPr>
            </a:lvl1pPr>
            <a:lvl2pPr marL="813195" indent="-271694">
              <a:lnSpc>
                <a:spcPct val="90000"/>
              </a:lnSpc>
              <a:spcBef>
                <a:spcPts val="0"/>
              </a:spcBef>
              <a:spcAft>
                <a:spcPts val="238"/>
              </a:spcAft>
              <a:defRPr sz="2000" b="0">
                <a:solidFill>
                  <a:schemeClr val="tx1"/>
                </a:solidFill>
                <a:latin typeface="+mn-lt"/>
              </a:defRPr>
            </a:lvl2pPr>
            <a:lvl3pPr marL="1358470" indent="-271694">
              <a:lnSpc>
                <a:spcPct val="90000"/>
              </a:lnSpc>
              <a:spcBef>
                <a:spcPts val="0"/>
              </a:spcBef>
              <a:spcAft>
                <a:spcPts val="238"/>
              </a:spcAft>
              <a:defRPr sz="1800" b="0">
                <a:solidFill>
                  <a:schemeClr val="tx1"/>
                </a:solidFill>
                <a:latin typeface="+mn-lt"/>
              </a:defRPr>
            </a:lvl3pPr>
            <a:lvl4pPr marL="1901952" indent="-271694">
              <a:lnSpc>
                <a:spcPct val="90000"/>
              </a:lnSpc>
              <a:defRPr sz="1600" b="0">
                <a:solidFill>
                  <a:schemeClr val="tx1"/>
                </a:solidFill>
                <a:latin typeface="+mn-lt"/>
              </a:defRPr>
            </a:lvl4pPr>
            <a:lvl5pPr marL="2441448" indent="-271694">
              <a:lnSpc>
                <a:spcPct val="90000"/>
              </a:lnSpc>
              <a:defRPr sz="1400" b="0" baseline="0">
                <a:solidFill>
                  <a:schemeClr val="tx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a:xfrm>
            <a:off x="411484" y="347472"/>
            <a:ext cx="10259568" cy="344710"/>
          </a:xfrm>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108606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650" t="650"/>
          <a:stretch/>
        </p:blipFill>
        <p:spPr>
          <a:xfrm rot="10800000">
            <a:off x="1" y="4"/>
            <a:ext cx="2586914" cy="6857999"/>
          </a:xfrm>
          <a:prstGeom prst="rect">
            <a:avLst/>
          </a:pr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650" t="650"/>
          <a:stretch/>
        </p:blipFill>
        <p:spPr>
          <a:xfrm>
            <a:off x="9602618" y="4"/>
            <a:ext cx="2586914" cy="6857999"/>
          </a:xfrm>
          <a:prstGeom prst="rect">
            <a:avLst/>
          </a:prstGeom>
        </p:spPr>
      </p:pic>
      <p:sp>
        <p:nvSpPr>
          <p:cNvPr id="6" name="Rectangle 6"/>
          <p:cNvSpPr txBox="1">
            <a:spLocks noChangeArrowheads="1"/>
          </p:cNvSpPr>
          <p:nvPr/>
        </p:nvSpPr>
        <p:spPr bwMode="gray">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2" name="Rectangle 1"/>
          <p:cNvSpPr/>
          <p:nvPr userDrawn="1"/>
        </p:nvSpPr>
        <p:spPr bwMode="gray">
          <a:xfrm>
            <a:off x="2585547" y="0"/>
            <a:ext cx="70209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Title 21"/>
          <p:cNvSpPr>
            <a:spLocks noGrp="1"/>
          </p:cNvSpPr>
          <p:nvPr>
            <p:ph type="title" hasCustomPrompt="1"/>
          </p:nvPr>
        </p:nvSpPr>
        <p:spPr>
          <a:xfrm>
            <a:off x="2984942" y="620329"/>
            <a:ext cx="6222120" cy="359073"/>
          </a:xfrm>
        </p:spPr>
        <p:txBody>
          <a:bodyPr wrap="square" anchor="ctr">
            <a:spAutoFit/>
          </a:bodyPr>
          <a:lstStyle>
            <a:lvl1pPr algn="l">
              <a:lnSpc>
                <a:spcPct val="80000"/>
              </a:lnSpc>
              <a:defRPr sz="2800">
                <a:solidFill>
                  <a:schemeClr val="bg2"/>
                </a:solidFill>
                <a:latin typeface="+mn-lt"/>
              </a:defRPr>
            </a:lvl1pPr>
          </a:lstStyle>
          <a:p>
            <a:r>
              <a:rPr lang="en-US" dirty="0"/>
              <a:t>Click to add agenda title</a:t>
            </a:r>
          </a:p>
        </p:txBody>
      </p:sp>
      <p:sp>
        <p:nvSpPr>
          <p:cNvPr id="20" name="Content Placeholder 3"/>
          <p:cNvSpPr>
            <a:spLocks noGrp="1"/>
          </p:cNvSpPr>
          <p:nvPr>
            <p:ph sz="half" idx="2" hasCustomPrompt="1"/>
          </p:nvPr>
        </p:nvSpPr>
        <p:spPr>
          <a:xfrm>
            <a:off x="2984942" y="1334817"/>
            <a:ext cx="6222120" cy="5145885"/>
          </a:xfrm>
        </p:spPr>
        <p:txBody>
          <a:bodyPr anchor="t">
            <a:normAutofit/>
          </a:bodyPr>
          <a:lstStyle>
            <a:lvl1pPr marL="457200" indent="-457200">
              <a:buClr>
                <a:schemeClr val="tx1"/>
              </a:buClr>
              <a:buFont typeface="+mj-lt"/>
              <a:buAutoNum type="arabicPeriod"/>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960261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Rectangle 12"/>
          <p:cNvSpPr/>
          <p:nvPr userDrawn="1"/>
        </p:nvSpPr>
        <p:spPr>
          <a:xfrm>
            <a:off x="2534520"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3" y="312673"/>
            <a:ext cx="860651" cy="334270"/>
          </a:xfrm>
          <a:prstGeom prst="rect">
            <a:avLst/>
          </a:prstGeom>
        </p:spPr>
      </p:pic>
    </p:spTree>
    <p:extLst>
      <p:ext uri="{BB962C8B-B14F-4D97-AF65-F5344CB8AC3E}">
        <p14:creationId xmlns:p14="http://schemas.microsoft.com/office/powerpoint/2010/main" val="89046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Gree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2" y="-1"/>
            <a:ext cx="12187065" cy="6858000"/>
          </a:xfrm>
          <a:prstGeom prst="rect">
            <a:avLst/>
          </a:prstGeom>
        </p:spPr>
      </p:pic>
      <p:sp>
        <p:nvSpPr>
          <p:cNvPr id="22" name="Title 21"/>
          <p:cNvSpPr>
            <a:spLocks noGrp="1"/>
          </p:cNvSpPr>
          <p:nvPr>
            <p:ph type="title" hasCustomPrompt="1"/>
          </p:nvPr>
        </p:nvSpPr>
        <p:spPr bwMode="gray">
          <a:xfrm>
            <a:off x="386943" y="3121227"/>
            <a:ext cx="10186176" cy="615553"/>
          </a:xfrm>
        </p:spPr>
        <p:txBody>
          <a:bodyPr wrap="square" anchor="ctr">
            <a:spAutoFit/>
          </a:bodyPr>
          <a:lstStyle>
            <a:lvl1pPr algn="l">
              <a:lnSpc>
                <a:spcPct val="80000"/>
              </a:lnSpc>
              <a:defRPr sz="4800" baseline="0">
                <a:solidFill>
                  <a:schemeClr val="bg1"/>
                </a:solidFill>
                <a:latin typeface="+mn-lt"/>
              </a:defRPr>
            </a:lvl1pPr>
          </a:lstStyle>
          <a:p>
            <a:r>
              <a:rPr lang="en-US" dirty="0"/>
              <a:t>Click to add divider title</a:t>
            </a:r>
          </a:p>
        </p:txBody>
      </p:sp>
      <p:sp>
        <p:nvSpPr>
          <p:cNvPr id="6" name="Rectangle 6"/>
          <p:cNvSpPr txBox="1">
            <a:spLocks noChangeArrowheads="1"/>
          </p:cNvSpPr>
          <p:nvPr/>
        </p:nvSpPr>
        <p:spPr bwMode="gray">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3" y="312673"/>
            <a:ext cx="860651" cy="334270"/>
          </a:xfrm>
          <a:prstGeom prst="rect">
            <a:avLst/>
          </a:prstGeom>
        </p:spPr>
      </p:pic>
    </p:spTree>
    <p:extLst>
      <p:ext uri="{BB962C8B-B14F-4D97-AF65-F5344CB8AC3E}">
        <p14:creationId xmlns:p14="http://schemas.microsoft.com/office/powerpoint/2010/main" val="233457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Green Color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65236"/>
          <a:stretch/>
        </p:blipFill>
        <p:spPr>
          <a:xfrm>
            <a:off x="4" y="-1"/>
            <a:ext cx="4236684" cy="6858000"/>
          </a:xfrm>
          <a:prstGeom prst="rect">
            <a:avLst/>
          </a:prstGeom>
        </p:spPr>
      </p:pic>
      <p:sp>
        <p:nvSpPr>
          <p:cNvPr id="10" name="Content Placeholder 3"/>
          <p:cNvSpPr>
            <a:spLocks noGrp="1"/>
          </p:cNvSpPr>
          <p:nvPr>
            <p:ph sz="half" idx="2" hasCustomPrompt="1"/>
          </p:nvPr>
        </p:nvSpPr>
        <p:spPr>
          <a:xfrm>
            <a:off x="4694641" y="772358"/>
            <a:ext cx="7082577" cy="5477522"/>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7"/>
          <p:cNvSpPr>
            <a:spLocks noGrp="1"/>
          </p:cNvSpPr>
          <p:nvPr>
            <p:ph type="title" hasCustomPrompt="1"/>
          </p:nvPr>
        </p:nvSpPr>
        <p:spPr bwMode="gray">
          <a:xfrm>
            <a:off x="430546" y="2975719"/>
            <a:ext cx="3271299" cy="904863"/>
          </a:xfrm>
        </p:spPr>
        <p:txBody>
          <a:bodyPr wrap="square" anchor="ctr">
            <a:spAutoFit/>
          </a:bodyPr>
          <a:lstStyle>
            <a:lvl1pPr>
              <a:lnSpc>
                <a:spcPct val="80000"/>
              </a:lnSpc>
              <a:defRPr sz="3600" cap="all" baseline="0">
                <a:solidFill>
                  <a:schemeClr val="bg1"/>
                </a:solidFill>
              </a:defRPr>
            </a:lvl1pPr>
          </a:lstStyle>
          <a:p>
            <a:r>
              <a:rPr lang="en-US" dirty="0"/>
              <a:t>Click to add title</a:t>
            </a:r>
          </a:p>
        </p:txBody>
      </p:sp>
      <p:sp>
        <p:nvSpPr>
          <p:cNvPr id="7" name="Rectangle 6"/>
          <p:cNvSpPr txBox="1">
            <a:spLocks noChangeArrowheads="1"/>
          </p:cNvSpPr>
          <p:nvPr/>
        </p:nvSpPr>
        <p:spPr bwMode="auto">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1341501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3849121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 No Footer">
    <p:spTree>
      <p:nvGrpSpPr>
        <p:cNvPr id="1" name=""/>
        <p:cNvGrpSpPr/>
        <p:nvPr/>
      </p:nvGrpSpPr>
      <p:grpSpPr>
        <a:xfrm>
          <a:off x="0" y="0"/>
          <a:ext cx="0" cy="0"/>
          <a:chOff x="0" y="0"/>
          <a:chExt cx="0" cy="0"/>
        </a:xfrm>
      </p:grpSpPr>
      <p:sp>
        <p:nvSpPr>
          <p:cNvPr id="2" name="Rectangle 1"/>
          <p:cNvSpPr/>
          <p:nvPr/>
        </p:nvSpPr>
        <p:spPr bwMode="gray">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solidFill>
                <a:schemeClr val="bg1"/>
              </a:solidFill>
            </a:endParaRPr>
          </a:p>
        </p:txBody>
      </p:sp>
      <p:sp>
        <p:nvSpPr>
          <p:cNvPr id="8" name="Title 7"/>
          <p:cNvSpPr>
            <a:spLocks noGrp="1"/>
          </p:cNvSpPr>
          <p:nvPr>
            <p:ph type="title" hasCustomPrompt="1"/>
          </p:nvPr>
        </p:nvSpPr>
        <p:spPr/>
        <p:txBody>
          <a:bodyPr/>
          <a:lstStyle>
            <a:lvl1pPr>
              <a:defRPr/>
            </a:lvl1pPr>
          </a:lstStyle>
          <a:p>
            <a:r>
              <a:rPr lang="en-US" dirty="0"/>
              <a:t>Click to add title</a:t>
            </a:r>
          </a:p>
        </p:txBody>
      </p:sp>
      <p:sp>
        <p:nvSpPr>
          <p:cNvPr id="5" name="Rectangle 6"/>
          <p:cNvSpPr txBox="1">
            <a:spLocks noChangeArrowheads="1"/>
          </p:cNvSpPr>
          <p:nvPr/>
        </p:nvSpPr>
        <p:spPr bwMode="auto">
          <a:xfrm>
            <a:off x="11320847"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139491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33715" y="1222375"/>
            <a:ext cx="5430358" cy="4956048"/>
          </a:xfrm>
        </p:spPr>
        <p:txBody>
          <a:bodyPr/>
          <a:lstStyle>
            <a:lvl1pPr>
              <a:defRPr sz="2200"/>
            </a:lvl1pPr>
            <a:lvl2pPr>
              <a:defRPr sz="2000"/>
            </a:lvl2pPr>
            <a:lvl3pPr>
              <a:defRPr sz="1800"/>
            </a:lvl3pPr>
            <a:lvl4pPr>
              <a:defRPr sz="1600"/>
            </a:lvl4pPr>
            <a:lvl5pPr>
              <a:defRPr sz="1400" baseline="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321147" y="1222375"/>
            <a:ext cx="5431536" cy="4956048"/>
          </a:xfrm>
        </p:spPr>
        <p:txBody>
          <a:bodyPr/>
          <a:lstStyle>
            <a:lvl1pPr>
              <a:defRPr sz="2200"/>
            </a:lvl1pPr>
            <a:lvl2pPr>
              <a:defRPr sz="2000"/>
            </a:lvl2pPr>
            <a:lvl3pPr>
              <a:defRPr sz="1800"/>
            </a:lvl3pPr>
            <a:lvl4pPr>
              <a:defRPr sz="1600"/>
            </a:lvl4pPr>
            <a:lvl5pPr>
              <a:defRPr sz="1400"/>
            </a:lvl5pPr>
            <a:lvl6pPr>
              <a:defRPr sz="2200"/>
            </a:lvl6pPr>
            <a:lvl7pPr>
              <a:defRPr sz="2200"/>
            </a:lvl7pPr>
            <a:lvl8pPr>
              <a:defRPr sz="2200"/>
            </a:lvl8pPr>
            <a:lvl9pPr>
              <a:defRPr sz="2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p:cNvSpPr>
            <a:spLocks noGrp="1"/>
          </p:cNvSpPr>
          <p:nvPr>
            <p:ph type="title" hasCustomPrompt="1"/>
          </p:nvPr>
        </p:nvSpPr>
        <p:spPr/>
        <p:txBody>
          <a:bodyPr vert="horz" lIns="0" tIns="0" rIns="0" bIns="0" rtlCol="0" anchor="ctr" anchorCtr="0">
            <a:normAutofit/>
          </a:bodyPr>
          <a:lstStyle>
            <a:lvl1pPr>
              <a:defRPr lang="en-US" dirty="0"/>
            </a:lvl1pPr>
          </a:lstStyle>
          <a:p>
            <a:pPr lvl="0"/>
            <a:r>
              <a:rPr lang="en-US" dirty="0"/>
              <a:t>Click to add title</a:t>
            </a:r>
          </a:p>
        </p:txBody>
      </p:sp>
    </p:spTree>
    <p:extLst>
      <p:ext uri="{BB962C8B-B14F-4D97-AF65-F5344CB8AC3E}">
        <p14:creationId xmlns:p14="http://schemas.microsoft.com/office/powerpoint/2010/main" val="94499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33719" y="1222375"/>
            <a:ext cx="3526818" cy="4956048"/>
          </a:xfrm>
        </p:spPr>
        <p:txBody>
          <a:bodyPr/>
          <a:lstStyle>
            <a:lvl1pPr>
              <a:defRPr sz="2200"/>
            </a:lvl1pPr>
            <a:lvl2pPr>
              <a:defRPr sz="2000"/>
            </a:lvl2pPr>
            <a:lvl3pPr>
              <a:defRPr sz="1800"/>
            </a:lvl3pPr>
            <a:lvl4pPr>
              <a:defRPr sz="1600"/>
            </a:lvl4pPr>
            <a:lvl5pPr>
              <a:defRPr sz="1400" baseline="0"/>
            </a:lvl5pPr>
            <a:lvl6pPr>
              <a:defRPr sz="1900"/>
            </a:lvl6pPr>
            <a:lvl7pPr>
              <a:defRPr sz="1900"/>
            </a:lvl7pPr>
            <a:lvl8pPr>
              <a:defRPr sz="1900"/>
            </a:lvl8pPr>
            <a:lvl9pPr>
              <a:defRPr sz="19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4"/>
          <p:cNvSpPr>
            <a:spLocks noGrp="1"/>
          </p:cNvSpPr>
          <p:nvPr>
            <p:ph type="title" hasCustomPrompt="1"/>
          </p:nvPr>
        </p:nvSpPr>
        <p:spPr/>
        <p:txBody>
          <a:bodyPr/>
          <a:lstStyle>
            <a:lvl1pPr>
              <a:defRPr/>
            </a:lvl1pPr>
          </a:lstStyle>
          <a:p>
            <a:r>
              <a:rPr lang="en-US" dirty="0"/>
              <a:t>Click to add title</a:t>
            </a:r>
          </a:p>
        </p:txBody>
      </p:sp>
      <p:sp>
        <p:nvSpPr>
          <p:cNvPr id="20" name="Content Placeholder 19"/>
          <p:cNvSpPr>
            <a:spLocks noGrp="1"/>
          </p:cNvSpPr>
          <p:nvPr>
            <p:ph sz="quarter" idx="15" hasCustomPrompt="1"/>
          </p:nvPr>
        </p:nvSpPr>
        <p:spPr>
          <a:xfrm>
            <a:off x="4334940" y="1222375"/>
            <a:ext cx="3531780" cy="4956048"/>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241124" y="1222375"/>
            <a:ext cx="3531780" cy="4956048"/>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192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a:t>Click to add title</a:t>
            </a:r>
          </a:p>
        </p:txBody>
      </p:sp>
      <p:sp>
        <p:nvSpPr>
          <p:cNvPr id="12" name="Content Placeholder 11"/>
          <p:cNvSpPr>
            <a:spLocks noGrp="1"/>
          </p:cNvSpPr>
          <p:nvPr>
            <p:ph sz="quarter" idx="14" hasCustomPrompt="1"/>
          </p:nvPr>
        </p:nvSpPr>
        <p:spPr>
          <a:xfrm>
            <a:off x="430530" y="1222383"/>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1"/>
          <p:cNvSpPr>
            <a:spLocks noGrp="1"/>
          </p:cNvSpPr>
          <p:nvPr>
            <p:ph sz="quarter" idx="16" hasCustomPrompt="1"/>
          </p:nvPr>
        </p:nvSpPr>
        <p:spPr>
          <a:xfrm>
            <a:off x="6470144" y="1222383"/>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1"/>
          <p:cNvSpPr>
            <a:spLocks noGrp="1"/>
          </p:cNvSpPr>
          <p:nvPr>
            <p:ph sz="quarter" idx="20" hasCustomPrompt="1"/>
          </p:nvPr>
        </p:nvSpPr>
        <p:spPr>
          <a:xfrm>
            <a:off x="6470144" y="3808391"/>
            <a:ext cx="5302760" cy="2359153"/>
          </a:xfrm>
        </p:spPr>
        <p:txBody>
          <a:bodyPr/>
          <a:lstStyle>
            <a:lvl1pPr>
              <a:defRPr/>
            </a:lvl1pPr>
            <a:lvl3pPr>
              <a:defRPr/>
            </a:lvl3pPr>
            <a:lvl4pPr>
              <a:defRPr/>
            </a:lvl4pPr>
            <a:lvl5pPr>
              <a:defRPr baseline="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11"/>
          <p:cNvSpPr>
            <a:spLocks noGrp="1"/>
          </p:cNvSpPr>
          <p:nvPr>
            <p:ph sz="quarter" idx="19" hasCustomPrompt="1"/>
          </p:nvPr>
        </p:nvSpPr>
        <p:spPr>
          <a:xfrm>
            <a:off x="430530" y="3808391"/>
            <a:ext cx="5302760" cy="2359153"/>
          </a:xfrm>
        </p:spPr>
        <p:txBody>
          <a:bodyPr/>
          <a:lstStyle>
            <a:lvl1pPr>
              <a:defRPr/>
            </a:lvl1pPr>
            <a:lvl3pPr>
              <a:defRPr/>
            </a:lvl3pPr>
            <a:lvl4pPr>
              <a:defRPr/>
            </a:lvl4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1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slideLayout" Target="../slideLayouts/slideLayout88.xml"/><Relationship Id="rId50" Type="http://schemas.openxmlformats.org/officeDocument/2006/relationships/vmlDrawing" Target="../drawings/vmlDrawing1.vml"/><Relationship Id="rId55" Type="http://schemas.openxmlformats.org/officeDocument/2006/relationships/image" Target="../media/image26.png"/><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slideLayout" Target="../slideLayouts/slideLayout87.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54" Type="http://schemas.openxmlformats.org/officeDocument/2006/relationships/image" Target="../media/image25.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slideLayout" Target="../slideLayouts/slideLayout86.xml"/><Relationship Id="rId53" Type="http://schemas.openxmlformats.org/officeDocument/2006/relationships/image" Target="../media/image24.emf"/><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theme" Target="../theme/theme2.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52" Type="http://schemas.openxmlformats.org/officeDocument/2006/relationships/oleObject" Target="../embeddings/oleObject1.bin"/><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slideLayout" Target="../slideLayouts/slideLayout89.xml"/><Relationship Id="rId56" Type="http://schemas.openxmlformats.org/officeDocument/2006/relationships/image" Target="../media/image27.png"/><Relationship Id="rId8" Type="http://schemas.openxmlformats.org/officeDocument/2006/relationships/slideLayout" Target="../slideLayouts/slideLayout49.xml"/><Relationship Id="rId51" Type="http://schemas.openxmlformats.org/officeDocument/2006/relationships/tags" Target="../tags/tag1.xml"/><Relationship Id="rId3"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9" Type="http://schemas.openxmlformats.org/officeDocument/2006/relationships/slideLayout" Target="../slideLayouts/slideLayout128.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42" Type="http://schemas.openxmlformats.org/officeDocument/2006/relationships/image" Target="../media/image1.png"/><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38" Type="http://schemas.openxmlformats.org/officeDocument/2006/relationships/slideLayout" Target="../slideLayouts/slideLayout127.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41" Type="http://schemas.openxmlformats.org/officeDocument/2006/relationships/theme" Target="../theme/theme3.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slideLayout" Target="../slideLayouts/slideLayout126.xml"/><Relationship Id="rId40" Type="http://schemas.openxmlformats.org/officeDocument/2006/relationships/slideLayout" Target="../slideLayouts/slideLayout129.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 Id="rId43"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theme" Target="../theme/theme4.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41" Type="http://schemas.openxmlformats.org/officeDocument/2006/relationships/image" Target="../media/image25.png"/><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image" Target="../media/image51.png"/><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9" Type="http://schemas.openxmlformats.org/officeDocument/2006/relationships/slideLayout" Target="../slideLayouts/slideLayout206.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34" Type="http://schemas.openxmlformats.org/officeDocument/2006/relationships/slideLayout" Target="../slideLayouts/slideLayout201.xml"/><Relationship Id="rId42" Type="http://schemas.openxmlformats.org/officeDocument/2006/relationships/slideLayout" Target="../slideLayouts/slideLayout209.xml"/><Relationship Id="rId47" Type="http://schemas.openxmlformats.org/officeDocument/2006/relationships/image" Target="../media/image59.png"/><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38" Type="http://schemas.openxmlformats.org/officeDocument/2006/relationships/slideLayout" Target="../slideLayouts/slideLayout205.xml"/><Relationship Id="rId46" Type="http://schemas.openxmlformats.org/officeDocument/2006/relationships/image" Target="../media/image1.png"/><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slideLayout" Target="../slideLayouts/slideLayout196.xml"/><Relationship Id="rId41" Type="http://schemas.openxmlformats.org/officeDocument/2006/relationships/slideLayout" Target="../slideLayouts/slideLayout208.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37" Type="http://schemas.openxmlformats.org/officeDocument/2006/relationships/slideLayout" Target="../slideLayouts/slideLayout204.xml"/><Relationship Id="rId40" Type="http://schemas.openxmlformats.org/officeDocument/2006/relationships/slideLayout" Target="../slideLayouts/slideLayout207.xml"/><Relationship Id="rId45" Type="http://schemas.openxmlformats.org/officeDocument/2006/relationships/theme" Target="../theme/theme5.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36" Type="http://schemas.openxmlformats.org/officeDocument/2006/relationships/slideLayout" Target="../slideLayouts/slideLayout203.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slideLayout" Target="../slideLayouts/slideLayout198.xml"/><Relationship Id="rId44" Type="http://schemas.openxmlformats.org/officeDocument/2006/relationships/slideLayout" Target="../slideLayouts/slideLayout211.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slideLayout" Target="../slideLayouts/slideLayout202.xml"/><Relationship Id="rId43" Type="http://schemas.openxmlformats.org/officeDocument/2006/relationships/slideLayout" Target="../slideLayouts/slideLayout210.xml"/><Relationship Id="rId48" Type="http://schemas.openxmlformats.org/officeDocument/2006/relationships/image" Target="../media/image60.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9" Type="http://schemas.openxmlformats.org/officeDocument/2006/relationships/slideLayout" Target="../slideLayouts/slideLayout250.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slideLayout" Target="../slideLayouts/slideLayout245.xml"/><Relationship Id="rId42" Type="http://schemas.openxmlformats.org/officeDocument/2006/relationships/slideLayout" Target="../slideLayouts/slideLayout253.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38" Type="http://schemas.openxmlformats.org/officeDocument/2006/relationships/slideLayout" Target="../slideLayouts/slideLayout249.xml"/><Relationship Id="rId46" Type="http://schemas.openxmlformats.org/officeDocument/2006/relationships/image" Target="../media/image2.png"/><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41" Type="http://schemas.openxmlformats.org/officeDocument/2006/relationships/slideLayout" Target="../slideLayouts/slideLayout252.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37" Type="http://schemas.openxmlformats.org/officeDocument/2006/relationships/slideLayout" Target="../slideLayouts/slideLayout248.xml"/><Relationship Id="rId40" Type="http://schemas.openxmlformats.org/officeDocument/2006/relationships/slideLayout" Target="../slideLayouts/slideLayout251.xml"/><Relationship Id="rId45" Type="http://schemas.openxmlformats.org/officeDocument/2006/relationships/image" Target="../media/image1.png"/><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slideLayout" Target="../slideLayouts/slideLayout247.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4" Type="http://schemas.openxmlformats.org/officeDocument/2006/relationships/theme" Target="../theme/theme6.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 Id="rId43" Type="http://schemas.openxmlformats.org/officeDocument/2006/relationships/slideLayout" Target="../slideLayouts/slideLayout25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3" Type="http://schemas.openxmlformats.org/officeDocument/2006/relationships/slideLayout" Target="../slideLayouts/slideLayout257.xml"/><Relationship Id="rId21" Type="http://schemas.openxmlformats.org/officeDocument/2006/relationships/theme" Target="../theme/theme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26" Type="http://schemas.openxmlformats.org/officeDocument/2006/relationships/slideLayout" Target="../slideLayouts/slideLayout300.xml"/><Relationship Id="rId39" Type="http://schemas.openxmlformats.org/officeDocument/2006/relationships/slideLayout" Target="../slideLayouts/slideLayout313.xml"/><Relationship Id="rId3" Type="http://schemas.openxmlformats.org/officeDocument/2006/relationships/slideLayout" Target="../slideLayouts/slideLayout277.xml"/><Relationship Id="rId21" Type="http://schemas.openxmlformats.org/officeDocument/2006/relationships/slideLayout" Target="../slideLayouts/slideLayout295.xml"/><Relationship Id="rId34" Type="http://schemas.openxmlformats.org/officeDocument/2006/relationships/slideLayout" Target="../slideLayouts/slideLayout308.xml"/><Relationship Id="rId42" Type="http://schemas.openxmlformats.org/officeDocument/2006/relationships/slideLayout" Target="../slideLayouts/slideLayout316.xml"/><Relationship Id="rId47" Type="http://schemas.openxmlformats.org/officeDocument/2006/relationships/image" Target="../media/image1.png"/><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slideLayout" Target="../slideLayouts/slideLayout299.xml"/><Relationship Id="rId33" Type="http://schemas.openxmlformats.org/officeDocument/2006/relationships/slideLayout" Target="../slideLayouts/slideLayout307.xml"/><Relationship Id="rId38" Type="http://schemas.openxmlformats.org/officeDocument/2006/relationships/slideLayout" Target="../slideLayouts/slideLayout312.xml"/><Relationship Id="rId46" Type="http://schemas.openxmlformats.org/officeDocument/2006/relationships/theme" Target="../theme/theme8.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slideLayout" Target="../slideLayouts/slideLayout294.xml"/><Relationship Id="rId29" Type="http://schemas.openxmlformats.org/officeDocument/2006/relationships/slideLayout" Target="../slideLayouts/slideLayout303.xml"/><Relationship Id="rId41" Type="http://schemas.openxmlformats.org/officeDocument/2006/relationships/slideLayout" Target="../slideLayouts/slideLayout315.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32" Type="http://schemas.openxmlformats.org/officeDocument/2006/relationships/slideLayout" Target="../slideLayouts/slideLayout306.xml"/><Relationship Id="rId37" Type="http://schemas.openxmlformats.org/officeDocument/2006/relationships/slideLayout" Target="../slideLayouts/slideLayout311.xml"/><Relationship Id="rId40" Type="http://schemas.openxmlformats.org/officeDocument/2006/relationships/slideLayout" Target="../slideLayouts/slideLayout314.xml"/><Relationship Id="rId45" Type="http://schemas.openxmlformats.org/officeDocument/2006/relationships/slideLayout" Target="../slideLayouts/slideLayout319.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28" Type="http://schemas.openxmlformats.org/officeDocument/2006/relationships/slideLayout" Target="../slideLayouts/slideLayout302.xml"/><Relationship Id="rId36" Type="http://schemas.openxmlformats.org/officeDocument/2006/relationships/slideLayout" Target="../slideLayouts/slideLayout310.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31" Type="http://schemas.openxmlformats.org/officeDocument/2006/relationships/slideLayout" Target="../slideLayouts/slideLayout305.xml"/><Relationship Id="rId44" Type="http://schemas.openxmlformats.org/officeDocument/2006/relationships/slideLayout" Target="../slideLayouts/slideLayout318.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slideLayout" Target="../slideLayouts/slideLayout301.xml"/><Relationship Id="rId30" Type="http://schemas.openxmlformats.org/officeDocument/2006/relationships/slideLayout" Target="../slideLayouts/slideLayout304.xml"/><Relationship Id="rId35" Type="http://schemas.openxmlformats.org/officeDocument/2006/relationships/slideLayout" Target="../slideLayouts/slideLayout309.xml"/><Relationship Id="rId43" Type="http://schemas.openxmlformats.org/officeDocument/2006/relationships/slideLayout" Target="../slideLayouts/slideLayout317.xml"/><Relationship Id="rId48" Type="http://schemas.openxmlformats.org/officeDocument/2006/relationships/image" Target="../media/image70.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slideLayout" Target="../slideLayouts/slideLayout332.xml"/><Relationship Id="rId18" Type="http://schemas.openxmlformats.org/officeDocument/2006/relationships/slideLayout" Target="../slideLayouts/slideLayout337.xml"/><Relationship Id="rId26" Type="http://schemas.openxmlformats.org/officeDocument/2006/relationships/theme" Target="../theme/theme9.xml"/><Relationship Id="rId3" Type="http://schemas.openxmlformats.org/officeDocument/2006/relationships/slideLayout" Target="../slideLayouts/slideLayout322.xml"/><Relationship Id="rId21" Type="http://schemas.openxmlformats.org/officeDocument/2006/relationships/slideLayout" Target="../slideLayouts/slideLayout340.xml"/><Relationship Id="rId7" Type="http://schemas.openxmlformats.org/officeDocument/2006/relationships/slideLayout" Target="../slideLayouts/slideLayout326.xml"/><Relationship Id="rId12" Type="http://schemas.openxmlformats.org/officeDocument/2006/relationships/slideLayout" Target="../slideLayouts/slideLayout331.xml"/><Relationship Id="rId17" Type="http://schemas.openxmlformats.org/officeDocument/2006/relationships/slideLayout" Target="../slideLayouts/slideLayout336.xml"/><Relationship Id="rId25" Type="http://schemas.openxmlformats.org/officeDocument/2006/relationships/slideLayout" Target="../slideLayouts/slideLayout344.xml"/><Relationship Id="rId2" Type="http://schemas.openxmlformats.org/officeDocument/2006/relationships/slideLayout" Target="../slideLayouts/slideLayout321.xml"/><Relationship Id="rId16" Type="http://schemas.openxmlformats.org/officeDocument/2006/relationships/slideLayout" Target="../slideLayouts/slideLayout335.xml"/><Relationship Id="rId20" Type="http://schemas.openxmlformats.org/officeDocument/2006/relationships/slideLayout" Target="../slideLayouts/slideLayout339.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slideLayout" Target="../slideLayouts/slideLayout330.xml"/><Relationship Id="rId24" Type="http://schemas.openxmlformats.org/officeDocument/2006/relationships/slideLayout" Target="../slideLayouts/slideLayout343.xml"/><Relationship Id="rId5" Type="http://schemas.openxmlformats.org/officeDocument/2006/relationships/slideLayout" Target="../slideLayouts/slideLayout324.xml"/><Relationship Id="rId15" Type="http://schemas.openxmlformats.org/officeDocument/2006/relationships/slideLayout" Target="../slideLayouts/slideLayout334.xml"/><Relationship Id="rId23" Type="http://schemas.openxmlformats.org/officeDocument/2006/relationships/slideLayout" Target="../slideLayouts/slideLayout342.xml"/><Relationship Id="rId10" Type="http://schemas.openxmlformats.org/officeDocument/2006/relationships/slideLayout" Target="../slideLayouts/slideLayout329.xml"/><Relationship Id="rId19" Type="http://schemas.openxmlformats.org/officeDocument/2006/relationships/slideLayout" Target="../slideLayouts/slideLayout338.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slideLayout" Target="../slideLayouts/slideLayout333.xml"/><Relationship Id="rId22" Type="http://schemas.openxmlformats.org/officeDocument/2006/relationships/slideLayout" Target="../slideLayouts/slideLayout341.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3" cstate="print">
            <a:extLst>
              <a:ext uri="{28A0092B-C50C-407E-A947-70E740481C1C}">
                <a14:useLocalDpi xmlns:a14="http://schemas.microsoft.com/office/drawing/2010/main" val="0"/>
              </a:ext>
            </a:extLst>
          </a:blip>
          <a:srcRect t="94737"/>
          <a:stretch/>
        </p:blipFill>
        <p:spPr>
          <a:xfrm flipV="1">
            <a:off x="0" y="6496905"/>
            <a:ext cx="12192000" cy="361095"/>
          </a:xfrm>
          <a:prstGeom prst="rect">
            <a:avLst/>
          </a:prstGeom>
        </p:spPr>
      </p:pic>
      <p:sp>
        <p:nvSpPr>
          <p:cNvPr id="2" name="Title Placeholder 1"/>
          <p:cNvSpPr>
            <a:spLocks noGrp="1"/>
          </p:cNvSpPr>
          <p:nvPr>
            <p:ph type="title"/>
          </p:nvPr>
        </p:nvSpPr>
        <p:spPr>
          <a:xfrm>
            <a:off x="406940" y="350933"/>
            <a:ext cx="10259568" cy="344710"/>
          </a:xfrm>
          <a:prstGeom prst="rect">
            <a:avLst/>
          </a:prstGeom>
        </p:spPr>
        <p:txBody>
          <a:bodyPr vert="horz" lIns="0" tIns="0" rIns="0" bIns="0" rtlCol="0" anchor="ctr" anchorCtr="0">
            <a:normAutofit/>
          </a:bodyPr>
          <a:lstStyle/>
          <a:p>
            <a:r>
              <a:rPr lang="en-US" dirty="0"/>
              <a:t>Click to add title</a:t>
            </a:r>
          </a:p>
        </p:txBody>
      </p:sp>
      <p:sp>
        <p:nvSpPr>
          <p:cNvPr id="3" name="Text Placeholder 2"/>
          <p:cNvSpPr>
            <a:spLocks noGrp="1"/>
          </p:cNvSpPr>
          <p:nvPr>
            <p:ph type="body" idx="1"/>
          </p:nvPr>
        </p:nvSpPr>
        <p:spPr>
          <a:xfrm>
            <a:off x="428953" y="1222375"/>
            <a:ext cx="11459086" cy="4956048"/>
          </a:xfrm>
          <a:prstGeom prst="rect">
            <a:avLst/>
          </a:prstGeom>
        </p:spPr>
        <p:txBody>
          <a:bodyPr vert="horz" lIns="0" tIns="0" rIns="0" bIns="0"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p:cNvSpPr txBox="1">
            <a:spLocks noChangeArrowheads="1"/>
          </p:cNvSpPr>
          <p:nvPr/>
        </p:nvSpPr>
        <p:spPr bwMode="auto">
          <a:xfrm>
            <a:off x="11308896"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8" name="Picture 7"/>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cSld>
  <p:clrMap bg1="lt1" tx1="dk1" bg2="lt2" tx2="dk2" accent1="accent1" accent2="accent2" accent3="accent3" accent4="accent4" accent5="accent5" accent6="accent6" hlink="hlink" folHlink="folHlink"/>
  <p:sldLayoutIdLst>
    <p:sldLayoutId id="2147483700" r:id="rId1"/>
    <p:sldLayoutId id="2147483650" r:id="rId2"/>
    <p:sldLayoutId id="2147483708" r:id="rId3"/>
    <p:sldLayoutId id="2147483725" r:id="rId4"/>
    <p:sldLayoutId id="2147483707" r:id="rId5"/>
    <p:sldLayoutId id="2147483654" r:id="rId6"/>
    <p:sldLayoutId id="2147483716" r:id="rId7"/>
    <p:sldLayoutId id="2147483652" r:id="rId8"/>
    <p:sldLayoutId id="2147483653" r:id="rId9"/>
    <p:sldLayoutId id="2147483657" r:id="rId10"/>
    <p:sldLayoutId id="2147483658" r:id="rId11"/>
    <p:sldLayoutId id="2147483656" r:id="rId12"/>
    <p:sldLayoutId id="2147483673" r:id="rId13"/>
    <p:sldLayoutId id="2147483674" r:id="rId14"/>
    <p:sldLayoutId id="2147483754" r:id="rId15"/>
    <p:sldLayoutId id="2147483686" r:id="rId16"/>
    <p:sldLayoutId id="2147483685" r:id="rId17"/>
    <p:sldLayoutId id="2147483752" r:id="rId18"/>
    <p:sldLayoutId id="2147483753" r:id="rId19"/>
    <p:sldLayoutId id="2147483751" r:id="rId20"/>
    <p:sldLayoutId id="2147483703" r:id="rId21"/>
    <p:sldLayoutId id="2147483702" r:id="rId22"/>
    <p:sldLayoutId id="2147483701" r:id="rId23"/>
    <p:sldLayoutId id="2147483726" r:id="rId24"/>
    <p:sldLayoutId id="2147483727" r:id="rId25"/>
    <p:sldLayoutId id="2147483728" r:id="rId26"/>
    <p:sldLayoutId id="2147483747" r:id="rId27"/>
    <p:sldLayoutId id="2147483730" r:id="rId28"/>
    <p:sldLayoutId id="2147483731" r:id="rId29"/>
    <p:sldLayoutId id="2147483748" r:id="rId30"/>
    <p:sldLayoutId id="2147483733" r:id="rId31"/>
    <p:sldLayoutId id="2147483734" r:id="rId32"/>
    <p:sldLayoutId id="2147483749" r:id="rId33"/>
    <p:sldLayoutId id="2147483736" r:id="rId34"/>
    <p:sldLayoutId id="2147483737" r:id="rId35"/>
    <p:sldLayoutId id="2147483750" r:id="rId36"/>
    <p:sldLayoutId id="2147483740" r:id="rId37"/>
    <p:sldLayoutId id="2147483668" r:id="rId38"/>
    <p:sldLayoutId id="2147483760" r:id="rId39"/>
    <p:sldLayoutId id="2147484093" r:id="rId40"/>
    <p:sldLayoutId id="2147484489" r:id="rId41"/>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2800" b="0" kern="1200" cap="all" baseline="0">
          <a:solidFill>
            <a:schemeClr val="bg2"/>
          </a:solidFill>
          <a:latin typeface="+mj-lt"/>
          <a:ea typeface="+mj-ea"/>
          <a:cs typeface="+mj-cs"/>
        </a:defRPr>
      </a:lvl1pPr>
    </p:titleStyle>
    <p:body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64" userDrawn="1">
          <p15:clr>
            <a:srgbClr val="F26B43"/>
          </p15:clr>
        </p15:guide>
        <p15:guide id="4" pos="74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1"/>
            </p:custData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50294" name="think-cell Slide" r:id="rId52" imgW="216" imgH="216" progId="TCLayout.ActiveDocument.1">
                  <p:embed/>
                </p:oleObj>
              </mc:Choice>
              <mc:Fallback>
                <p:oleObj name="think-cell Slide" r:id="rId52" imgW="216" imgH="216" progId="TCLayout.ActiveDocument.1">
                  <p:embed/>
                  <p:pic>
                    <p:nvPicPr>
                      <p:cNvPr id="5" name="Object 4" hidden="1"/>
                      <p:cNvPicPr/>
                      <p:nvPr/>
                    </p:nvPicPr>
                    <p:blipFill>
                      <a:blip r:embed="rId53"/>
                      <a:stretch>
                        <a:fillRect/>
                      </a:stretch>
                    </p:blipFill>
                    <p:spPr>
                      <a:xfrm>
                        <a:off x="1590" y="1592"/>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54" cstate="screen">
            <a:extLst>
              <a:ext uri="{28A0092B-C50C-407E-A947-70E740481C1C}">
                <a14:useLocalDpi xmlns:a14="http://schemas.microsoft.com/office/drawing/2010/main"/>
              </a:ext>
            </a:extLst>
          </a:blip>
          <a:srcRect/>
          <a:stretch/>
        </p:blipFill>
        <p:spPr>
          <a:xfrm>
            <a:off x="0" y="6497055"/>
            <a:ext cx="12188952" cy="360949"/>
          </a:xfrm>
          <a:prstGeom prst="rect">
            <a:avLst/>
          </a:prstGeom>
        </p:spPr>
      </p:pic>
      <p:pic>
        <p:nvPicPr>
          <p:cNvPr id="22" name="Picture 21"/>
          <p:cNvPicPr>
            <a:picLocks noChangeAspect="1"/>
          </p:cNvPicPr>
          <p:nvPr userDrawn="1"/>
        </p:nvPicPr>
        <p:blipFill>
          <a:blip r:embed="rId55" cstate="screen">
            <a:extLst>
              <a:ext uri="{28A0092B-C50C-407E-A947-70E740481C1C}">
                <a14:useLocalDpi xmlns:a14="http://schemas.microsoft.com/office/drawing/2010/main"/>
              </a:ext>
            </a:extLst>
          </a:blip>
          <a:stretch>
            <a:fillRect/>
          </a:stretch>
        </p:blipFill>
        <p:spPr>
          <a:xfrm>
            <a:off x="10912185" y="293170"/>
            <a:ext cx="967228" cy="376084"/>
          </a:xfrm>
          <a:prstGeom prst="rect">
            <a:avLst/>
          </a:prstGeom>
        </p:spPr>
      </p:pic>
      <p:pic>
        <p:nvPicPr>
          <p:cNvPr id="17" name="Content Placeholder 3"/>
          <p:cNvPicPr>
            <a:picLocks noChangeAspect="1"/>
          </p:cNvPicPr>
          <p:nvPr userDrawn="1"/>
        </p:nvPicPr>
        <p:blipFill>
          <a:blip r:embed="rId56" cstate="screen">
            <a:extLst>
              <a:ext uri="{28A0092B-C50C-407E-A947-70E740481C1C}">
                <a14:useLocalDpi xmlns:a14="http://schemas.microsoft.com/office/drawing/2010/main"/>
              </a:ext>
            </a:extLst>
          </a:blip>
          <a:stretch>
            <a:fillRect/>
          </a:stretch>
        </p:blipFill>
        <p:spPr>
          <a:xfrm>
            <a:off x="13860800" y="211220"/>
            <a:ext cx="1082206" cy="425065"/>
          </a:xfrm>
          <a:prstGeom prst="rect">
            <a:avLst/>
          </a:prstGeom>
        </p:spPr>
      </p:pic>
      <p:sp>
        <p:nvSpPr>
          <p:cNvPr id="2" name="Title Placeholder 1"/>
          <p:cNvSpPr>
            <a:spLocks noGrp="1"/>
          </p:cNvSpPr>
          <p:nvPr>
            <p:ph type="title"/>
          </p:nvPr>
        </p:nvSpPr>
        <p:spPr>
          <a:xfrm>
            <a:off x="406940" y="350933"/>
            <a:ext cx="10257950" cy="344710"/>
          </a:xfrm>
          <a:prstGeom prst="rect">
            <a:avLst/>
          </a:prstGeom>
        </p:spPr>
        <p:txBody>
          <a:bodyPr vert="horz" lIns="0" tIns="0" rIns="0" bIns="0" rtlCol="0" anchor="ctr" anchorCtr="0">
            <a:normAutofit/>
          </a:bodyPr>
          <a:lstStyle/>
          <a:p>
            <a:r>
              <a:rPr lang="en-US" dirty="0"/>
              <a:t>Click to add title</a:t>
            </a:r>
          </a:p>
        </p:txBody>
      </p:sp>
      <p:sp>
        <p:nvSpPr>
          <p:cNvPr id="3" name="Text Placeholder 2"/>
          <p:cNvSpPr>
            <a:spLocks noGrp="1"/>
          </p:cNvSpPr>
          <p:nvPr>
            <p:ph type="body" idx="1"/>
          </p:nvPr>
        </p:nvSpPr>
        <p:spPr>
          <a:xfrm>
            <a:off x="428955" y="1222375"/>
            <a:ext cx="11459086" cy="4956048"/>
          </a:xfrm>
          <a:prstGeom prst="rect">
            <a:avLst/>
          </a:prstGeom>
        </p:spPr>
        <p:txBody>
          <a:bodyPr vert="horz" lIns="0" tIns="0" rIns="0" bIns="0"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p:cNvSpPr txBox="1">
            <a:spLocks noChangeArrowheads="1"/>
          </p:cNvSpPr>
          <p:nvPr/>
        </p:nvSpPr>
        <p:spPr bwMode="auto">
          <a:xfrm>
            <a:off x="11308896"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1001558121"/>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 id="2147483830" r:id="rId27"/>
    <p:sldLayoutId id="2147483831" r:id="rId28"/>
    <p:sldLayoutId id="2147483832" r:id="rId29"/>
    <p:sldLayoutId id="2147483833" r:id="rId30"/>
    <p:sldLayoutId id="2147483834" r:id="rId31"/>
    <p:sldLayoutId id="2147483835" r:id="rId32"/>
    <p:sldLayoutId id="2147483836" r:id="rId33"/>
    <p:sldLayoutId id="2147483837" r:id="rId34"/>
    <p:sldLayoutId id="2147483838" r:id="rId35"/>
    <p:sldLayoutId id="2147483839" r:id="rId36"/>
    <p:sldLayoutId id="2147483840" r:id="rId37"/>
    <p:sldLayoutId id="2147483841" r:id="rId38"/>
    <p:sldLayoutId id="2147483842" r:id="rId39"/>
    <p:sldLayoutId id="2147483846" r:id="rId40"/>
    <p:sldLayoutId id="2147483848" r:id="rId41"/>
    <p:sldLayoutId id="2147483851" r:id="rId42"/>
    <p:sldLayoutId id="2147483854" r:id="rId43"/>
    <p:sldLayoutId id="2147483855" r:id="rId44"/>
    <p:sldLayoutId id="2147483857" r:id="rId45"/>
    <p:sldLayoutId id="2147483859" r:id="rId46"/>
    <p:sldLayoutId id="2147483861" r:id="rId47"/>
    <p:sldLayoutId id="2147483862" r:id="rId48"/>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2800" b="0" kern="1200" cap="all" baseline="0">
          <a:solidFill>
            <a:schemeClr val="bg2"/>
          </a:solidFill>
          <a:latin typeface="+mj-lt"/>
          <a:ea typeface="+mj-ea"/>
          <a:cs typeface="+mj-cs"/>
        </a:defRPr>
      </a:lvl1pPr>
    </p:titleStyle>
    <p:body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64">
          <p15:clr>
            <a:srgbClr val="F26B43"/>
          </p15:clr>
        </p15:guide>
        <p15:guide id="4" pos="74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2" cstate="print">
            <a:extLst>
              <a:ext uri="{28A0092B-C50C-407E-A947-70E740481C1C}">
                <a14:useLocalDpi xmlns:a14="http://schemas.microsoft.com/office/drawing/2010/main" val="0"/>
              </a:ext>
            </a:extLst>
          </a:blip>
          <a:srcRect t="94737"/>
          <a:stretch/>
        </p:blipFill>
        <p:spPr>
          <a:xfrm flipV="1">
            <a:off x="0" y="6496913"/>
            <a:ext cx="12192000" cy="361095"/>
          </a:xfrm>
          <a:prstGeom prst="rect">
            <a:avLst/>
          </a:prstGeom>
        </p:spPr>
      </p:pic>
      <p:sp>
        <p:nvSpPr>
          <p:cNvPr id="2" name="Title Placeholder 1"/>
          <p:cNvSpPr>
            <a:spLocks noGrp="1"/>
          </p:cNvSpPr>
          <p:nvPr>
            <p:ph type="title"/>
          </p:nvPr>
        </p:nvSpPr>
        <p:spPr>
          <a:xfrm>
            <a:off x="406940" y="350933"/>
            <a:ext cx="10259568" cy="344710"/>
          </a:xfrm>
          <a:prstGeom prst="rect">
            <a:avLst/>
          </a:prstGeom>
        </p:spPr>
        <p:txBody>
          <a:bodyPr vert="horz" lIns="0" tIns="0" rIns="0" bIns="0" rtlCol="0" anchor="ctr" anchorCtr="0">
            <a:normAutofit/>
          </a:bodyPr>
          <a:lstStyle/>
          <a:p>
            <a:r>
              <a:rPr lang="en-US" dirty="0"/>
              <a:t>Click to add title</a:t>
            </a:r>
          </a:p>
        </p:txBody>
      </p:sp>
      <p:sp>
        <p:nvSpPr>
          <p:cNvPr id="3" name="Text Placeholder 2"/>
          <p:cNvSpPr>
            <a:spLocks noGrp="1"/>
          </p:cNvSpPr>
          <p:nvPr>
            <p:ph type="body" idx="1"/>
          </p:nvPr>
        </p:nvSpPr>
        <p:spPr>
          <a:xfrm>
            <a:off x="428957" y="1222375"/>
            <a:ext cx="11459086" cy="4956048"/>
          </a:xfrm>
          <a:prstGeom prst="rect">
            <a:avLst/>
          </a:prstGeom>
        </p:spPr>
        <p:txBody>
          <a:bodyPr vert="horz" lIns="0" tIns="0" rIns="0" bIns="0"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p:cNvSpPr txBox="1">
            <a:spLocks noChangeArrowheads="1"/>
          </p:cNvSpPr>
          <p:nvPr/>
        </p:nvSpPr>
        <p:spPr bwMode="auto">
          <a:xfrm>
            <a:off x="11308896" y="6629409"/>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8" name="Picture 7"/>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2427192191"/>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 id="2147484185" r:id="rId10"/>
    <p:sldLayoutId id="2147484186" r:id="rId11"/>
    <p:sldLayoutId id="2147484187" r:id="rId12"/>
    <p:sldLayoutId id="2147484188" r:id="rId13"/>
    <p:sldLayoutId id="2147484189" r:id="rId14"/>
    <p:sldLayoutId id="2147484190" r:id="rId15"/>
    <p:sldLayoutId id="2147484191" r:id="rId16"/>
    <p:sldLayoutId id="2147484192" r:id="rId17"/>
    <p:sldLayoutId id="2147484193" r:id="rId18"/>
    <p:sldLayoutId id="2147484194" r:id="rId19"/>
    <p:sldLayoutId id="2147484195" r:id="rId20"/>
    <p:sldLayoutId id="2147484196" r:id="rId21"/>
    <p:sldLayoutId id="2147484197" r:id="rId22"/>
    <p:sldLayoutId id="2147484198" r:id="rId23"/>
    <p:sldLayoutId id="2147484199" r:id="rId24"/>
    <p:sldLayoutId id="2147484200" r:id="rId25"/>
    <p:sldLayoutId id="2147484201" r:id="rId26"/>
    <p:sldLayoutId id="2147484202" r:id="rId27"/>
    <p:sldLayoutId id="2147484203" r:id="rId28"/>
    <p:sldLayoutId id="2147484204" r:id="rId29"/>
    <p:sldLayoutId id="2147484205" r:id="rId30"/>
    <p:sldLayoutId id="2147484206" r:id="rId31"/>
    <p:sldLayoutId id="2147484207" r:id="rId32"/>
    <p:sldLayoutId id="2147484208" r:id="rId33"/>
    <p:sldLayoutId id="2147484209" r:id="rId34"/>
    <p:sldLayoutId id="2147484210" r:id="rId35"/>
    <p:sldLayoutId id="2147484211" r:id="rId36"/>
    <p:sldLayoutId id="2147484212" r:id="rId37"/>
    <p:sldLayoutId id="2147484213" r:id="rId38"/>
    <p:sldLayoutId id="2147484214" r:id="rId39"/>
    <p:sldLayoutId id="2147484215" r:id="rId40"/>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2800" b="0" kern="1200" cap="all" baseline="0">
          <a:solidFill>
            <a:schemeClr val="bg2"/>
          </a:solidFill>
          <a:latin typeface="+mj-lt"/>
          <a:ea typeface="+mj-ea"/>
          <a:cs typeface="+mj-cs"/>
        </a:defRPr>
      </a:lvl1pPr>
    </p:titleStyle>
    <p:body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64">
          <p15:clr>
            <a:srgbClr val="F26B43"/>
          </p15:clr>
        </p15:guide>
        <p15:guide id="4" pos="741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10912186" y="293170"/>
            <a:ext cx="967226" cy="376084"/>
          </a:xfrm>
          <a:prstGeom prst="rect">
            <a:avLst/>
          </a:prstGeom>
        </p:spPr>
      </p:pic>
      <p:pic>
        <p:nvPicPr>
          <p:cNvPr id="4" name="Picture 3"/>
          <p:cNvPicPr>
            <a:picLocks noChangeAspect="1"/>
          </p:cNvPicPr>
          <p:nvPr userDrawn="1"/>
        </p:nvPicPr>
        <p:blipFill rotWithShape="1">
          <a:blip r:embed="rId41" cstate="print">
            <a:extLst>
              <a:ext uri="{28A0092B-C50C-407E-A947-70E740481C1C}">
                <a14:useLocalDpi xmlns:a14="http://schemas.microsoft.com/office/drawing/2010/main"/>
              </a:ext>
            </a:extLst>
          </a:blip>
          <a:srcRect/>
          <a:stretch/>
        </p:blipFill>
        <p:spPr>
          <a:xfrm>
            <a:off x="0" y="6497053"/>
            <a:ext cx="12188952" cy="360949"/>
          </a:xfrm>
          <a:prstGeom prst="rect">
            <a:avLst/>
          </a:prstGeom>
        </p:spPr>
      </p:pic>
      <p:sp>
        <p:nvSpPr>
          <p:cNvPr id="2" name="Title Placeholder 1"/>
          <p:cNvSpPr>
            <a:spLocks noGrp="1"/>
          </p:cNvSpPr>
          <p:nvPr>
            <p:ph type="title"/>
          </p:nvPr>
        </p:nvSpPr>
        <p:spPr>
          <a:xfrm>
            <a:off x="406940" y="350933"/>
            <a:ext cx="10257950" cy="344710"/>
          </a:xfrm>
          <a:prstGeom prst="rect">
            <a:avLst/>
          </a:prstGeom>
        </p:spPr>
        <p:txBody>
          <a:bodyPr vert="horz" lIns="0" tIns="0" rIns="0" bIns="0" rtlCol="0" anchor="ctr" anchorCtr="0">
            <a:normAutofit/>
          </a:bodyPr>
          <a:lstStyle/>
          <a:p>
            <a:r>
              <a:rPr lang="en-US" dirty="0"/>
              <a:t>Click to add title</a:t>
            </a:r>
          </a:p>
        </p:txBody>
      </p:sp>
      <p:sp>
        <p:nvSpPr>
          <p:cNvPr id="3" name="Text Placeholder 2"/>
          <p:cNvSpPr>
            <a:spLocks noGrp="1"/>
          </p:cNvSpPr>
          <p:nvPr>
            <p:ph type="body" idx="1"/>
          </p:nvPr>
        </p:nvSpPr>
        <p:spPr>
          <a:xfrm>
            <a:off x="428954" y="1222375"/>
            <a:ext cx="11373144" cy="4956048"/>
          </a:xfrm>
          <a:prstGeom prst="rect">
            <a:avLst/>
          </a:prstGeom>
        </p:spPr>
        <p:txBody>
          <a:bodyPr vert="horz" lIns="0" tIns="0" rIns="0" bIns="0"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p:cNvSpPr txBox="1">
            <a:spLocks noChangeArrowheads="1"/>
          </p:cNvSpPr>
          <p:nvPr/>
        </p:nvSpPr>
        <p:spPr bwMode="auto">
          <a:xfrm>
            <a:off x="11308896" y="6629403"/>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40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898"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4058" rtl="0" eaLnBrk="0" fontAlgn="base" latinLnBrk="0" hangingPunct="0">
                <a:lnSpc>
                  <a:spcPct val="100000"/>
                </a:lnSpc>
                <a:spcBef>
                  <a:spcPct val="0"/>
                </a:spcBef>
                <a:spcAft>
                  <a:spcPct val="0"/>
                </a:spcAft>
                <a:buClrTx/>
                <a:buSzTx/>
                <a:buFontTx/>
                <a:buNone/>
                <a:tabLst/>
                <a:defRPr/>
              </a:pPr>
              <a:t>‹#›</a:t>
            </a:fld>
            <a:endParaRPr kumimoji="0" lang="en-US" sz="898"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spTree>
    <p:extLst>
      <p:ext uri="{BB962C8B-B14F-4D97-AF65-F5344CB8AC3E}">
        <p14:creationId xmlns:p14="http://schemas.microsoft.com/office/powerpoint/2010/main" val="1748951554"/>
      </p:ext>
    </p:extLst>
  </p:cSld>
  <p:clrMap bg1="lt1" tx1="dk1" bg2="lt2" tx2="dk2" accent1="accent1" accent2="accent2" accent3="accent3" accent4="accent4" accent5="accent5" accent6="accent6" hlink="hlink" folHlink="folHlink"/>
  <p:sldLayoutIdLst>
    <p:sldLayoutId id="2147484217" r:id="rId1"/>
    <p:sldLayoutId id="2147484218" r:id="rId2"/>
    <p:sldLayoutId id="2147484219" r:id="rId3"/>
    <p:sldLayoutId id="2147484220" r:id="rId4"/>
    <p:sldLayoutId id="2147484221" r:id="rId5"/>
    <p:sldLayoutId id="2147484222" r:id="rId6"/>
    <p:sldLayoutId id="2147484223" r:id="rId7"/>
    <p:sldLayoutId id="2147484224" r:id="rId8"/>
    <p:sldLayoutId id="2147484225" r:id="rId9"/>
    <p:sldLayoutId id="2147484226" r:id="rId10"/>
    <p:sldLayoutId id="2147484227" r:id="rId11"/>
    <p:sldLayoutId id="2147484228" r:id="rId12"/>
    <p:sldLayoutId id="2147484229" r:id="rId13"/>
    <p:sldLayoutId id="2147484230" r:id="rId14"/>
    <p:sldLayoutId id="2147484231" r:id="rId15"/>
    <p:sldLayoutId id="2147484232" r:id="rId16"/>
    <p:sldLayoutId id="2147484233" r:id="rId17"/>
    <p:sldLayoutId id="2147484234" r:id="rId18"/>
    <p:sldLayoutId id="2147484235" r:id="rId19"/>
    <p:sldLayoutId id="2147484236" r:id="rId20"/>
    <p:sldLayoutId id="2147484237" r:id="rId21"/>
    <p:sldLayoutId id="2147484238" r:id="rId22"/>
    <p:sldLayoutId id="2147484239" r:id="rId23"/>
    <p:sldLayoutId id="2147484240" r:id="rId24"/>
    <p:sldLayoutId id="2147484241" r:id="rId25"/>
    <p:sldLayoutId id="2147484242" r:id="rId26"/>
    <p:sldLayoutId id="2147484243" r:id="rId27"/>
    <p:sldLayoutId id="2147484244" r:id="rId28"/>
    <p:sldLayoutId id="2147484245" r:id="rId29"/>
    <p:sldLayoutId id="2147484246" r:id="rId30"/>
    <p:sldLayoutId id="2147484247" r:id="rId31"/>
    <p:sldLayoutId id="2147484248" r:id="rId32"/>
    <p:sldLayoutId id="2147484249" r:id="rId33"/>
    <p:sldLayoutId id="2147484250" r:id="rId34"/>
    <p:sldLayoutId id="2147484251" r:id="rId35"/>
    <p:sldLayoutId id="2147484252" r:id="rId36"/>
    <p:sldLayoutId id="2147484253" r:id="rId37"/>
    <p:sldLayoutId id="2147484254" r:id="rId38"/>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dt="0"/>
  <p:txStyles>
    <p:titleStyle>
      <a:lvl1pPr algn="l" defTabSz="1084058" rtl="0" eaLnBrk="1" latinLnBrk="0" hangingPunct="1">
        <a:lnSpc>
          <a:spcPct val="80000"/>
        </a:lnSpc>
        <a:spcBef>
          <a:spcPct val="0"/>
        </a:spcBef>
        <a:buNone/>
        <a:defRPr sz="2793" b="0" kern="1200" cap="all" baseline="0">
          <a:solidFill>
            <a:schemeClr val="bg2"/>
          </a:solidFill>
          <a:latin typeface="+mj-lt"/>
          <a:ea typeface="+mj-ea"/>
          <a:cs typeface="+mj-cs"/>
        </a:defRPr>
      </a:lvl1pPr>
    </p:titleStyle>
    <p:bodyStyle>
      <a:lvl1pPr marL="272898" indent="-272898" algn="l" defTabSz="1084058" rtl="0" eaLnBrk="1" latinLnBrk="0" hangingPunct="1">
        <a:lnSpc>
          <a:spcPct val="90000"/>
        </a:lnSpc>
        <a:spcBef>
          <a:spcPts val="2134"/>
        </a:spcBef>
        <a:buClr>
          <a:schemeClr val="tx1"/>
        </a:buClr>
        <a:buFont typeface="Arial" pitchFamily="34" charset="0"/>
        <a:buChar char="•"/>
        <a:defRPr sz="2195" kern="1200">
          <a:solidFill>
            <a:schemeClr val="tx1"/>
          </a:solidFill>
          <a:latin typeface="+mn-lt"/>
          <a:ea typeface="+mn-ea"/>
          <a:cs typeface="+mn-cs"/>
        </a:defRPr>
      </a:lvl1pPr>
      <a:lvl2pPr marL="811162" indent="-271015" algn="l" defTabSz="1084058" rtl="0" eaLnBrk="1" latinLnBrk="0" hangingPunct="1">
        <a:lnSpc>
          <a:spcPct val="90000"/>
        </a:lnSpc>
        <a:spcBef>
          <a:spcPts val="0"/>
        </a:spcBef>
        <a:spcAft>
          <a:spcPts val="237"/>
        </a:spcAft>
        <a:buFont typeface="Arial" pitchFamily="34" charset="0"/>
        <a:buChar char="–"/>
        <a:defRPr sz="1995" kern="1200">
          <a:solidFill>
            <a:schemeClr val="tx1"/>
          </a:solidFill>
          <a:latin typeface="+mn-lt"/>
          <a:ea typeface="+mn-ea"/>
          <a:cs typeface="+mn-cs"/>
        </a:defRPr>
      </a:lvl2pPr>
      <a:lvl3pPr marL="1355074" indent="-271015" algn="l" defTabSz="1287320" rtl="0" eaLnBrk="1" latinLnBrk="0" hangingPunct="1">
        <a:lnSpc>
          <a:spcPct val="90000"/>
        </a:lnSpc>
        <a:spcBef>
          <a:spcPts val="0"/>
        </a:spcBef>
        <a:spcAft>
          <a:spcPts val="237"/>
        </a:spcAft>
        <a:buFont typeface="Arial" pitchFamily="34" charset="0"/>
        <a:buChar char="•"/>
        <a:defRPr sz="1795" kern="1200">
          <a:solidFill>
            <a:schemeClr val="tx1"/>
          </a:solidFill>
          <a:latin typeface="+mn-lt"/>
          <a:ea typeface="+mn-ea"/>
          <a:cs typeface="+mn-cs"/>
        </a:defRPr>
      </a:lvl3pPr>
      <a:lvl4pPr marL="1897102" indent="-271015" algn="l" defTabSz="1084058" rtl="0" eaLnBrk="1" latinLnBrk="0" hangingPunct="1">
        <a:lnSpc>
          <a:spcPct val="90000"/>
        </a:lnSpc>
        <a:spcBef>
          <a:spcPts val="0"/>
        </a:spcBef>
        <a:spcAft>
          <a:spcPts val="237"/>
        </a:spcAft>
        <a:buFont typeface="Arial" pitchFamily="34" charset="0"/>
        <a:buChar char="–"/>
        <a:defRPr sz="1596" kern="1200" baseline="0">
          <a:solidFill>
            <a:schemeClr val="tx1"/>
          </a:solidFill>
          <a:latin typeface="+mn-lt"/>
          <a:ea typeface="+mn-ea"/>
          <a:cs typeface="+mn-cs"/>
        </a:defRPr>
      </a:lvl4pPr>
      <a:lvl5pPr marL="2439132" indent="-271015" algn="l" defTabSz="1084058" rtl="0" eaLnBrk="1" latinLnBrk="0" hangingPunct="1">
        <a:lnSpc>
          <a:spcPct val="90000"/>
        </a:lnSpc>
        <a:spcBef>
          <a:spcPts val="0"/>
        </a:spcBef>
        <a:spcAft>
          <a:spcPts val="237"/>
        </a:spcAft>
        <a:buFont typeface="Arial" pitchFamily="34" charset="0"/>
        <a:buChar char="»"/>
        <a:defRPr sz="1397" kern="1200" baseline="0">
          <a:solidFill>
            <a:schemeClr val="tx1"/>
          </a:solidFill>
          <a:latin typeface="+mn-lt"/>
          <a:ea typeface="+mn-ea"/>
          <a:cs typeface="+mn-cs"/>
        </a:defRPr>
      </a:lvl5pPr>
      <a:lvl6pPr marL="2981160" indent="-271015" algn="l" defTabSz="1084058" rtl="0" eaLnBrk="1" latinLnBrk="0" hangingPunct="1">
        <a:spcBef>
          <a:spcPct val="20000"/>
        </a:spcBef>
        <a:buFont typeface="Arial" pitchFamily="34" charset="0"/>
        <a:buChar char="•"/>
        <a:defRPr sz="2394" kern="1200">
          <a:solidFill>
            <a:schemeClr val="tx1"/>
          </a:solidFill>
          <a:latin typeface="+mn-lt"/>
          <a:ea typeface="+mn-ea"/>
          <a:cs typeface="+mn-cs"/>
        </a:defRPr>
      </a:lvl6pPr>
      <a:lvl7pPr marL="3523190" indent="-271015" algn="l" defTabSz="1084058" rtl="0" eaLnBrk="1" latinLnBrk="0" hangingPunct="1">
        <a:spcBef>
          <a:spcPct val="20000"/>
        </a:spcBef>
        <a:buFont typeface="Arial" pitchFamily="34" charset="0"/>
        <a:buChar char="•"/>
        <a:defRPr sz="2394" kern="1200">
          <a:solidFill>
            <a:schemeClr val="tx1"/>
          </a:solidFill>
          <a:latin typeface="+mn-lt"/>
          <a:ea typeface="+mn-ea"/>
          <a:cs typeface="+mn-cs"/>
        </a:defRPr>
      </a:lvl7pPr>
      <a:lvl8pPr marL="4065219" indent="-271015" algn="l" defTabSz="1084058" rtl="0" eaLnBrk="1" latinLnBrk="0" hangingPunct="1">
        <a:spcBef>
          <a:spcPct val="20000"/>
        </a:spcBef>
        <a:buFont typeface="Arial" pitchFamily="34" charset="0"/>
        <a:buChar char="•"/>
        <a:defRPr sz="2394" kern="1200">
          <a:solidFill>
            <a:schemeClr val="tx1"/>
          </a:solidFill>
          <a:latin typeface="+mn-lt"/>
          <a:ea typeface="+mn-ea"/>
          <a:cs typeface="+mn-cs"/>
        </a:defRPr>
      </a:lvl8pPr>
      <a:lvl9pPr marL="4607249" indent="-271015" algn="l" defTabSz="1084058" rtl="0" eaLnBrk="1" latinLnBrk="0" hangingPunct="1">
        <a:spcBef>
          <a:spcPct val="20000"/>
        </a:spcBef>
        <a:buFont typeface="Arial" pitchFamily="34" charset="0"/>
        <a:buChar char="•"/>
        <a:defRPr sz="2394" kern="1200">
          <a:solidFill>
            <a:schemeClr val="tx1"/>
          </a:solidFill>
          <a:latin typeface="+mn-lt"/>
          <a:ea typeface="+mn-ea"/>
          <a:cs typeface="+mn-cs"/>
        </a:defRPr>
      </a:lvl9pPr>
    </p:bodyStyle>
    <p:otherStyle>
      <a:defPPr>
        <a:defRPr lang="en-US"/>
      </a:defPPr>
      <a:lvl1pPr marL="0" algn="l" defTabSz="1084058" rtl="0" eaLnBrk="1" latinLnBrk="0" hangingPunct="1">
        <a:defRPr sz="2195" kern="1200">
          <a:solidFill>
            <a:schemeClr val="tx1"/>
          </a:solidFill>
          <a:latin typeface="+mn-lt"/>
          <a:ea typeface="+mn-ea"/>
          <a:cs typeface="+mn-cs"/>
        </a:defRPr>
      </a:lvl1pPr>
      <a:lvl2pPr marL="542030" algn="l" defTabSz="1084058" rtl="0" eaLnBrk="1" latinLnBrk="0" hangingPunct="1">
        <a:defRPr sz="2195" kern="1200">
          <a:solidFill>
            <a:schemeClr val="tx1"/>
          </a:solidFill>
          <a:latin typeface="+mn-lt"/>
          <a:ea typeface="+mn-ea"/>
          <a:cs typeface="+mn-cs"/>
        </a:defRPr>
      </a:lvl2pPr>
      <a:lvl3pPr marL="1084058" algn="l" defTabSz="1084058" rtl="0" eaLnBrk="1" latinLnBrk="0" hangingPunct="1">
        <a:defRPr sz="2195" kern="1200">
          <a:solidFill>
            <a:schemeClr val="tx1"/>
          </a:solidFill>
          <a:latin typeface="+mn-lt"/>
          <a:ea typeface="+mn-ea"/>
          <a:cs typeface="+mn-cs"/>
        </a:defRPr>
      </a:lvl3pPr>
      <a:lvl4pPr marL="1626088" algn="l" defTabSz="1084058" rtl="0" eaLnBrk="1" latinLnBrk="0" hangingPunct="1">
        <a:defRPr sz="2195" kern="1200">
          <a:solidFill>
            <a:schemeClr val="tx1"/>
          </a:solidFill>
          <a:latin typeface="+mn-lt"/>
          <a:ea typeface="+mn-ea"/>
          <a:cs typeface="+mn-cs"/>
        </a:defRPr>
      </a:lvl4pPr>
      <a:lvl5pPr marL="2168117" algn="l" defTabSz="1084058" rtl="0" eaLnBrk="1" latinLnBrk="0" hangingPunct="1">
        <a:defRPr sz="2195" kern="1200">
          <a:solidFill>
            <a:schemeClr val="tx1"/>
          </a:solidFill>
          <a:latin typeface="+mn-lt"/>
          <a:ea typeface="+mn-ea"/>
          <a:cs typeface="+mn-cs"/>
        </a:defRPr>
      </a:lvl5pPr>
      <a:lvl6pPr marL="2710146" algn="l" defTabSz="1084058" rtl="0" eaLnBrk="1" latinLnBrk="0" hangingPunct="1">
        <a:defRPr sz="2195" kern="1200">
          <a:solidFill>
            <a:schemeClr val="tx1"/>
          </a:solidFill>
          <a:latin typeface="+mn-lt"/>
          <a:ea typeface="+mn-ea"/>
          <a:cs typeface="+mn-cs"/>
        </a:defRPr>
      </a:lvl6pPr>
      <a:lvl7pPr marL="3252175" algn="l" defTabSz="1084058" rtl="0" eaLnBrk="1" latinLnBrk="0" hangingPunct="1">
        <a:defRPr sz="2195" kern="1200">
          <a:solidFill>
            <a:schemeClr val="tx1"/>
          </a:solidFill>
          <a:latin typeface="+mn-lt"/>
          <a:ea typeface="+mn-ea"/>
          <a:cs typeface="+mn-cs"/>
        </a:defRPr>
      </a:lvl7pPr>
      <a:lvl8pPr marL="3794204" algn="l" defTabSz="1084058" rtl="0" eaLnBrk="1" latinLnBrk="0" hangingPunct="1">
        <a:defRPr sz="2195" kern="1200">
          <a:solidFill>
            <a:schemeClr val="tx1"/>
          </a:solidFill>
          <a:latin typeface="+mn-lt"/>
          <a:ea typeface="+mn-ea"/>
          <a:cs typeface="+mn-cs"/>
        </a:defRPr>
      </a:lvl8pPr>
      <a:lvl9pPr marL="4336234" algn="l" defTabSz="1084058" rtl="0" eaLnBrk="1" latinLnBrk="0" hangingPunct="1">
        <a:defRPr sz="219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64">
          <p15:clr>
            <a:srgbClr val="F26B43"/>
          </p15:clr>
        </p15:guide>
        <p15:guide id="4"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6" cstate="print">
            <a:extLst>
              <a:ext uri="{28A0092B-C50C-407E-A947-70E740481C1C}">
                <a14:useLocalDpi xmlns:a14="http://schemas.microsoft.com/office/drawing/2010/main"/>
              </a:ext>
            </a:extLst>
          </a:blip>
          <a:srcRect t="94737"/>
          <a:stretch/>
        </p:blipFill>
        <p:spPr>
          <a:xfrm flipV="1">
            <a:off x="0" y="6496905"/>
            <a:ext cx="12192000" cy="361095"/>
          </a:xfrm>
          <a:prstGeom prst="rect">
            <a:avLst/>
          </a:prstGeom>
        </p:spPr>
      </p:pic>
      <p:sp>
        <p:nvSpPr>
          <p:cNvPr id="2" name="Title Placeholder 1"/>
          <p:cNvSpPr>
            <a:spLocks noGrp="1"/>
          </p:cNvSpPr>
          <p:nvPr>
            <p:ph type="title"/>
          </p:nvPr>
        </p:nvSpPr>
        <p:spPr>
          <a:xfrm>
            <a:off x="406940" y="350933"/>
            <a:ext cx="9601200" cy="344710"/>
          </a:xfrm>
          <a:prstGeom prst="rect">
            <a:avLst/>
          </a:prstGeom>
        </p:spPr>
        <p:txBody>
          <a:bodyPr vert="horz" lIns="0" tIns="0" rIns="0" bIns="0" rtlCol="0" anchor="ctr" anchorCtr="0">
            <a:normAutofit/>
          </a:bodyPr>
          <a:lstStyle/>
          <a:p>
            <a:r>
              <a:rPr lang="en-US" dirty="0"/>
              <a:t>Click to add title</a:t>
            </a:r>
          </a:p>
        </p:txBody>
      </p:sp>
      <p:sp>
        <p:nvSpPr>
          <p:cNvPr id="3" name="Text Placeholder 2"/>
          <p:cNvSpPr>
            <a:spLocks noGrp="1"/>
          </p:cNvSpPr>
          <p:nvPr>
            <p:ph type="body" idx="1"/>
          </p:nvPr>
        </p:nvSpPr>
        <p:spPr>
          <a:xfrm>
            <a:off x="428953" y="1222375"/>
            <a:ext cx="11459086" cy="4956048"/>
          </a:xfrm>
          <a:prstGeom prst="rect">
            <a:avLst/>
          </a:prstGeom>
        </p:spPr>
        <p:txBody>
          <a:bodyPr vert="horz" lIns="0" tIns="0" rIns="0" bIns="0"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p:cNvSpPr txBox="1">
            <a:spLocks noChangeArrowheads="1"/>
          </p:cNvSpPr>
          <p:nvPr/>
        </p:nvSpPr>
        <p:spPr bwMode="auto">
          <a:xfrm>
            <a:off x="11308896"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4" name="Picture 3"/>
          <p:cNvPicPr>
            <a:picLocks noChangeAspect="1"/>
          </p:cNvPicPr>
          <p:nvPr userDrawn="1"/>
        </p:nvPicPr>
        <p:blipFill>
          <a:blip r:embed="rId47" cstate="print">
            <a:extLst>
              <a:ext uri="{28A0092B-C50C-407E-A947-70E740481C1C}">
                <a14:useLocalDpi xmlns:a14="http://schemas.microsoft.com/office/drawing/2010/main"/>
              </a:ext>
            </a:extLst>
          </a:blip>
          <a:stretch>
            <a:fillRect/>
          </a:stretch>
        </p:blipFill>
        <p:spPr>
          <a:xfrm>
            <a:off x="244812" y="6572788"/>
            <a:ext cx="538959" cy="209328"/>
          </a:xfrm>
          <a:prstGeom prst="rect">
            <a:avLst/>
          </a:prstGeom>
        </p:spPr>
      </p:pic>
      <p:pic>
        <p:nvPicPr>
          <p:cNvPr id="13" name="Picture 12"/>
          <p:cNvPicPr>
            <a:picLocks noChangeAspect="1"/>
          </p:cNvPicPr>
          <p:nvPr userDrawn="1"/>
        </p:nvPicPr>
        <p:blipFill>
          <a:blip r:embed="rId48" cstate="print">
            <a:extLst>
              <a:ext uri="{28A0092B-C50C-407E-A947-70E740481C1C}">
                <a14:useLocalDpi xmlns:a14="http://schemas.microsoft.com/office/drawing/2010/main"/>
              </a:ext>
            </a:extLst>
          </a:blip>
          <a:stretch>
            <a:fillRect/>
          </a:stretch>
        </p:blipFill>
        <p:spPr>
          <a:xfrm>
            <a:off x="10317192" y="316082"/>
            <a:ext cx="1586386" cy="330259"/>
          </a:xfrm>
          <a:prstGeom prst="rect">
            <a:avLst/>
          </a:prstGeom>
        </p:spPr>
      </p:pic>
    </p:spTree>
    <p:extLst>
      <p:ext uri="{BB962C8B-B14F-4D97-AF65-F5344CB8AC3E}">
        <p14:creationId xmlns:p14="http://schemas.microsoft.com/office/powerpoint/2010/main" val="3259678869"/>
      </p:ext>
    </p:extLst>
  </p:cSld>
  <p:clrMap bg1="lt1" tx1="dk1" bg2="lt2" tx2="dk2" accent1="accent1" accent2="accent2" accent3="accent3" accent4="accent4" accent5="accent5" accent6="accent6" hlink="hlink" folHlink="folHlink"/>
  <p:sldLayoutIdLst>
    <p:sldLayoutId id="2147484256" r:id="rId1"/>
    <p:sldLayoutId id="2147484257" r:id="rId2"/>
    <p:sldLayoutId id="2147484258" r:id="rId3"/>
    <p:sldLayoutId id="2147484259" r:id="rId4"/>
    <p:sldLayoutId id="2147484260" r:id="rId5"/>
    <p:sldLayoutId id="2147484261" r:id="rId6"/>
    <p:sldLayoutId id="2147484262" r:id="rId7"/>
    <p:sldLayoutId id="2147484263" r:id="rId8"/>
    <p:sldLayoutId id="2147484264" r:id="rId9"/>
    <p:sldLayoutId id="2147484265" r:id="rId10"/>
    <p:sldLayoutId id="2147484266" r:id="rId11"/>
    <p:sldLayoutId id="2147484267" r:id="rId12"/>
    <p:sldLayoutId id="2147484268" r:id="rId13"/>
    <p:sldLayoutId id="2147484269" r:id="rId14"/>
    <p:sldLayoutId id="2147484270" r:id="rId15"/>
    <p:sldLayoutId id="2147484271" r:id="rId16"/>
    <p:sldLayoutId id="2147484272" r:id="rId17"/>
    <p:sldLayoutId id="2147484273" r:id="rId18"/>
    <p:sldLayoutId id="2147484274" r:id="rId19"/>
    <p:sldLayoutId id="2147484275" r:id="rId20"/>
    <p:sldLayoutId id="2147484276" r:id="rId21"/>
    <p:sldLayoutId id="2147484277" r:id="rId22"/>
    <p:sldLayoutId id="2147484278" r:id="rId23"/>
    <p:sldLayoutId id="2147484279" r:id="rId24"/>
    <p:sldLayoutId id="2147484280" r:id="rId25"/>
    <p:sldLayoutId id="2147484281" r:id="rId26"/>
    <p:sldLayoutId id="2147484282" r:id="rId27"/>
    <p:sldLayoutId id="2147484283" r:id="rId28"/>
    <p:sldLayoutId id="2147484284" r:id="rId29"/>
    <p:sldLayoutId id="2147484285" r:id="rId30"/>
    <p:sldLayoutId id="2147484286" r:id="rId31"/>
    <p:sldLayoutId id="2147484287" r:id="rId32"/>
    <p:sldLayoutId id="2147484288" r:id="rId33"/>
    <p:sldLayoutId id="2147484289" r:id="rId34"/>
    <p:sldLayoutId id="2147484290" r:id="rId35"/>
    <p:sldLayoutId id="2147484291" r:id="rId36"/>
    <p:sldLayoutId id="2147484292" r:id="rId37"/>
    <p:sldLayoutId id="2147484293" r:id="rId38"/>
    <p:sldLayoutId id="2147484294" r:id="rId39"/>
    <p:sldLayoutId id="2147484295" r:id="rId40"/>
    <p:sldLayoutId id="2147484296" r:id="rId41"/>
    <p:sldLayoutId id="2147484297" r:id="rId42"/>
    <p:sldLayoutId id="2147484490" r:id="rId43"/>
    <p:sldLayoutId id="2147484491" r:id="rId44"/>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2800" b="0" kern="1200" cap="all" baseline="0">
          <a:solidFill>
            <a:schemeClr val="bg2"/>
          </a:solidFill>
          <a:latin typeface="+mj-lt"/>
          <a:ea typeface="+mj-ea"/>
          <a:cs typeface="+mj-cs"/>
        </a:defRPr>
      </a:lvl1pPr>
    </p:titleStyle>
    <p:body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64">
          <p15:clr>
            <a:srgbClr val="F26B43"/>
          </p15:clr>
        </p15:guide>
        <p15:guide id="4" pos="74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45" cstate="print">
            <a:extLst>
              <a:ext uri="{28A0092B-C50C-407E-A947-70E740481C1C}">
                <a14:useLocalDpi xmlns:a14="http://schemas.microsoft.com/office/drawing/2010/main" val="0"/>
              </a:ext>
            </a:extLst>
          </a:blip>
          <a:srcRect t="94737"/>
          <a:stretch/>
        </p:blipFill>
        <p:spPr>
          <a:xfrm flipV="1">
            <a:off x="0" y="6496905"/>
            <a:ext cx="12192000" cy="361095"/>
          </a:xfrm>
          <a:prstGeom prst="rect">
            <a:avLst/>
          </a:prstGeom>
        </p:spPr>
      </p:pic>
      <p:sp>
        <p:nvSpPr>
          <p:cNvPr id="2" name="Title Placeholder 1"/>
          <p:cNvSpPr>
            <a:spLocks noGrp="1"/>
          </p:cNvSpPr>
          <p:nvPr>
            <p:ph type="title"/>
          </p:nvPr>
        </p:nvSpPr>
        <p:spPr>
          <a:xfrm>
            <a:off x="406940" y="350933"/>
            <a:ext cx="10259568" cy="344710"/>
          </a:xfrm>
          <a:prstGeom prst="rect">
            <a:avLst/>
          </a:prstGeom>
        </p:spPr>
        <p:txBody>
          <a:bodyPr vert="horz" lIns="0" tIns="0" rIns="0" bIns="0" rtlCol="0" anchor="ctr" anchorCtr="0">
            <a:normAutofit/>
          </a:bodyPr>
          <a:lstStyle/>
          <a:p>
            <a:r>
              <a:rPr lang="en-US" dirty="0"/>
              <a:t>Click to add title</a:t>
            </a:r>
          </a:p>
        </p:txBody>
      </p:sp>
      <p:sp>
        <p:nvSpPr>
          <p:cNvPr id="3" name="Text Placeholder 2"/>
          <p:cNvSpPr>
            <a:spLocks noGrp="1"/>
          </p:cNvSpPr>
          <p:nvPr>
            <p:ph type="body" idx="1"/>
          </p:nvPr>
        </p:nvSpPr>
        <p:spPr>
          <a:xfrm>
            <a:off x="428953" y="1222375"/>
            <a:ext cx="11459086" cy="4956048"/>
          </a:xfrm>
          <a:prstGeom prst="rect">
            <a:avLst/>
          </a:prstGeom>
        </p:spPr>
        <p:txBody>
          <a:bodyPr vert="horz" lIns="0" tIns="0" rIns="0" bIns="0"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p:cNvSpPr txBox="1">
            <a:spLocks noChangeArrowheads="1"/>
          </p:cNvSpPr>
          <p:nvPr/>
        </p:nvSpPr>
        <p:spPr bwMode="auto">
          <a:xfrm>
            <a:off x="11308896"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8" name="Picture 7"/>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2069239350"/>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0" r:id="rId12"/>
    <p:sldLayoutId id="2147484311" r:id="rId13"/>
    <p:sldLayoutId id="2147484312" r:id="rId14"/>
    <p:sldLayoutId id="2147484313" r:id="rId15"/>
    <p:sldLayoutId id="2147484314" r:id="rId16"/>
    <p:sldLayoutId id="2147484315" r:id="rId17"/>
    <p:sldLayoutId id="2147484316" r:id="rId18"/>
    <p:sldLayoutId id="2147484317" r:id="rId19"/>
    <p:sldLayoutId id="2147484318" r:id="rId20"/>
    <p:sldLayoutId id="2147484319" r:id="rId21"/>
    <p:sldLayoutId id="2147484320" r:id="rId22"/>
    <p:sldLayoutId id="2147484321" r:id="rId23"/>
    <p:sldLayoutId id="2147484322" r:id="rId24"/>
    <p:sldLayoutId id="2147484323" r:id="rId25"/>
    <p:sldLayoutId id="2147484324" r:id="rId26"/>
    <p:sldLayoutId id="2147484325" r:id="rId27"/>
    <p:sldLayoutId id="2147484326" r:id="rId28"/>
    <p:sldLayoutId id="2147484327" r:id="rId29"/>
    <p:sldLayoutId id="2147484328" r:id="rId30"/>
    <p:sldLayoutId id="2147484329" r:id="rId31"/>
    <p:sldLayoutId id="2147484330" r:id="rId32"/>
    <p:sldLayoutId id="2147484331" r:id="rId33"/>
    <p:sldLayoutId id="2147484332" r:id="rId34"/>
    <p:sldLayoutId id="2147484333" r:id="rId35"/>
    <p:sldLayoutId id="2147484334" r:id="rId36"/>
    <p:sldLayoutId id="2147484335" r:id="rId37"/>
    <p:sldLayoutId id="2147484336" r:id="rId38"/>
    <p:sldLayoutId id="2147484337" r:id="rId39"/>
    <p:sldLayoutId id="2147484338" r:id="rId40"/>
    <p:sldLayoutId id="2147484339" r:id="rId41"/>
    <p:sldLayoutId id="2147484340" r:id="rId42"/>
    <p:sldLayoutId id="2147484341" r:id="rId43"/>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2800" b="0" kern="1200" cap="all" baseline="0">
          <a:solidFill>
            <a:schemeClr val="bg2"/>
          </a:solidFill>
          <a:latin typeface="+mj-lt"/>
          <a:ea typeface="+mj-ea"/>
          <a:cs typeface="+mj-cs"/>
        </a:defRPr>
      </a:lvl1pPr>
    </p:titleStyle>
    <p:body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64">
          <p15:clr>
            <a:srgbClr val="F26B43"/>
          </p15:clr>
        </p15:guide>
        <p15:guide id="4" pos="741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C2164E37-B9EF-4F5C-BAC3-99D4D9B95273}"/>
              </a:ext>
            </a:extLst>
          </p:cNvPr>
          <p:cNvSpPr/>
          <p:nvPr/>
        </p:nvSpPr>
        <p:spPr>
          <a:xfrm>
            <a:off x="0" y="6458381"/>
            <a:ext cx="10332720" cy="399619"/>
          </a:xfrm>
          <a:prstGeom prst="rtTriangl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Right Triangle 9">
            <a:extLst>
              <a:ext uri="{FF2B5EF4-FFF2-40B4-BE49-F238E27FC236}">
                <a16:creationId xmlns:a16="http://schemas.microsoft.com/office/drawing/2014/main" id="{5445847A-EA61-43F6-AC67-FDC7D6323393}"/>
              </a:ext>
            </a:extLst>
          </p:cNvPr>
          <p:cNvSpPr/>
          <p:nvPr/>
        </p:nvSpPr>
        <p:spPr>
          <a:xfrm flipH="1">
            <a:off x="1859280" y="6463405"/>
            <a:ext cx="10332720" cy="399619"/>
          </a:xfrm>
          <a:prstGeom prst="rtTriangle">
            <a:avLst/>
          </a:prstGeom>
          <a:gradFill>
            <a:gsLst>
              <a:gs pos="2000">
                <a:schemeClr val="bg2">
                  <a:lumMod val="50000"/>
                </a:schemeClr>
              </a:gs>
              <a:gs pos="33000">
                <a:schemeClr val="bg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bg1"/>
              </a:solidFill>
            </a:endParaRPr>
          </a:p>
        </p:txBody>
      </p:sp>
      <p:sp>
        <p:nvSpPr>
          <p:cNvPr id="2" name="Title Placeholder 1"/>
          <p:cNvSpPr>
            <a:spLocks noGrp="1"/>
          </p:cNvSpPr>
          <p:nvPr>
            <p:ph type="title"/>
          </p:nvPr>
        </p:nvSpPr>
        <p:spPr>
          <a:xfrm>
            <a:off x="406940" y="352321"/>
            <a:ext cx="10259568" cy="344710"/>
          </a:xfrm>
          <a:prstGeom prst="rect">
            <a:avLst/>
          </a:prstGeom>
        </p:spPr>
        <p:txBody>
          <a:bodyPr vert="horz" lIns="0" tIns="0" rIns="0" bIns="0" rtlCol="0" anchor="ctr" anchorCtr="0">
            <a:noAutofit/>
          </a:bodyPr>
          <a:lstStyle/>
          <a:p>
            <a:r>
              <a:rPr lang="en-US" dirty="0"/>
              <a:t>Click to add title</a:t>
            </a:r>
          </a:p>
        </p:txBody>
      </p:sp>
      <p:sp>
        <p:nvSpPr>
          <p:cNvPr id="3" name="Text Placeholder 2"/>
          <p:cNvSpPr>
            <a:spLocks noGrp="1"/>
          </p:cNvSpPr>
          <p:nvPr>
            <p:ph type="body" idx="1"/>
          </p:nvPr>
        </p:nvSpPr>
        <p:spPr>
          <a:xfrm>
            <a:off x="428953" y="1222375"/>
            <a:ext cx="10879943" cy="4956048"/>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p:cNvSpPr txBox="1">
            <a:spLocks noChangeArrowheads="1"/>
          </p:cNvSpPr>
          <p:nvPr/>
        </p:nvSpPr>
        <p:spPr bwMode="ltGray">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8" name="Picture 7"/>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4185712340"/>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 id="2147484357" r:id="rId15"/>
    <p:sldLayoutId id="2147484358" r:id="rId16"/>
    <p:sldLayoutId id="2147484359" r:id="rId17"/>
    <p:sldLayoutId id="2147484360" r:id="rId18"/>
    <p:sldLayoutId id="2147484361" r:id="rId19"/>
    <p:sldLayoutId id="2147484362" r:id="rId20"/>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3200" b="0" kern="1200" cap="all" baseline="0">
          <a:solidFill>
            <a:schemeClr val="bg2"/>
          </a:solidFill>
          <a:latin typeface="+mj-lt"/>
          <a:ea typeface="+mj-ea"/>
          <a:cs typeface="+mj-cs"/>
        </a:defRPr>
      </a:lvl1pPr>
    </p:titleStyle>
    <p:body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64">
          <p15:clr>
            <a:srgbClr val="F26B43"/>
          </p15:clr>
        </p15:guide>
        <p15:guide id="4" pos="741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7" cstate="screen">
            <a:extLst>
              <a:ext uri="{28A0092B-C50C-407E-A947-70E740481C1C}">
                <a14:useLocalDpi xmlns:a14="http://schemas.microsoft.com/office/drawing/2010/main"/>
              </a:ext>
            </a:extLst>
          </a:blip>
          <a:srcRect t="94737"/>
          <a:stretch/>
        </p:blipFill>
        <p:spPr>
          <a:xfrm flipV="1">
            <a:off x="0" y="6496905"/>
            <a:ext cx="12192000" cy="361095"/>
          </a:xfrm>
          <a:prstGeom prst="rect">
            <a:avLst/>
          </a:prstGeom>
        </p:spPr>
      </p:pic>
      <p:sp>
        <p:nvSpPr>
          <p:cNvPr id="2" name="Title Placeholder 1"/>
          <p:cNvSpPr>
            <a:spLocks noGrp="1"/>
          </p:cNvSpPr>
          <p:nvPr>
            <p:ph type="title"/>
          </p:nvPr>
        </p:nvSpPr>
        <p:spPr>
          <a:xfrm>
            <a:off x="406940" y="350933"/>
            <a:ext cx="10259568" cy="344710"/>
          </a:xfrm>
          <a:prstGeom prst="rect">
            <a:avLst/>
          </a:prstGeom>
        </p:spPr>
        <p:txBody>
          <a:bodyPr vert="horz" lIns="0" tIns="0" rIns="0" bIns="0" rtlCol="0" anchor="ctr" anchorCtr="0">
            <a:normAutofit/>
          </a:bodyPr>
          <a:lstStyle/>
          <a:p>
            <a:r>
              <a:rPr lang="en-US" dirty="0"/>
              <a:t>Click to add title</a:t>
            </a:r>
          </a:p>
        </p:txBody>
      </p:sp>
      <p:sp>
        <p:nvSpPr>
          <p:cNvPr id="3" name="Text Placeholder 2"/>
          <p:cNvSpPr>
            <a:spLocks noGrp="1"/>
          </p:cNvSpPr>
          <p:nvPr>
            <p:ph type="body" idx="1"/>
          </p:nvPr>
        </p:nvSpPr>
        <p:spPr>
          <a:xfrm>
            <a:off x="428953" y="1222375"/>
            <a:ext cx="11459086" cy="4956048"/>
          </a:xfrm>
          <a:prstGeom prst="rect">
            <a:avLst/>
          </a:prstGeom>
        </p:spPr>
        <p:txBody>
          <a:bodyPr vert="horz" lIns="0" tIns="0" rIns="0" bIns="0"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p:cNvSpPr txBox="1">
            <a:spLocks noChangeArrowheads="1"/>
          </p:cNvSpPr>
          <p:nvPr/>
        </p:nvSpPr>
        <p:spPr bwMode="auto">
          <a:xfrm>
            <a:off x="11308896"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8" name="Picture 7"/>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3046247416"/>
      </p:ext>
    </p:extLst>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 id="2147484374" r:id="rId11"/>
    <p:sldLayoutId id="2147484375" r:id="rId12"/>
    <p:sldLayoutId id="2147484376" r:id="rId13"/>
    <p:sldLayoutId id="2147484377" r:id="rId14"/>
    <p:sldLayoutId id="2147484378" r:id="rId15"/>
    <p:sldLayoutId id="2147484379" r:id="rId16"/>
    <p:sldLayoutId id="2147484380" r:id="rId17"/>
    <p:sldLayoutId id="2147484381" r:id="rId18"/>
    <p:sldLayoutId id="2147484382" r:id="rId19"/>
    <p:sldLayoutId id="2147484383" r:id="rId20"/>
    <p:sldLayoutId id="2147484384" r:id="rId21"/>
    <p:sldLayoutId id="2147484385" r:id="rId22"/>
    <p:sldLayoutId id="2147484386" r:id="rId23"/>
    <p:sldLayoutId id="2147484387" r:id="rId24"/>
    <p:sldLayoutId id="2147484388" r:id="rId25"/>
    <p:sldLayoutId id="2147484389" r:id="rId26"/>
    <p:sldLayoutId id="2147484390" r:id="rId27"/>
    <p:sldLayoutId id="2147484391" r:id="rId28"/>
    <p:sldLayoutId id="2147484392" r:id="rId29"/>
    <p:sldLayoutId id="2147484393" r:id="rId30"/>
    <p:sldLayoutId id="2147484394" r:id="rId31"/>
    <p:sldLayoutId id="2147484395" r:id="rId32"/>
    <p:sldLayoutId id="2147484396" r:id="rId33"/>
    <p:sldLayoutId id="2147484397" r:id="rId34"/>
    <p:sldLayoutId id="2147484398" r:id="rId35"/>
    <p:sldLayoutId id="2147484399" r:id="rId36"/>
    <p:sldLayoutId id="2147484400" r:id="rId37"/>
    <p:sldLayoutId id="2147484401" r:id="rId38"/>
    <p:sldLayoutId id="2147484402" r:id="rId39"/>
    <p:sldLayoutId id="2147484403" r:id="rId40"/>
    <p:sldLayoutId id="2147484404" r:id="rId41"/>
    <p:sldLayoutId id="2147484405" r:id="rId42"/>
    <p:sldLayoutId id="2147484406" r:id="rId43"/>
    <p:sldLayoutId id="2147484407" r:id="rId44"/>
    <p:sldLayoutId id="2147484408" r:id="rId45"/>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2800" b="0" kern="1200" cap="all" baseline="0">
          <a:solidFill>
            <a:schemeClr val="bg2"/>
          </a:solidFill>
          <a:latin typeface="+mj-lt"/>
          <a:ea typeface="+mj-ea"/>
          <a:cs typeface="+mj-cs"/>
        </a:defRPr>
      </a:lvl1pPr>
    </p:titleStyle>
    <p:body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64">
          <p15:clr>
            <a:srgbClr val="F26B43"/>
          </p15:clr>
        </p15:guide>
        <p15:guide id="4" pos="741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C2164E37-B9EF-4F5C-BAC3-99D4D9B95273}"/>
              </a:ext>
            </a:extLst>
          </p:cNvPr>
          <p:cNvSpPr/>
          <p:nvPr userDrawn="1"/>
        </p:nvSpPr>
        <p:spPr>
          <a:xfrm>
            <a:off x="0" y="6458381"/>
            <a:ext cx="10332720" cy="399619"/>
          </a:xfrm>
          <a:prstGeom prst="rtTriangl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Right Triangle 9">
            <a:extLst>
              <a:ext uri="{FF2B5EF4-FFF2-40B4-BE49-F238E27FC236}">
                <a16:creationId xmlns:a16="http://schemas.microsoft.com/office/drawing/2014/main" id="{5445847A-EA61-43F6-AC67-FDC7D6323393}"/>
              </a:ext>
            </a:extLst>
          </p:cNvPr>
          <p:cNvSpPr/>
          <p:nvPr userDrawn="1"/>
        </p:nvSpPr>
        <p:spPr>
          <a:xfrm flipH="1">
            <a:off x="1859280" y="6463405"/>
            <a:ext cx="10332720" cy="399619"/>
          </a:xfrm>
          <a:prstGeom prst="rtTriangle">
            <a:avLst/>
          </a:prstGeom>
          <a:gradFill>
            <a:gsLst>
              <a:gs pos="2000">
                <a:schemeClr val="bg2">
                  <a:lumMod val="50000"/>
                </a:schemeClr>
              </a:gs>
              <a:gs pos="33000">
                <a:schemeClr val="bg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bg1"/>
              </a:solidFill>
            </a:endParaRPr>
          </a:p>
        </p:txBody>
      </p:sp>
      <p:sp>
        <p:nvSpPr>
          <p:cNvPr id="2" name="Title Placeholder 1"/>
          <p:cNvSpPr>
            <a:spLocks noGrp="1"/>
          </p:cNvSpPr>
          <p:nvPr>
            <p:ph type="title"/>
          </p:nvPr>
        </p:nvSpPr>
        <p:spPr>
          <a:xfrm>
            <a:off x="406940" y="352321"/>
            <a:ext cx="10259568" cy="344710"/>
          </a:xfrm>
          <a:prstGeom prst="rect">
            <a:avLst/>
          </a:prstGeom>
        </p:spPr>
        <p:txBody>
          <a:bodyPr vert="horz" lIns="0" tIns="0" rIns="0" bIns="0" rtlCol="0" anchor="ctr" anchorCtr="0">
            <a:noAutofit/>
          </a:bodyPr>
          <a:lstStyle/>
          <a:p>
            <a:r>
              <a:rPr lang="en-US" dirty="0"/>
              <a:t>Click to add title</a:t>
            </a:r>
          </a:p>
        </p:txBody>
      </p:sp>
      <p:sp>
        <p:nvSpPr>
          <p:cNvPr id="3" name="Text Placeholder 2"/>
          <p:cNvSpPr>
            <a:spLocks noGrp="1"/>
          </p:cNvSpPr>
          <p:nvPr>
            <p:ph type="body" idx="1"/>
          </p:nvPr>
        </p:nvSpPr>
        <p:spPr>
          <a:xfrm>
            <a:off x="428953" y="1222375"/>
            <a:ext cx="10879943" cy="4956048"/>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p:cNvSpPr txBox="1">
            <a:spLocks noChangeArrowheads="1"/>
          </p:cNvSpPr>
          <p:nvPr/>
        </p:nvSpPr>
        <p:spPr bwMode="ltGray">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8" name="Picture 7"/>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spTree>
    <p:extLst>
      <p:ext uri="{BB962C8B-B14F-4D97-AF65-F5344CB8AC3E}">
        <p14:creationId xmlns:p14="http://schemas.microsoft.com/office/powerpoint/2010/main" val="4101914373"/>
      </p:ext>
    </p:extLst>
  </p:cSld>
  <p:clrMap bg1="lt1" tx1="dk1" bg2="lt2" tx2="dk2" accent1="accent1" accent2="accent2" accent3="accent3" accent4="accent4" accent5="accent5" accent6="accent6" hlink="hlink" folHlink="folHlink"/>
  <p:sldLayoutIdLst>
    <p:sldLayoutId id="2147484434" r:id="rId1"/>
    <p:sldLayoutId id="2147484435" r:id="rId2"/>
    <p:sldLayoutId id="2147484436" r:id="rId3"/>
    <p:sldLayoutId id="2147484437" r:id="rId4"/>
    <p:sldLayoutId id="2147484438" r:id="rId5"/>
    <p:sldLayoutId id="2147484439" r:id="rId6"/>
    <p:sldLayoutId id="2147484440" r:id="rId7"/>
    <p:sldLayoutId id="2147484441" r:id="rId8"/>
    <p:sldLayoutId id="2147484442" r:id="rId9"/>
    <p:sldLayoutId id="2147484443" r:id="rId10"/>
    <p:sldLayoutId id="2147484444" r:id="rId11"/>
    <p:sldLayoutId id="2147484445" r:id="rId12"/>
    <p:sldLayoutId id="2147484446" r:id="rId13"/>
    <p:sldLayoutId id="2147484447" r:id="rId14"/>
    <p:sldLayoutId id="2147484448" r:id="rId15"/>
    <p:sldLayoutId id="2147484449" r:id="rId16"/>
    <p:sldLayoutId id="2147484450" r:id="rId17"/>
    <p:sldLayoutId id="2147484451" r:id="rId18"/>
    <p:sldLayoutId id="2147484452" r:id="rId19"/>
    <p:sldLayoutId id="2147484453" r:id="rId20"/>
    <p:sldLayoutId id="2147484454" r:id="rId21"/>
    <p:sldLayoutId id="2147484455" r:id="rId22"/>
    <p:sldLayoutId id="2147484456" r:id="rId23"/>
    <p:sldLayoutId id="2147484457" r:id="rId24"/>
    <p:sldLayoutId id="2147484458" r:id="rId25"/>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3200" b="0" kern="1200" cap="all" baseline="0">
          <a:solidFill>
            <a:schemeClr val="bg2"/>
          </a:solidFill>
          <a:latin typeface="+mj-lt"/>
          <a:ea typeface="+mj-ea"/>
          <a:cs typeface="+mj-cs"/>
        </a:defRPr>
      </a:lvl1pPr>
    </p:titleStyle>
    <p:body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64">
          <p15:clr>
            <a:srgbClr val="F26B43"/>
          </p15:clr>
        </p15:guide>
        <p15:guide id="4" pos="74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xml"/><Relationship Id="rId1" Type="http://schemas.openxmlformats.org/officeDocument/2006/relationships/slideLayout" Target="../slideLayouts/slideLayout129.xml"/><Relationship Id="rId5" Type="http://schemas.openxmlformats.org/officeDocument/2006/relationships/image" Target="../media/image67.png"/><Relationship Id="rId4" Type="http://schemas.openxmlformats.org/officeDocument/2006/relationships/image" Target="../media/image78.png"/></Relationships>
</file>

<file path=ppt/slides/_rels/slide10.xml.rels><?xml version="1.0" encoding="UTF-8" standalone="yes"?>
<Relationships xmlns="http://schemas.openxmlformats.org/package/2006/relationships"><Relationship Id="rId8" Type="http://schemas.openxmlformats.org/officeDocument/2006/relationships/image" Target="../media/image119.gif"/><Relationship Id="rId13" Type="http://schemas.openxmlformats.org/officeDocument/2006/relationships/hyperlink" Target="https://www.ptc.com/en/news/2017/ptc-named-a-global-leader-in-iot-platforms-by-idc-marketscape" TargetMode="External"/><Relationship Id="rId18" Type="http://schemas.openxmlformats.org/officeDocument/2006/relationships/image" Target="../media/image125.jpeg"/><Relationship Id="rId26" Type="http://schemas.openxmlformats.org/officeDocument/2006/relationships/hyperlink" Target="https://www.ptc.com/en/news/2016/ptc-as-the-leading-provider-of-plm-in-aerospace-and-defense" TargetMode="External"/><Relationship Id="rId3" Type="http://schemas.openxmlformats.org/officeDocument/2006/relationships/image" Target="../media/image115.png"/><Relationship Id="rId21" Type="http://schemas.openxmlformats.org/officeDocument/2006/relationships/image" Target="../media/image127.png"/><Relationship Id="rId7" Type="http://schemas.openxmlformats.org/officeDocument/2006/relationships/image" Target="../media/image118.jpeg"/><Relationship Id="rId12" Type="http://schemas.openxmlformats.org/officeDocument/2006/relationships/image" Target="../media/image121.jpg"/><Relationship Id="rId17" Type="http://schemas.openxmlformats.org/officeDocument/2006/relationships/image" Target="../media/image124.png"/><Relationship Id="rId25" Type="http://schemas.openxmlformats.org/officeDocument/2006/relationships/image" Target="../media/image129.png"/><Relationship Id="rId2" Type="http://schemas.openxmlformats.org/officeDocument/2006/relationships/notesSlide" Target="../notesSlides/notesSlide8.xml"/><Relationship Id="rId16" Type="http://schemas.openxmlformats.org/officeDocument/2006/relationships/hyperlink" Target="https://www.ptc.com/en/news/2016/ptc-named-a-leader-in-iot-software-platforms-by-forrester-research" TargetMode="External"/><Relationship Id="rId20" Type="http://schemas.openxmlformats.org/officeDocument/2006/relationships/hyperlink" Target="https://www.ptc.com/en/news/2016/Ventana-Research-Awards-PTC-for-IoT-Technology" TargetMode="External"/><Relationship Id="rId1" Type="http://schemas.openxmlformats.org/officeDocument/2006/relationships/slideLayout" Target="../slideLayouts/slideLayout136.xml"/><Relationship Id="rId6" Type="http://schemas.openxmlformats.org/officeDocument/2006/relationships/image" Target="../media/image117.png"/><Relationship Id="rId11" Type="http://schemas.openxmlformats.org/officeDocument/2006/relationships/hyperlink" Target="https://www.ptc.com/en/news/2017/thingworx-iot-platform-from-ptc-recognized-by-quadrant-knowledge-solutions-and-siia" TargetMode="External"/><Relationship Id="rId24" Type="http://schemas.openxmlformats.org/officeDocument/2006/relationships/hyperlink" Target="https://www.ptc.com/en/news/2016/ptc-named-iot-enablement-company-of-the-year" TargetMode="External"/><Relationship Id="rId5" Type="http://schemas.openxmlformats.org/officeDocument/2006/relationships/hyperlink" Target="https://www.ptc.com/en/news/2016/ptc-named-internet-of-things-leader" TargetMode="External"/><Relationship Id="rId15" Type="http://schemas.openxmlformats.org/officeDocument/2006/relationships/image" Target="../media/image123.png"/><Relationship Id="rId23" Type="http://schemas.openxmlformats.org/officeDocument/2006/relationships/image" Target="../media/image128.jpeg"/><Relationship Id="rId28" Type="http://schemas.openxmlformats.org/officeDocument/2006/relationships/image" Target="../media/image131.png"/><Relationship Id="rId10" Type="http://schemas.openxmlformats.org/officeDocument/2006/relationships/image" Target="../media/image120.jpeg"/><Relationship Id="rId19" Type="http://schemas.openxmlformats.org/officeDocument/2006/relationships/image" Target="../media/image126.gif"/><Relationship Id="rId4" Type="http://schemas.openxmlformats.org/officeDocument/2006/relationships/image" Target="../media/image116.png"/><Relationship Id="rId9" Type="http://schemas.openxmlformats.org/officeDocument/2006/relationships/hyperlink" Target="https://www.ptc.com/en/news/2017/ptc-selected-as-industrial-iot-company-of-the-year" TargetMode="External"/><Relationship Id="rId14" Type="http://schemas.openxmlformats.org/officeDocument/2006/relationships/image" Target="../media/image122.png"/><Relationship Id="rId22" Type="http://schemas.openxmlformats.org/officeDocument/2006/relationships/hyperlink" Target="https://www.ptc.com/en/news/2016/ptc-named-iot-application-enablement-platforms-market-share-leader" TargetMode="External"/><Relationship Id="rId27" Type="http://schemas.openxmlformats.org/officeDocument/2006/relationships/image" Target="../media/image130.gif"/></Relationships>
</file>

<file path=ppt/slides/_rels/slide11.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chart" Target="../charts/chart2.xml"/><Relationship Id="rId7" Type="http://schemas.openxmlformats.org/officeDocument/2006/relationships/image" Target="../media/image135.png"/><Relationship Id="rId2" Type="http://schemas.openxmlformats.org/officeDocument/2006/relationships/notesSlide" Target="../notesSlides/notesSlide9.xml"/><Relationship Id="rId1" Type="http://schemas.openxmlformats.org/officeDocument/2006/relationships/slideLayout" Target="../slideLayouts/slideLayout131.xml"/><Relationship Id="rId6" Type="http://schemas.openxmlformats.org/officeDocument/2006/relationships/image" Target="../media/image134.png"/><Relationship Id="rId5" Type="http://schemas.openxmlformats.org/officeDocument/2006/relationships/image" Target="../media/image133.gif"/><Relationship Id="rId4" Type="http://schemas.openxmlformats.org/officeDocument/2006/relationships/image" Target="../media/image132.png"/><Relationship Id="rId9" Type="http://schemas.openxmlformats.org/officeDocument/2006/relationships/image" Target="../media/image137.png"/></Relationships>
</file>

<file path=ppt/slides/_rels/slide1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256.xml"/></Relationships>
</file>

<file path=ppt/slides/_rels/slide13.xml.rels><?xml version="1.0" encoding="UTF-8" standalone="yes"?>
<Relationships xmlns="http://schemas.openxmlformats.org/package/2006/relationships"><Relationship Id="rId3" Type="http://schemas.openxmlformats.org/officeDocument/2006/relationships/hyperlink" Target="https://www.abiresearch.com/press/ptc-beats-ge-abb-and-siemens-top-spot-abi-researchs-smart-manufacturing-platform-competitive-assessment/" TargetMode="External"/><Relationship Id="rId2" Type="http://schemas.openxmlformats.org/officeDocument/2006/relationships/image" Target="../media/image140.png"/><Relationship Id="rId1" Type="http://schemas.openxmlformats.org/officeDocument/2006/relationships/slideLayout" Target="../slideLayouts/slideLayout256.xml"/></Relationships>
</file>

<file path=ppt/slides/_rels/slide14.xml.rels><?xml version="1.0" encoding="UTF-8" standalone="yes"?>
<Relationships xmlns="http://schemas.openxmlformats.org/package/2006/relationships"><Relationship Id="rId13" Type="http://schemas.openxmlformats.org/officeDocument/2006/relationships/hyperlink" Target="http://www.gerberscientific.com/" TargetMode="External"/><Relationship Id="rId18" Type="http://schemas.openxmlformats.org/officeDocument/2006/relationships/image" Target="../media/image155.png"/><Relationship Id="rId26" Type="http://schemas.openxmlformats.org/officeDocument/2006/relationships/image" Target="../media/image163.jpeg"/><Relationship Id="rId39" Type="http://schemas.openxmlformats.org/officeDocument/2006/relationships/image" Target="../media/image175.png"/><Relationship Id="rId3" Type="http://schemas.openxmlformats.org/officeDocument/2006/relationships/image" Target="../media/image141.png"/><Relationship Id="rId21" Type="http://schemas.openxmlformats.org/officeDocument/2006/relationships/image" Target="../media/image158.png"/><Relationship Id="rId34" Type="http://schemas.openxmlformats.org/officeDocument/2006/relationships/image" Target="../media/image171.png"/><Relationship Id="rId42" Type="http://schemas.openxmlformats.org/officeDocument/2006/relationships/image" Target="../media/image178.jpeg"/><Relationship Id="rId47" Type="http://schemas.openxmlformats.org/officeDocument/2006/relationships/image" Target="../media/image183.gif"/><Relationship Id="rId50" Type="http://schemas.openxmlformats.org/officeDocument/2006/relationships/image" Target="../media/image186.gif"/><Relationship Id="rId7" Type="http://schemas.openxmlformats.org/officeDocument/2006/relationships/image" Target="../media/image145.png"/><Relationship Id="rId12" Type="http://schemas.openxmlformats.org/officeDocument/2006/relationships/image" Target="../media/image150.png"/><Relationship Id="rId17" Type="http://schemas.openxmlformats.org/officeDocument/2006/relationships/image" Target="../media/image154.jpeg"/><Relationship Id="rId25" Type="http://schemas.openxmlformats.org/officeDocument/2006/relationships/image" Target="../media/image162.png"/><Relationship Id="rId33" Type="http://schemas.openxmlformats.org/officeDocument/2006/relationships/image" Target="../media/image170.png"/><Relationship Id="rId38" Type="http://schemas.openxmlformats.org/officeDocument/2006/relationships/image" Target="../media/image174.jpeg"/><Relationship Id="rId46" Type="http://schemas.openxmlformats.org/officeDocument/2006/relationships/image" Target="../media/image182.jpeg"/><Relationship Id="rId2" Type="http://schemas.openxmlformats.org/officeDocument/2006/relationships/notesSlide" Target="../notesSlides/notesSlide10.xml"/><Relationship Id="rId16" Type="http://schemas.openxmlformats.org/officeDocument/2006/relationships/image" Target="../media/image153.jpeg"/><Relationship Id="rId20" Type="http://schemas.openxmlformats.org/officeDocument/2006/relationships/image" Target="../media/image157.jpeg"/><Relationship Id="rId29" Type="http://schemas.openxmlformats.org/officeDocument/2006/relationships/image" Target="../media/image166.png"/><Relationship Id="rId41" Type="http://schemas.openxmlformats.org/officeDocument/2006/relationships/image" Target="../media/image177.png"/><Relationship Id="rId54" Type="http://schemas.openxmlformats.org/officeDocument/2006/relationships/image" Target="../media/image190.png"/><Relationship Id="rId1" Type="http://schemas.openxmlformats.org/officeDocument/2006/relationships/slideLayout" Target="../slideLayouts/slideLayout48.xml"/><Relationship Id="rId6" Type="http://schemas.openxmlformats.org/officeDocument/2006/relationships/image" Target="../media/image144.jpeg"/><Relationship Id="rId11" Type="http://schemas.openxmlformats.org/officeDocument/2006/relationships/image" Target="../media/image149.jpeg"/><Relationship Id="rId24" Type="http://schemas.openxmlformats.org/officeDocument/2006/relationships/image" Target="../media/image161.png"/><Relationship Id="rId32" Type="http://schemas.openxmlformats.org/officeDocument/2006/relationships/image" Target="../media/image169.png"/><Relationship Id="rId37" Type="http://schemas.openxmlformats.org/officeDocument/2006/relationships/hyperlink" Target="http://www.talaris.com/" TargetMode="External"/><Relationship Id="rId40" Type="http://schemas.openxmlformats.org/officeDocument/2006/relationships/image" Target="../media/image176.jpeg"/><Relationship Id="rId45" Type="http://schemas.openxmlformats.org/officeDocument/2006/relationships/image" Target="../media/image181.png"/><Relationship Id="rId53" Type="http://schemas.openxmlformats.org/officeDocument/2006/relationships/image" Target="../media/image189.png"/><Relationship Id="rId5" Type="http://schemas.openxmlformats.org/officeDocument/2006/relationships/image" Target="../media/image143.png"/><Relationship Id="rId15" Type="http://schemas.openxmlformats.org/officeDocument/2006/relationships/image" Target="../media/image152.png"/><Relationship Id="rId23" Type="http://schemas.openxmlformats.org/officeDocument/2006/relationships/image" Target="../media/image160.jpg"/><Relationship Id="rId28" Type="http://schemas.openxmlformats.org/officeDocument/2006/relationships/image" Target="../media/image165.png"/><Relationship Id="rId36" Type="http://schemas.openxmlformats.org/officeDocument/2006/relationships/image" Target="../media/image173.png"/><Relationship Id="rId49" Type="http://schemas.openxmlformats.org/officeDocument/2006/relationships/image" Target="../media/image185.png"/><Relationship Id="rId10" Type="http://schemas.openxmlformats.org/officeDocument/2006/relationships/image" Target="../media/image148.jpeg"/><Relationship Id="rId19" Type="http://schemas.openxmlformats.org/officeDocument/2006/relationships/image" Target="../media/image156.png"/><Relationship Id="rId31" Type="http://schemas.openxmlformats.org/officeDocument/2006/relationships/image" Target="../media/image168.png"/><Relationship Id="rId44" Type="http://schemas.openxmlformats.org/officeDocument/2006/relationships/image" Target="../media/image180.jpeg"/><Relationship Id="rId52" Type="http://schemas.openxmlformats.org/officeDocument/2006/relationships/image" Target="../media/image188.png"/><Relationship Id="rId4" Type="http://schemas.openxmlformats.org/officeDocument/2006/relationships/image" Target="../media/image142.jpeg"/><Relationship Id="rId9" Type="http://schemas.openxmlformats.org/officeDocument/2006/relationships/image" Target="../media/image147.png"/><Relationship Id="rId14" Type="http://schemas.openxmlformats.org/officeDocument/2006/relationships/image" Target="../media/image151.png"/><Relationship Id="rId22" Type="http://schemas.openxmlformats.org/officeDocument/2006/relationships/image" Target="../media/image159.jpeg"/><Relationship Id="rId27" Type="http://schemas.openxmlformats.org/officeDocument/2006/relationships/image" Target="../media/image164.png"/><Relationship Id="rId30" Type="http://schemas.openxmlformats.org/officeDocument/2006/relationships/image" Target="../media/image167.png"/><Relationship Id="rId35" Type="http://schemas.openxmlformats.org/officeDocument/2006/relationships/image" Target="../media/image172.jpeg"/><Relationship Id="rId43" Type="http://schemas.openxmlformats.org/officeDocument/2006/relationships/image" Target="../media/image179.png"/><Relationship Id="rId48" Type="http://schemas.openxmlformats.org/officeDocument/2006/relationships/image" Target="../media/image184.png"/><Relationship Id="rId8" Type="http://schemas.openxmlformats.org/officeDocument/2006/relationships/image" Target="../media/image146.png"/><Relationship Id="rId51" Type="http://schemas.openxmlformats.org/officeDocument/2006/relationships/image" Target="../media/image187.jpeg"/></Relationships>
</file>

<file path=ppt/slides/_rels/slide15.xml.rels><?xml version="1.0" encoding="UTF-8" standalone="yes"?>
<Relationships xmlns="http://schemas.openxmlformats.org/package/2006/relationships"><Relationship Id="rId8" Type="http://schemas.openxmlformats.org/officeDocument/2006/relationships/image" Target="../media/image196.gif"/><Relationship Id="rId13" Type="http://schemas.openxmlformats.org/officeDocument/2006/relationships/image" Target="../media/image201.png"/><Relationship Id="rId18" Type="http://schemas.openxmlformats.org/officeDocument/2006/relationships/image" Target="../media/image206.png"/><Relationship Id="rId26" Type="http://schemas.openxmlformats.org/officeDocument/2006/relationships/image" Target="../media/image214.png"/><Relationship Id="rId3" Type="http://schemas.openxmlformats.org/officeDocument/2006/relationships/image" Target="../media/image191.jpeg"/><Relationship Id="rId21" Type="http://schemas.openxmlformats.org/officeDocument/2006/relationships/image" Target="../media/image209.png"/><Relationship Id="rId34" Type="http://schemas.openxmlformats.org/officeDocument/2006/relationships/image" Target="../media/image222.jpeg"/><Relationship Id="rId7" Type="http://schemas.openxmlformats.org/officeDocument/2006/relationships/image" Target="../media/image195.png"/><Relationship Id="rId12" Type="http://schemas.openxmlformats.org/officeDocument/2006/relationships/image" Target="../media/image200.png"/><Relationship Id="rId17" Type="http://schemas.openxmlformats.org/officeDocument/2006/relationships/image" Target="../media/image205.png"/><Relationship Id="rId25" Type="http://schemas.openxmlformats.org/officeDocument/2006/relationships/image" Target="../media/image213.png"/><Relationship Id="rId33" Type="http://schemas.openxmlformats.org/officeDocument/2006/relationships/image" Target="../media/image221.jpeg"/><Relationship Id="rId38" Type="http://schemas.openxmlformats.org/officeDocument/2006/relationships/image" Target="../media/image226.png"/><Relationship Id="rId2" Type="http://schemas.openxmlformats.org/officeDocument/2006/relationships/notesSlide" Target="../notesSlides/notesSlide11.xml"/><Relationship Id="rId16" Type="http://schemas.openxmlformats.org/officeDocument/2006/relationships/image" Target="../media/image204.png"/><Relationship Id="rId20" Type="http://schemas.openxmlformats.org/officeDocument/2006/relationships/image" Target="../media/image208.png"/><Relationship Id="rId29" Type="http://schemas.openxmlformats.org/officeDocument/2006/relationships/image" Target="../media/image217.jpeg"/><Relationship Id="rId1" Type="http://schemas.openxmlformats.org/officeDocument/2006/relationships/slideLayout" Target="../slideLayouts/slideLayout48.xml"/><Relationship Id="rId6" Type="http://schemas.openxmlformats.org/officeDocument/2006/relationships/image" Target="../media/image194.png"/><Relationship Id="rId11" Type="http://schemas.openxmlformats.org/officeDocument/2006/relationships/image" Target="../media/image199.png"/><Relationship Id="rId24" Type="http://schemas.openxmlformats.org/officeDocument/2006/relationships/image" Target="../media/image212.png"/><Relationship Id="rId32" Type="http://schemas.openxmlformats.org/officeDocument/2006/relationships/image" Target="../media/image220.png"/><Relationship Id="rId37" Type="http://schemas.openxmlformats.org/officeDocument/2006/relationships/image" Target="../media/image225.png"/><Relationship Id="rId5" Type="http://schemas.openxmlformats.org/officeDocument/2006/relationships/image" Target="../media/image193.png"/><Relationship Id="rId15" Type="http://schemas.openxmlformats.org/officeDocument/2006/relationships/image" Target="../media/image203.png"/><Relationship Id="rId23" Type="http://schemas.openxmlformats.org/officeDocument/2006/relationships/image" Target="../media/image211.png"/><Relationship Id="rId28" Type="http://schemas.openxmlformats.org/officeDocument/2006/relationships/image" Target="../media/image216.png"/><Relationship Id="rId36" Type="http://schemas.openxmlformats.org/officeDocument/2006/relationships/image" Target="../media/image224.png"/><Relationship Id="rId10" Type="http://schemas.openxmlformats.org/officeDocument/2006/relationships/image" Target="../media/image198.png"/><Relationship Id="rId19" Type="http://schemas.openxmlformats.org/officeDocument/2006/relationships/image" Target="../media/image207.png"/><Relationship Id="rId31" Type="http://schemas.openxmlformats.org/officeDocument/2006/relationships/image" Target="../media/image219.png"/><Relationship Id="rId4" Type="http://schemas.openxmlformats.org/officeDocument/2006/relationships/image" Target="../media/image192.jpeg"/><Relationship Id="rId9" Type="http://schemas.openxmlformats.org/officeDocument/2006/relationships/image" Target="../media/image197.png"/><Relationship Id="rId14" Type="http://schemas.openxmlformats.org/officeDocument/2006/relationships/image" Target="../media/image202.png"/><Relationship Id="rId22" Type="http://schemas.openxmlformats.org/officeDocument/2006/relationships/image" Target="../media/image210.png"/><Relationship Id="rId27" Type="http://schemas.openxmlformats.org/officeDocument/2006/relationships/image" Target="../media/image215.png"/><Relationship Id="rId30" Type="http://schemas.openxmlformats.org/officeDocument/2006/relationships/image" Target="../media/image218.png"/><Relationship Id="rId35" Type="http://schemas.openxmlformats.org/officeDocument/2006/relationships/image" Target="../media/image22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2.xml"/><Relationship Id="rId1" Type="http://schemas.openxmlformats.org/officeDocument/2006/relationships/slideLayout" Target="../slideLayouts/slideLayout253.xml"/></Relationships>
</file>

<file path=ppt/slides/_rels/slide18.xml.rels><?xml version="1.0" encoding="UTF-8" standalone="yes"?>
<Relationships xmlns="http://schemas.openxmlformats.org/package/2006/relationships"><Relationship Id="rId8" Type="http://schemas.openxmlformats.org/officeDocument/2006/relationships/image" Target="../media/image230.png"/><Relationship Id="rId13" Type="http://schemas.openxmlformats.org/officeDocument/2006/relationships/image" Target="../media/image235.emf"/><Relationship Id="rId18" Type="http://schemas.openxmlformats.org/officeDocument/2006/relationships/image" Target="../media/image240.emf"/><Relationship Id="rId3" Type="http://schemas.openxmlformats.org/officeDocument/2006/relationships/slideLayout" Target="../slideLayouts/slideLayout218.xml"/><Relationship Id="rId7" Type="http://schemas.openxmlformats.org/officeDocument/2006/relationships/image" Target="../media/image229.png"/><Relationship Id="rId12" Type="http://schemas.openxmlformats.org/officeDocument/2006/relationships/image" Target="../media/image234.emf"/><Relationship Id="rId17" Type="http://schemas.openxmlformats.org/officeDocument/2006/relationships/image" Target="../media/image239.emf"/><Relationship Id="rId2" Type="http://schemas.openxmlformats.org/officeDocument/2006/relationships/tags" Target="../tags/tag3.xml"/><Relationship Id="rId16" Type="http://schemas.openxmlformats.org/officeDocument/2006/relationships/image" Target="../media/image238.emf"/><Relationship Id="rId1" Type="http://schemas.openxmlformats.org/officeDocument/2006/relationships/vmlDrawing" Target="../drawings/vmlDrawing2.vml"/><Relationship Id="rId6" Type="http://schemas.openxmlformats.org/officeDocument/2006/relationships/image" Target="../media/image228.emf"/><Relationship Id="rId11" Type="http://schemas.openxmlformats.org/officeDocument/2006/relationships/image" Target="../media/image233.emf"/><Relationship Id="rId5" Type="http://schemas.openxmlformats.org/officeDocument/2006/relationships/oleObject" Target="../embeddings/oleObject2.bin"/><Relationship Id="rId15" Type="http://schemas.openxmlformats.org/officeDocument/2006/relationships/image" Target="../media/image237.emf"/><Relationship Id="rId10" Type="http://schemas.openxmlformats.org/officeDocument/2006/relationships/image" Target="../media/image232.emf"/><Relationship Id="rId4" Type="http://schemas.openxmlformats.org/officeDocument/2006/relationships/notesSlide" Target="../notesSlides/notesSlide13.xml"/><Relationship Id="rId9" Type="http://schemas.openxmlformats.org/officeDocument/2006/relationships/image" Target="../media/image231.png"/><Relationship Id="rId14" Type="http://schemas.openxmlformats.org/officeDocument/2006/relationships/image" Target="../media/image236.emf"/></Relationships>
</file>

<file path=ppt/slides/_rels/slide19.xml.rels><?xml version="1.0" encoding="UTF-8" standalone="yes"?>
<Relationships xmlns="http://schemas.openxmlformats.org/package/2006/relationships"><Relationship Id="rId8" Type="http://schemas.openxmlformats.org/officeDocument/2006/relationships/image" Target="../media/image242.png"/><Relationship Id="rId13" Type="http://schemas.openxmlformats.org/officeDocument/2006/relationships/image" Target="../media/image247.jpeg"/><Relationship Id="rId18" Type="http://schemas.openxmlformats.org/officeDocument/2006/relationships/image" Target="../media/image252.png"/><Relationship Id="rId3" Type="http://schemas.openxmlformats.org/officeDocument/2006/relationships/slideLayout" Target="../slideLayouts/slideLayout218.xml"/><Relationship Id="rId21" Type="http://schemas.openxmlformats.org/officeDocument/2006/relationships/image" Target="../media/image255.png"/><Relationship Id="rId7" Type="http://schemas.openxmlformats.org/officeDocument/2006/relationships/image" Target="../media/image241.png"/><Relationship Id="rId12" Type="http://schemas.openxmlformats.org/officeDocument/2006/relationships/image" Target="../media/image246.png"/><Relationship Id="rId17" Type="http://schemas.openxmlformats.org/officeDocument/2006/relationships/image" Target="../media/image251.png"/><Relationship Id="rId25" Type="http://schemas.openxmlformats.org/officeDocument/2006/relationships/image" Target="../media/image259.jpeg"/><Relationship Id="rId2" Type="http://schemas.openxmlformats.org/officeDocument/2006/relationships/tags" Target="../tags/tag4.xml"/><Relationship Id="rId16" Type="http://schemas.openxmlformats.org/officeDocument/2006/relationships/image" Target="../media/image250.png"/><Relationship Id="rId20" Type="http://schemas.openxmlformats.org/officeDocument/2006/relationships/image" Target="../media/image254.png"/><Relationship Id="rId1" Type="http://schemas.openxmlformats.org/officeDocument/2006/relationships/vmlDrawing" Target="../drawings/vmlDrawing3.vml"/><Relationship Id="rId6" Type="http://schemas.openxmlformats.org/officeDocument/2006/relationships/image" Target="../media/image228.emf"/><Relationship Id="rId11" Type="http://schemas.openxmlformats.org/officeDocument/2006/relationships/image" Target="../media/image245.png"/><Relationship Id="rId24" Type="http://schemas.openxmlformats.org/officeDocument/2006/relationships/image" Target="../media/image258.jpeg"/><Relationship Id="rId5" Type="http://schemas.openxmlformats.org/officeDocument/2006/relationships/oleObject" Target="../embeddings/oleObject2.bin"/><Relationship Id="rId15" Type="http://schemas.openxmlformats.org/officeDocument/2006/relationships/image" Target="../media/image249.jpeg"/><Relationship Id="rId23" Type="http://schemas.openxmlformats.org/officeDocument/2006/relationships/image" Target="../media/image257.png"/><Relationship Id="rId10" Type="http://schemas.openxmlformats.org/officeDocument/2006/relationships/image" Target="../media/image244.png"/><Relationship Id="rId19" Type="http://schemas.openxmlformats.org/officeDocument/2006/relationships/image" Target="../media/image253.png"/><Relationship Id="rId4" Type="http://schemas.openxmlformats.org/officeDocument/2006/relationships/notesSlide" Target="../notesSlides/notesSlide14.xml"/><Relationship Id="rId9" Type="http://schemas.openxmlformats.org/officeDocument/2006/relationships/image" Target="../media/image243.png"/><Relationship Id="rId14" Type="http://schemas.openxmlformats.org/officeDocument/2006/relationships/image" Target="../media/image248.png"/><Relationship Id="rId22" Type="http://schemas.openxmlformats.org/officeDocument/2006/relationships/image" Target="../media/image25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5.xml"/><Relationship Id="rId1" Type="http://schemas.openxmlformats.org/officeDocument/2006/relationships/slideLayout" Target="../slideLayouts/slideLayout218.xml"/></Relationships>
</file>

<file path=ppt/slides/_rels/slide21.xml.rels><?xml version="1.0" encoding="UTF-8" standalone="yes"?>
<Relationships xmlns="http://schemas.openxmlformats.org/package/2006/relationships"><Relationship Id="rId2" Type="http://schemas.openxmlformats.org/officeDocument/2006/relationships/image" Target="../media/image261.png"/><Relationship Id="rId1" Type="http://schemas.openxmlformats.org/officeDocument/2006/relationships/slideLayout" Target="../slideLayouts/slideLayout218.xml"/></Relationships>
</file>

<file path=ppt/slides/_rels/slide22.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2.png"/><Relationship Id="rId1" Type="http://schemas.openxmlformats.org/officeDocument/2006/relationships/slideLayout" Target="../slideLayouts/slideLayout218.xml"/></Relationships>
</file>

<file path=ppt/slides/_rels/slide23.xml.rels><?xml version="1.0" encoding="UTF-8" standalone="yes"?>
<Relationships xmlns="http://schemas.openxmlformats.org/package/2006/relationships"><Relationship Id="rId8" Type="http://schemas.openxmlformats.org/officeDocument/2006/relationships/image" Target="../media/image269.png"/><Relationship Id="rId13" Type="http://schemas.openxmlformats.org/officeDocument/2006/relationships/image" Target="../media/image274.png"/><Relationship Id="rId3" Type="http://schemas.openxmlformats.org/officeDocument/2006/relationships/image" Target="../media/image264.png"/><Relationship Id="rId7" Type="http://schemas.openxmlformats.org/officeDocument/2006/relationships/image" Target="../media/image268.png"/><Relationship Id="rId12" Type="http://schemas.openxmlformats.org/officeDocument/2006/relationships/image" Target="../media/image273.png"/><Relationship Id="rId2" Type="http://schemas.openxmlformats.org/officeDocument/2006/relationships/notesSlide" Target="../notesSlides/notesSlide16.xml"/><Relationship Id="rId16" Type="http://schemas.openxmlformats.org/officeDocument/2006/relationships/image" Target="../media/image277.png"/><Relationship Id="rId1" Type="http://schemas.openxmlformats.org/officeDocument/2006/relationships/slideLayout" Target="../slideLayouts/slideLayout218.xml"/><Relationship Id="rId6" Type="http://schemas.openxmlformats.org/officeDocument/2006/relationships/image" Target="../media/image267.png"/><Relationship Id="rId11" Type="http://schemas.openxmlformats.org/officeDocument/2006/relationships/image" Target="../media/image272.png"/><Relationship Id="rId5" Type="http://schemas.openxmlformats.org/officeDocument/2006/relationships/image" Target="../media/image266.png"/><Relationship Id="rId15" Type="http://schemas.openxmlformats.org/officeDocument/2006/relationships/image" Target="../media/image276.png"/><Relationship Id="rId10" Type="http://schemas.openxmlformats.org/officeDocument/2006/relationships/image" Target="../media/image271.png"/><Relationship Id="rId4" Type="http://schemas.openxmlformats.org/officeDocument/2006/relationships/image" Target="../media/image265.png"/><Relationship Id="rId9" Type="http://schemas.openxmlformats.org/officeDocument/2006/relationships/image" Target="../media/image270.png"/><Relationship Id="rId14" Type="http://schemas.openxmlformats.org/officeDocument/2006/relationships/image" Target="../media/image275.png"/></Relationships>
</file>

<file path=ppt/slides/_rels/slide24.xml.rels><?xml version="1.0" encoding="UTF-8" standalone="yes"?>
<Relationships xmlns="http://schemas.openxmlformats.org/package/2006/relationships"><Relationship Id="rId2" Type="http://schemas.openxmlformats.org/officeDocument/2006/relationships/image" Target="../media/image278.png"/><Relationship Id="rId1" Type="http://schemas.openxmlformats.org/officeDocument/2006/relationships/slideLayout" Target="../slideLayouts/slideLayout218.xml"/></Relationships>
</file>

<file path=ppt/slides/_rels/slide25.xml.rels><?xml version="1.0" encoding="UTF-8" standalone="yes"?>
<Relationships xmlns="http://schemas.openxmlformats.org/package/2006/relationships"><Relationship Id="rId2" Type="http://schemas.openxmlformats.org/officeDocument/2006/relationships/image" Target="../media/image279.png"/><Relationship Id="rId1" Type="http://schemas.openxmlformats.org/officeDocument/2006/relationships/slideLayout" Target="../slideLayouts/slideLayout218.xml"/></Relationships>
</file>

<file path=ppt/slides/_rels/slide26.xml.rels><?xml version="1.0" encoding="UTF-8" standalone="yes"?>
<Relationships xmlns="http://schemas.openxmlformats.org/package/2006/relationships"><Relationship Id="rId2" Type="http://schemas.openxmlformats.org/officeDocument/2006/relationships/image" Target="../media/image280.jpeg"/><Relationship Id="rId1" Type="http://schemas.openxmlformats.org/officeDocument/2006/relationships/slideLayout" Target="../slideLayouts/slideLayout218.xml"/></Relationships>
</file>

<file path=ppt/slides/_rels/slide27.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17.xml"/><Relationship Id="rId1" Type="http://schemas.openxmlformats.org/officeDocument/2006/relationships/slideLayout" Target="../slideLayouts/slideLayout218.xml"/></Relationships>
</file>

<file path=ppt/slides/_rels/slide28.xml.rels><?xml version="1.0" encoding="UTF-8" standalone="yes"?>
<Relationships xmlns="http://schemas.openxmlformats.org/package/2006/relationships"><Relationship Id="rId2" Type="http://schemas.openxmlformats.org/officeDocument/2006/relationships/image" Target="../media/image282.png"/><Relationship Id="rId1" Type="http://schemas.openxmlformats.org/officeDocument/2006/relationships/slideLayout" Target="../slideLayouts/slideLayout218.xml"/></Relationships>
</file>

<file path=ppt/slides/_rels/slide29.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18.xml"/><Relationship Id="rId1" Type="http://schemas.openxmlformats.org/officeDocument/2006/relationships/slideLayout" Target="../slideLayouts/slideLayout218.xml"/><Relationship Id="rId4" Type="http://schemas.openxmlformats.org/officeDocument/2006/relationships/image" Target="../media/image28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19.xml"/><Relationship Id="rId1" Type="http://schemas.openxmlformats.org/officeDocument/2006/relationships/slideLayout" Target="../slideLayouts/slideLayout218.xml"/><Relationship Id="rId4" Type="http://schemas.openxmlformats.org/officeDocument/2006/relationships/image" Target="../media/image28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32.xml.rels><?xml version="1.0" encoding="UTF-8" standalone="yes"?>
<Relationships xmlns="http://schemas.openxmlformats.org/package/2006/relationships"><Relationship Id="rId8" Type="http://schemas.openxmlformats.org/officeDocument/2006/relationships/image" Target="../media/image250.png"/><Relationship Id="rId13" Type="http://schemas.openxmlformats.org/officeDocument/2006/relationships/image" Target="../media/image294.jpeg"/><Relationship Id="rId18" Type="http://schemas.openxmlformats.org/officeDocument/2006/relationships/image" Target="../media/image299.tiff"/><Relationship Id="rId26" Type="http://schemas.openxmlformats.org/officeDocument/2006/relationships/image" Target="../media/image307.tiff"/><Relationship Id="rId3" Type="http://schemas.openxmlformats.org/officeDocument/2006/relationships/image" Target="../media/image287.jpeg"/><Relationship Id="rId21" Type="http://schemas.openxmlformats.org/officeDocument/2006/relationships/image" Target="../media/image302.png"/><Relationship Id="rId34" Type="http://schemas.openxmlformats.org/officeDocument/2006/relationships/image" Target="../media/image313.tiff"/><Relationship Id="rId7" Type="http://schemas.openxmlformats.org/officeDocument/2006/relationships/image" Target="../media/image249.jpeg"/><Relationship Id="rId12" Type="http://schemas.openxmlformats.org/officeDocument/2006/relationships/image" Target="../media/image293.jpeg"/><Relationship Id="rId17" Type="http://schemas.openxmlformats.org/officeDocument/2006/relationships/image" Target="../media/image298.tiff"/><Relationship Id="rId25" Type="http://schemas.openxmlformats.org/officeDocument/2006/relationships/image" Target="../media/image306.png"/><Relationship Id="rId33" Type="http://schemas.openxmlformats.org/officeDocument/2006/relationships/image" Target="../media/image312.tiff"/><Relationship Id="rId38" Type="http://schemas.openxmlformats.org/officeDocument/2006/relationships/image" Target="../media/image317.png"/><Relationship Id="rId2" Type="http://schemas.openxmlformats.org/officeDocument/2006/relationships/notesSlide" Target="../notesSlides/notesSlide20.xml"/><Relationship Id="rId16" Type="http://schemas.openxmlformats.org/officeDocument/2006/relationships/image" Target="../media/image297.jpeg"/><Relationship Id="rId20" Type="http://schemas.openxmlformats.org/officeDocument/2006/relationships/image" Target="../media/image301.png"/><Relationship Id="rId29" Type="http://schemas.openxmlformats.org/officeDocument/2006/relationships/image" Target="../media/image310.png"/><Relationship Id="rId1" Type="http://schemas.openxmlformats.org/officeDocument/2006/relationships/slideLayout" Target="../slideLayouts/slideLayout327.xml"/><Relationship Id="rId6" Type="http://schemas.openxmlformats.org/officeDocument/2006/relationships/image" Target="../media/image248.png"/><Relationship Id="rId11" Type="http://schemas.openxmlformats.org/officeDocument/2006/relationships/image" Target="../media/image292.png"/><Relationship Id="rId24" Type="http://schemas.openxmlformats.org/officeDocument/2006/relationships/image" Target="../media/image305.tiff"/><Relationship Id="rId32" Type="http://schemas.openxmlformats.org/officeDocument/2006/relationships/image" Target="../media/image311.png"/><Relationship Id="rId37" Type="http://schemas.openxmlformats.org/officeDocument/2006/relationships/image" Target="../media/image316.png"/><Relationship Id="rId5" Type="http://schemas.openxmlformats.org/officeDocument/2006/relationships/image" Target="../media/image289.png"/><Relationship Id="rId15" Type="http://schemas.openxmlformats.org/officeDocument/2006/relationships/image" Target="../media/image296.png"/><Relationship Id="rId23" Type="http://schemas.openxmlformats.org/officeDocument/2006/relationships/image" Target="../media/image304.tiff"/><Relationship Id="rId28" Type="http://schemas.openxmlformats.org/officeDocument/2006/relationships/image" Target="../media/image309.png"/><Relationship Id="rId36" Type="http://schemas.openxmlformats.org/officeDocument/2006/relationships/image" Target="../media/image315.png"/><Relationship Id="rId10" Type="http://schemas.openxmlformats.org/officeDocument/2006/relationships/image" Target="../media/image291.png"/><Relationship Id="rId19" Type="http://schemas.openxmlformats.org/officeDocument/2006/relationships/image" Target="../media/image300.tiff"/><Relationship Id="rId31" Type="http://schemas.openxmlformats.org/officeDocument/2006/relationships/image" Target="../media/image252.png"/><Relationship Id="rId4" Type="http://schemas.openxmlformats.org/officeDocument/2006/relationships/image" Target="../media/image288.png"/><Relationship Id="rId9" Type="http://schemas.openxmlformats.org/officeDocument/2006/relationships/image" Target="../media/image290.png"/><Relationship Id="rId14" Type="http://schemas.openxmlformats.org/officeDocument/2006/relationships/image" Target="../media/image295.jpeg"/><Relationship Id="rId22" Type="http://schemas.openxmlformats.org/officeDocument/2006/relationships/image" Target="../media/image303.tiff"/><Relationship Id="rId27" Type="http://schemas.openxmlformats.org/officeDocument/2006/relationships/image" Target="../media/image308.jpeg"/><Relationship Id="rId30" Type="http://schemas.openxmlformats.org/officeDocument/2006/relationships/image" Target="../media/image251.png"/><Relationship Id="rId35" Type="http://schemas.openxmlformats.org/officeDocument/2006/relationships/image" Target="../media/image314.png"/></Relationships>
</file>

<file path=ppt/slides/_rels/slide33.xml.rels><?xml version="1.0" encoding="UTF-8" standalone="yes"?>
<Relationships xmlns="http://schemas.openxmlformats.org/package/2006/relationships"><Relationship Id="rId8" Type="http://schemas.openxmlformats.org/officeDocument/2006/relationships/image" Target="../media/image322.png"/><Relationship Id="rId13" Type="http://schemas.openxmlformats.org/officeDocument/2006/relationships/image" Target="../media/image292.png"/><Relationship Id="rId18" Type="http://schemas.openxmlformats.org/officeDocument/2006/relationships/image" Target="../media/image331.png"/><Relationship Id="rId3" Type="http://schemas.openxmlformats.org/officeDocument/2006/relationships/image" Target="../media/image318.png"/><Relationship Id="rId21" Type="http://schemas.openxmlformats.org/officeDocument/2006/relationships/image" Target="../media/image306.png"/><Relationship Id="rId7" Type="http://schemas.openxmlformats.org/officeDocument/2006/relationships/image" Target="../media/image321.png"/><Relationship Id="rId12" Type="http://schemas.openxmlformats.org/officeDocument/2006/relationships/image" Target="../media/image326.png"/><Relationship Id="rId17" Type="http://schemas.openxmlformats.org/officeDocument/2006/relationships/image" Target="../media/image330.png"/><Relationship Id="rId2" Type="http://schemas.openxmlformats.org/officeDocument/2006/relationships/notesSlide" Target="../notesSlides/notesSlide21.xml"/><Relationship Id="rId16" Type="http://schemas.openxmlformats.org/officeDocument/2006/relationships/image" Target="../media/image329.png"/><Relationship Id="rId20" Type="http://schemas.openxmlformats.org/officeDocument/2006/relationships/image" Target="../media/image333.png"/><Relationship Id="rId1" Type="http://schemas.openxmlformats.org/officeDocument/2006/relationships/slideLayout" Target="../slideLayouts/slideLayout327.xml"/><Relationship Id="rId6" Type="http://schemas.openxmlformats.org/officeDocument/2006/relationships/image" Target="../media/image309.png"/><Relationship Id="rId11" Type="http://schemas.openxmlformats.org/officeDocument/2006/relationships/image" Target="../media/image325.png"/><Relationship Id="rId5" Type="http://schemas.openxmlformats.org/officeDocument/2006/relationships/image" Target="../media/image320.png"/><Relationship Id="rId15" Type="http://schemas.openxmlformats.org/officeDocument/2006/relationships/image" Target="../media/image328.png"/><Relationship Id="rId10" Type="http://schemas.openxmlformats.org/officeDocument/2006/relationships/image" Target="../media/image324.png"/><Relationship Id="rId19" Type="http://schemas.openxmlformats.org/officeDocument/2006/relationships/image" Target="../media/image332.png"/><Relationship Id="rId4" Type="http://schemas.openxmlformats.org/officeDocument/2006/relationships/image" Target="../media/image319.png"/><Relationship Id="rId9" Type="http://schemas.openxmlformats.org/officeDocument/2006/relationships/image" Target="../media/image323.png"/><Relationship Id="rId14" Type="http://schemas.openxmlformats.org/officeDocument/2006/relationships/image" Target="../media/image327.png"/><Relationship Id="rId22" Type="http://schemas.openxmlformats.org/officeDocument/2006/relationships/image" Target="../media/image334.png"/></Relationships>
</file>

<file path=ppt/slides/_rels/slide34.xml.rels><?xml version="1.0" encoding="UTF-8" standalone="yes"?>
<Relationships xmlns="http://schemas.openxmlformats.org/package/2006/relationships"><Relationship Id="rId8" Type="http://schemas.openxmlformats.org/officeDocument/2006/relationships/image" Target="../media/image341.png"/><Relationship Id="rId13" Type="http://schemas.openxmlformats.org/officeDocument/2006/relationships/image" Target="../media/image346.png"/><Relationship Id="rId3" Type="http://schemas.openxmlformats.org/officeDocument/2006/relationships/image" Target="../media/image336.png"/><Relationship Id="rId7" Type="http://schemas.openxmlformats.org/officeDocument/2006/relationships/image" Target="../media/image340.png"/><Relationship Id="rId12" Type="http://schemas.openxmlformats.org/officeDocument/2006/relationships/image" Target="../media/image345.png"/><Relationship Id="rId2" Type="http://schemas.openxmlformats.org/officeDocument/2006/relationships/image" Target="../media/image335.png"/><Relationship Id="rId1" Type="http://schemas.openxmlformats.org/officeDocument/2006/relationships/slideLayout" Target="../slideLayouts/slideLayout327.xml"/><Relationship Id="rId6" Type="http://schemas.openxmlformats.org/officeDocument/2006/relationships/image" Target="../media/image339.png"/><Relationship Id="rId11" Type="http://schemas.openxmlformats.org/officeDocument/2006/relationships/image" Target="../media/image344.png"/><Relationship Id="rId5" Type="http://schemas.openxmlformats.org/officeDocument/2006/relationships/image" Target="../media/image338.png"/><Relationship Id="rId10" Type="http://schemas.openxmlformats.org/officeDocument/2006/relationships/image" Target="../media/image343.png"/><Relationship Id="rId4" Type="http://schemas.openxmlformats.org/officeDocument/2006/relationships/image" Target="../media/image337.png"/><Relationship Id="rId9" Type="http://schemas.openxmlformats.org/officeDocument/2006/relationships/image" Target="../media/image342.png"/></Relationships>
</file>

<file path=ppt/slides/_rels/slide35.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image" Target="../media/image347.png"/><Relationship Id="rId1" Type="http://schemas.openxmlformats.org/officeDocument/2006/relationships/slideLayout" Target="../slideLayouts/slideLayout327.xml"/><Relationship Id="rId4" Type="http://schemas.openxmlformats.org/officeDocument/2006/relationships/image" Target="../media/image349.png"/></Relationships>
</file>

<file path=ppt/slides/_rels/slide36.xml.rels><?xml version="1.0" encoding="UTF-8" standalone="yes"?>
<Relationships xmlns="http://schemas.openxmlformats.org/package/2006/relationships"><Relationship Id="rId8" Type="http://schemas.openxmlformats.org/officeDocument/2006/relationships/image" Target="../media/image355.png"/><Relationship Id="rId3" Type="http://schemas.openxmlformats.org/officeDocument/2006/relationships/image" Target="../media/image350.png"/><Relationship Id="rId7" Type="http://schemas.openxmlformats.org/officeDocument/2006/relationships/image" Target="../media/image354.png"/><Relationship Id="rId2" Type="http://schemas.openxmlformats.org/officeDocument/2006/relationships/notesSlide" Target="../notesSlides/notesSlide22.xml"/><Relationship Id="rId1" Type="http://schemas.openxmlformats.org/officeDocument/2006/relationships/slideLayout" Target="../slideLayouts/slideLayout209.xml"/><Relationship Id="rId6" Type="http://schemas.openxmlformats.org/officeDocument/2006/relationships/image" Target="../media/image353.png"/><Relationship Id="rId5" Type="http://schemas.openxmlformats.org/officeDocument/2006/relationships/image" Target="../media/image352.png"/><Relationship Id="rId4" Type="http://schemas.openxmlformats.org/officeDocument/2006/relationships/image" Target="../media/image351.png"/><Relationship Id="rId9" Type="http://schemas.microsoft.com/office/2007/relationships/hdphoto" Target="../media/hdphoto1.wdp"/></Relationships>
</file>

<file path=ppt/slides/_rels/slide37.xml.rels><?xml version="1.0" encoding="UTF-8" standalone="yes"?>
<Relationships xmlns="http://schemas.openxmlformats.org/package/2006/relationships"><Relationship Id="rId8" Type="http://schemas.openxmlformats.org/officeDocument/2006/relationships/image" Target="../media/image354.png"/><Relationship Id="rId3" Type="http://schemas.openxmlformats.org/officeDocument/2006/relationships/image" Target="../media/image356.png"/><Relationship Id="rId7" Type="http://schemas.openxmlformats.org/officeDocument/2006/relationships/image" Target="../media/image353.png"/><Relationship Id="rId2" Type="http://schemas.openxmlformats.org/officeDocument/2006/relationships/notesSlide" Target="../notesSlides/notesSlide23.xml"/><Relationship Id="rId1" Type="http://schemas.openxmlformats.org/officeDocument/2006/relationships/slideLayout" Target="../slideLayouts/slideLayout209.xml"/><Relationship Id="rId6" Type="http://schemas.openxmlformats.org/officeDocument/2006/relationships/image" Target="../media/image352.png"/><Relationship Id="rId5" Type="http://schemas.openxmlformats.org/officeDocument/2006/relationships/image" Target="../media/image351.png"/><Relationship Id="rId10" Type="http://schemas.microsoft.com/office/2007/relationships/hdphoto" Target="../media/hdphoto1.wdp"/><Relationship Id="rId4" Type="http://schemas.openxmlformats.org/officeDocument/2006/relationships/image" Target="../media/image350.png"/><Relationship Id="rId9" Type="http://schemas.openxmlformats.org/officeDocument/2006/relationships/image" Target="../media/image355.png"/></Relationships>
</file>

<file path=ppt/slides/_rels/slide38.xml.rels><?xml version="1.0" encoding="UTF-8" standalone="yes"?>
<Relationships xmlns="http://schemas.openxmlformats.org/package/2006/relationships"><Relationship Id="rId3" Type="http://schemas.openxmlformats.org/officeDocument/2006/relationships/image" Target="../media/image357.png"/><Relationship Id="rId2" Type="http://schemas.openxmlformats.org/officeDocument/2006/relationships/notesSlide" Target="../notesSlides/notesSlide24.xml"/><Relationship Id="rId1" Type="http://schemas.openxmlformats.org/officeDocument/2006/relationships/slideLayout" Target="../slideLayouts/slideLayout209.xml"/><Relationship Id="rId5" Type="http://schemas.microsoft.com/office/2007/relationships/hdphoto" Target="../media/hdphoto2.wdp"/><Relationship Id="rId4" Type="http://schemas.openxmlformats.org/officeDocument/2006/relationships/image" Target="../media/image358.png"/></Relationships>
</file>

<file path=ppt/slides/_rels/slide39.xml.rels><?xml version="1.0" encoding="UTF-8" standalone="yes"?>
<Relationships xmlns="http://schemas.openxmlformats.org/package/2006/relationships"><Relationship Id="rId3" Type="http://schemas.openxmlformats.org/officeDocument/2006/relationships/image" Target="../media/image359.png"/><Relationship Id="rId2" Type="http://schemas.openxmlformats.org/officeDocument/2006/relationships/notesSlide" Target="../notesSlides/notesSlide25.xml"/><Relationship Id="rId1" Type="http://schemas.openxmlformats.org/officeDocument/2006/relationships/slideLayout" Target="../slideLayouts/slideLayout204.xml"/><Relationship Id="rId5" Type="http://schemas.openxmlformats.org/officeDocument/2006/relationships/image" Target="../media/image360.emf"/><Relationship Id="rId4" Type="http://schemas.openxmlformats.org/officeDocument/2006/relationships/hyperlink" Target="https://ec2demo.thingworx.com/Thingworx/Runtime/index.html#master=AcmeTractor.Master&amp;mashup=AcmeTractor.Schedule"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3.xml"/><Relationship Id="rId1" Type="http://schemas.openxmlformats.org/officeDocument/2006/relationships/slideLayout" Target="../slideLayouts/slideLayout41.xml"/><Relationship Id="rId5" Type="http://schemas.openxmlformats.org/officeDocument/2006/relationships/image" Target="../media/image81.png"/><Relationship Id="rId4" Type="http://schemas.openxmlformats.org/officeDocument/2006/relationships/image" Target="../media/image80.png"/></Relationships>
</file>

<file path=ppt/slides/_rels/slide40.xml.rels><?xml version="1.0" encoding="UTF-8" standalone="yes"?>
<Relationships xmlns="http://schemas.openxmlformats.org/package/2006/relationships"><Relationship Id="rId3" Type="http://schemas.openxmlformats.org/officeDocument/2006/relationships/image" Target="../media/image361.png"/><Relationship Id="rId2" Type="http://schemas.openxmlformats.org/officeDocument/2006/relationships/notesSlide" Target="../notesSlides/notesSlide26.xml"/><Relationship Id="rId1" Type="http://schemas.openxmlformats.org/officeDocument/2006/relationships/slideLayout" Target="../slideLayouts/slideLayout210.xml"/></Relationships>
</file>

<file path=ppt/slides/_rels/slide41.xml.rels><?xml version="1.0" encoding="UTF-8" standalone="yes"?>
<Relationships xmlns="http://schemas.openxmlformats.org/package/2006/relationships"><Relationship Id="rId8" Type="http://schemas.openxmlformats.org/officeDocument/2006/relationships/image" Target="../media/image367.png"/><Relationship Id="rId13" Type="http://schemas.openxmlformats.org/officeDocument/2006/relationships/image" Target="../media/image372.png"/><Relationship Id="rId18" Type="http://schemas.openxmlformats.org/officeDocument/2006/relationships/image" Target="../media/image377.jpeg"/><Relationship Id="rId26" Type="http://schemas.openxmlformats.org/officeDocument/2006/relationships/image" Target="../media/image385.jpeg"/><Relationship Id="rId3" Type="http://schemas.openxmlformats.org/officeDocument/2006/relationships/image" Target="../media/image362.jpg"/><Relationship Id="rId21" Type="http://schemas.openxmlformats.org/officeDocument/2006/relationships/image" Target="../media/image380.jpg"/><Relationship Id="rId7" Type="http://schemas.openxmlformats.org/officeDocument/2006/relationships/image" Target="../media/image366.png"/><Relationship Id="rId12" Type="http://schemas.openxmlformats.org/officeDocument/2006/relationships/image" Target="../media/image371.png"/><Relationship Id="rId17" Type="http://schemas.openxmlformats.org/officeDocument/2006/relationships/image" Target="../media/image376.jpeg"/><Relationship Id="rId25" Type="http://schemas.openxmlformats.org/officeDocument/2006/relationships/image" Target="../media/image384.jpg"/><Relationship Id="rId2" Type="http://schemas.openxmlformats.org/officeDocument/2006/relationships/notesSlide" Target="../notesSlides/notesSlide27.xml"/><Relationship Id="rId16" Type="http://schemas.openxmlformats.org/officeDocument/2006/relationships/image" Target="../media/image375.gif"/><Relationship Id="rId20" Type="http://schemas.openxmlformats.org/officeDocument/2006/relationships/image" Target="../media/image379.png"/><Relationship Id="rId29" Type="http://schemas.openxmlformats.org/officeDocument/2006/relationships/image" Target="../media/image388.png"/><Relationship Id="rId1" Type="http://schemas.openxmlformats.org/officeDocument/2006/relationships/slideLayout" Target="../slideLayouts/slideLayout211.xml"/><Relationship Id="rId6" Type="http://schemas.openxmlformats.org/officeDocument/2006/relationships/image" Target="../media/image365.jpeg"/><Relationship Id="rId11" Type="http://schemas.openxmlformats.org/officeDocument/2006/relationships/image" Target="../media/image370.png"/><Relationship Id="rId24" Type="http://schemas.openxmlformats.org/officeDocument/2006/relationships/image" Target="../media/image383.jpeg"/><Relationship Id="rId32" Type="http://schemas.openxmlformats.org/officeDocument/2006/relationships/image" Target="../media/image391.png"/><Relationship Id="rId5" Type="http://schemas.openxmlformats.org/officeDocument/2006/relationships/image" Target="../media/image364.jpeg"/><Relationship Id="rId15" Type="http://schemas.openxmlformats.org/officeDocument/2006/relationships/image" Target="../media/image374.jpg"/><Relationship Id="rId23" Type="http://schemas.openxmlformats.org/officeDocument/2006/relationships/image" Target="../media/image382.png"/><Relationship Id="rId28" Type="http://schemas.openxmlformats.org/officeDocument/2006/relationships/image" Target="../media/image387.png"/><Relationship Id="rId10" Type="http://schemas.openxmlformats.org/officeDocument/2006/relationships/image" Target="../media/image369.jpeg"/><Relationship Id="rId19" Type="http://schemas.openxmlformats.org/officeDocument/2006/relationships/image" Target="../media/image378.png"/><Relationship Id="rId31" Type="http://schemas.openxmlformats.org/officeDocument/2006/relationships/image" Target="../media/image390.jpeg"/><Relationship Id="rId4" Type="http://schemas.openxmlformats.org/officeDocument/2006/relationships/image" Target="../media/image363.jpg"/><Relationship Id="rId9" Type="http://schemas.openxmlformats.org/officeDocument/2006/relationships/image" Target="../media/image368.png"/><Relationship Id="rId14" Type="http://schemas.openxmlformats.org/officeDocument/2006/relationships/image" Target="../media/image373.png"/><Relationship Id="rId22" Type="http://schemas.openxmlformats.org/officeDocument/2006/relationships/image" Target="../media/image381.jpeg"/><Relationship Id="rId27" Type="http://schemas.openxmlformats.org/officeDocument/2006/relationships/image" Target="../media/image386.jpg"/><Relationship Id="rId30" Type="http://schemas.openxmlformats.org/officeDocument/2006/relationships/image" Target="../media/image389.png"/></Relationships>
</file>

<file path=ppt/slides/_rels/slide42.xml.rels><?xml version="1.0" encoding="UTF-8" standalone="yes"?>
<Relationships xmlns="http://schemas.openxmlformats.org/package/2006/relationships"><Relationship Id="rId8" Type="http://schemas.openxmlformats.org/officeDocument/2006/relationships/image" Target="../media/image398.jpeg"/><Relationship Id="rId13" Type="http://schemas.openxmlformats.org/officeDocument/2006/relationships/image" Target="../media/image403.png"/><Relationship Id="rId3" Type="http://schemas.openxmlformats.org/officeDocument/2006/relationships/image" Target="../media/image393.png"/><Relationship Id="rId7" Type="http://schemas.openxmlformats.org/officeDocument/2006/relationships/image" Target="../media/image397.png"/><Relationship Id="rId12" Type="http://schemas.openxmlformats.org/officeDocument/2006/relationships/image" Target="../media/image402.png"/><Relationship Id="rId17" Type="http://schemas.openxmlformats.org/officeDocument/2006/relationships/hyperlink" Target="file:///F:\brochure\Thingworxs\IOT%20&amp;%20AR%20JIA-MEIN\System%20Architecture%20&amp;%20Connectivity.pptx" TargetMode="External"/><Relationship Id="rId2" Type="http://schemas.openxmlformats.org/officeDocument/2006/relationships/image" Target="../media/image392.jpeg"/><Relationship Id="rId16" Type="http://schemas.openxmlformats.org/officeDocument/2006/relationships/image" Target="../media/image406.png"/><Relationship Id="rId1" Type="http://schemas.openxmlformats.org/officeDocument/2006/relationships/slideLayout" Target="../slideLayouts/slideLayout169.xml"/><Relationship Id="rId6" Type="http://schemas.openxmlformats.org/officeDocument/2006/relationships/image" Target="../media/image396.jpeg"/><Relationship Id="rId11" Type="http://schemas.openxmlformats.org/officeDocument/2006/relationships/image" Target="../media/image401.png"/><Relationship Id="rId5" Type="http://schemas.openxmlformats.org/officeDocument/2006/relationships/image" Target="../media/image395.png"/><Relationship Id="rId15" Type="http://schemas.openxmlformats.org/officeDocument/2006/relationships/image" Target="../media/image405.PNG"/><Relationship Id="rId10" Type="http://schemas.openxmlformats.org/officeDocument/2006/relationships/image" Target="../media/image400.png"/><Relationship Id="rId4" Type="http://schemas.openxmlformats.org/officeDocument/2006/relationships/image" Target="../media/image394.png"/><Relationship Id="rId9" Type="http://schemas.openxmlformats.org/officeDocument/2006/relationships/image" Target="../media/image399.jpeg"/><Relationship Id="rId14" Type="http://schemas.openxmlformats.org/officeDocument/2006/relationships/image" Target="../media/image404.png"/></Relationships>
</file>

<file path=ppt/slides/_rels/slide43.xml.rels><?xml version="1.0" encoding="UTF-8" standalone="yes"?>
<Relationships xmlns="http://schemas.openxmlformats.org/package/2006/relationships"><Relationship Id="rId8" Type="http://schemas.openxmlformats.org/officeDocument/2006/relationships/image" Target="../media/image412.png"/><Relationship Id="rId3" Type="http://schemas.openxmlformats.org/officeDocument/2006/relationships/image" Target="../media/image407.png"/><Relationship Id="rId7" Type="http://schemas.openxmlformats.org/officeDocument/2006/relationships/image" Target="../media/image411.png"/><Relationship Id="rId2" Type="http://schemas.openxmlformats.org/officeDocument/2006/relationships/notesSlide" Target="../notesSlides/notesSlide28.xml"/><Relationship Id="rId1" Type="http://schemas.openxmlformats.org/officeDocument/2006/relationships/slideLayout" Target="../slideLayouts/slideLayout280.xml"/><Relationship Id="rId6" Type="http://schemas.openxmlformats.org/officeDocument/2006/relationships/image" Target="../media/image410.png"/><Relationship Id="rId5" Type="http://schemas.openxmlformats.org/officeDocument/2006/relationships/image" Target="../media/image409.png"/><Relationship Id="rId10" Type="http://schemas.openxmlformats.org/officeDocument/2006/relationships/image" Target="../media/image414.png"/><Relationship Id="rId4" Type="http://schemas.openxmlformats.org/officeDocument/2006/relationships/image" Target="../media/image408.png"/><Relationship Id="rId9" Type="http://schemas.openxmlformats.org/officeDocument/2006/relationships/image" Target="../media/image413.png"/></Relationships>
</file>

<file path=ppt/slides/_rels/slide44.xml.rels><?xml version="1.0" encoding="UTF-8" standalone="yes"?>
<Relationships xmlns="http://schemas.openxmlformats.org/package/2006/relationships"><Relationship Id="rId3" Type="http://schemas.openxmlformats.org/officeDocument/2006/relationships/image" Target="../media/image415.png"/><Relationship Id="rId7" Type="http://schemas.openxmlformats.org/officeDocument/2006/relationships/image" Target="../media/image419.png"/><Relationship Id="rId2" Type="http://schemas.openxmlformats.org/officeDocument/2006/relationships/notesSlide" Target="../notesSlides/notesSlide29.xml"/><Relationship Id="rId1" Type="http://schemas.openxmlformats.org/officeDocument/2006/relationships/slideLayout" Target="../slideLayouts/slideLayout254.xml"/><Relationship Id="rId6" Type="http://schemas.openxmlformats.org/officeDocument/2006/relationships/image" Target="../media/image418.png"/><Relationship Id="rId5" Type="http://schemas.openxmlformats.org/officeDocument/2006/relationships/image" Target="../media/image417.png"/><Relationship Id="rId4" Type="http://schemas.openxmlformats.org/officeDocument/2006/relationships/image" Target="../media/image416.png"/></Relationships>
</file>

<file path=ppt/slides/_rels/slide45.xml.rels><?xml version="1.0" encoding="UTF-8" standalone="yes"?>
<Relationships xmlns="http://schemas.openxmlformats.org/package/2006/relationships"><Relationship Id="rId2" Type="http://schemas.openxmlformats.org/officeDocument/2006/relationships/image" Target="../media/image420.png"/><Relationship Id="rId1" Type="http://schemas.openxmlformats.org/officeDocument/2006/relationships/slideLayout" Target="../slideLayouts/slideLayout40.xml"/></Relationships>
</file>

<file path=ppt/slides/_rels/slide46.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30.xml"/><Relationship Id="rId1" Type="http://schemas.openxmlformats.org/officeDocument/2006/relationships/slideLayout" Target="../slideLayouts/slideLayout218.xml"/></Relationships>
</file>

<file path=ppt/slides/_rels/slide47.xml.rels><?xml version="1.0" encoding="UTF-8" standalone="yes"?>
<Relationships xmlns="http://schemas.openxmlformats.org/package/2006/relationships"><Relationship Id="rId3" Type="http://schemas.openxmlformats.org/officeDocument/2006/relationships/image" Target="../media/image421.png"/><Relationship Id="rId2" Type="http://schemas.openxmlformats.org/officeDocument/2006/relationships/notesSlide" Target="../notesSlides/notesSlide31.xml"/><Relationship Id="rId1" Type="http://schemas.openxmlformats.org/officeDocument/2006/relationships/slideLayout" Target="../slideLayouts/slideLayout218.xml"/></Relationships>
</file>

<file path=ppt/slides/_rels/slide48.xml.rels><?xml version="1.0" encoding="UTF-8" standalone="yes"?>
<Relationships xmlns="http://schemas.openxmlformats.org/package/2006/relationships"><Relationship Id="rId3" Type="http://schemas.openxmlformats.org/officeDocument/2006/relationships/image" Target="../media/image422.png"/><Relationship Id="rId2" Type="http://schemas.openxmlformats.org/officeDocument/2006/relationships/notesSlide" Target="../notesSlides/notesSlide32.xml"/><Relationship Id="rId1" Type="http://schemas.openxmlformats.org/officeDocument/2006/relationships/slideLayout" Target="../slideLayouts/slideLayout6.xml"/><Relationship Id="rId5" Type="http://schemas.openxmlformats.org/officeDocument/2006/relationships/image" Target="../media/image424.png"/><Relationship Id="rId4" Type="http://schemas.openxmlformats.org/officeDocument/2006/relationships/image" Target="../media/image423.png"/></Relationships>
</file>

<file path=ppt/slides/_rels/slide49.xml.rels><?xml version="1.0" encoding="UTF-8" standalone="yes"?>
<Relationships xmlns="http://schemas.openxmlformats.org/package/2006/relationships"><Relationship Id="rId2" Type="http://schemas.openxmlformats.org/officeDocument/2006/relationships/image" Target="../media/image425.png"/><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xml"/><Relationship Id="rId1" Type="http://schemas.openxmlformats.org/officeDocument/2006/relationships/slideLayout" Target="../slideLayouts/slideLayout135.xml"/><Relationship Id="rId4" Type="http://schemas.openxmlformats.org/officeDocument/2006/relationships/chart" Target="../charts/chart1.xml"/></Relationships>
</file>

<file path=ppt/slides/_rels/slide50.xml.rels><?xml version="1.0" encoding="UTF-8" standalone="yes"?>
<Relationships xmlns="http://schemas.openxmlformats.org/package/2006/relationships"><Relationship Id="rId2" Type="http://schemas.openxmlformats.org/officeDocument/2006/relationships/image" Target="../media/image426.png"/><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3" Type="http://schemas.openxmlformats.org/officeDocument/2006/relationships/image" Target="../media/image258.jpeg"/><Relationship Id="rId2" Type="http://schemas.openxmlformats.org/officeDocument/2006/relationships/notesSlide" Target="../notesSlides/notesSlide33.xml"/><Relationship Id="rId1" Type="http://schemas.openxmlformats.org/officeDocument/2006/relationships/slideLayout" Target="../slideLayouts/slideLayout14.xml"/><Relationship Id="rId6" Type="http://schemas.openxmlformats.org/officeDocument/2006/relationships/image" Target="../media/image429.png"/><Relationship Id="rId5" Type="http://schemas.openxmlformats.org/officeDocument/2006/relationships/image" Target="../media/image428.emf"/><Relationship Id="rId4" Type="http://schemas.openxmlformats.org/officeDocument/2006/relationships/image" Target="../media/image427.png"/></Relationships>
</file>

<file path=ppt/slides/_rels/slide52.xml.rels><?xml version="1.0" encoding="UTF-8" standalone="yes"?>
<Relationships xmlns="http://schemas.openxmlformats.org/package/2006/relationships"><Relationship Id="rId3" Type="http://schemas.openxmlformats.org/officeDocument/2006/relationships/image" Target="../media/image430.jpg"/><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3" Type="http://schemas.openxmlformats.org/officeDocument/2006/relationships/image" Target="../media/image431.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432.png"/></Relationships>
</file>

<file path=ppt/slides/_rels/slide54.xml.rels><?xml version="1.0" encoding="UTF-8" standalone="yes"?>
<Relationships xmlns="http://schemas.openxmlformats.org/package/2006/relationships"><Relationship Id="rId8" Type="http://schemas.openxmlformats.org/officeDocument/2006/relationships/image" Target="../media/image434.png"/><Relationship Id="rId3" Type="http://schemas.openxmlformats.org/officeDocument/2006/relationships/slideLayout" Target="../slideLayouts/slideLayout14.xml"/><Relationship Id="rId7" Type="http://schemas.openxmlformats.org/officeDocument/2006/relationships/image" Target="../media/image433.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28.emf"/><Relationship Id="rId5" Type="http://schemas.openxmlformats.org/officeDocument/2006/relationships/oleObject" Target="../embeddings/oleObject3.bin"/><Relationship Id="rId4" Type="http://schemas.openxmlformats.org/officeDocument/2006/relationships/notesSlide" Target="../notesSlides/notesSlide36.xml"/><Relationship Id="rId9" Type="http://schemas.openxmlformats.org/officeDocument/2006/relationships/image" Target="../media/image435.png"/></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image" Target="../media/image436.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28.emf"/><Relationship Id="rId5" Type="http://schemas.openxmlformats.org/officeDocument/2006/relationships/oleObject" Target="../embeddings/oleObject4.bin"/><Relationship Id="rId4" Type="http://schemas.openxmlformats.org/officeDocument/2006/relationships/notesSlide" Target="../notesSlides/notesSlide37.xml"/></Relationships>
</file>

<file path=ppt/slides/_rels/slide56.xml.rels><?xml version="1.0" encoding="UTF-8" standalone="yes"?>
<Relationships xmlns="http://schemas.openxmlformats.org/package/2006/relationships"><Relationship Id="rId3" Type="http://schemas.openxmlformats.org/officeDocument/2006/relationships/image" Target="../media/image437.png"/><Relationship Id="rId2" Type="http://schemas.openxmlformats.org/officeDocument/2006/relationships/notesSlide" Target="../notesSlides/notesSlide38.xml"/><Relationship Id="rId1" Type="http://schemas.openxmlformats.org/officeDocument/2006/relationships/slideLayout" Target="../slideLayouts/slideLayout48.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43.xml"/><Relationship Id="rId7" Type="http://schemas.openxmlformats.org/officeDocument/2006/relationships/image" Target="../media/image438.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28.emf"/><Relationship Id="rId5" Type="http://schemas.openxmlformats.org/officeDocument/2006/relationships/oleObject" Target="../embeddings/oleObject5.bin"/><Relationship Id="rId4" Type="http://schemas.openxmlformats.org/officeDocument/2006/relationships/notesSlide" Target="../notesSlides/notesSlide39.xml"/></Relationships>
</file>

<file path=ppt/slides/_rels/slide58.xml.rels><?xml version="1.0" encoding="UTF-8" standalone="yes"?>
<Relationships xmlns="http://schemas.openxmlformats.org/package/2006/relationships"><Relationship Id="rId8" Type="http://schemas.openxmlformats.org/officeDocument/2006/relationships/image" Target="../media/image440.png"/><Relationship Id="rId3" Type="http://schemas.openxmlformats.org/officeDocument/2006/relationships/slideLayout" Target="../slideLayouts/slideLayout43.xml"/><Relationship Id="rId7" Type="http://schemas.openxmlformats.org/officeDocument/2006/relationships/image" Target="../media/image439.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28.emf"/><Relationship Id="rId5" Type="http://schemas.openxmlformats.org/officeDocument/2006/relationships/oleObject" Target="../embeddings/oleObject6.bin"/><Relationship Id="rId4" Type="http://schemas.openxmlformats.org/officeDocument/2006/relationships/notesSlide" Target="../notesSlides/notesSlide40.xml"/><Relationship Id="rId9" Type="http://schemas.openxmlformats.org/officeDocument/2006/relationships/image" Target="../media/image441.png"/></Relationships>
</file>

<file path=ppt/slides/_rels/slide59.xml.rels><?xml version="1.0" encoding="UTF-8" standalone="yes"?>
<Relationships xmlns="http://schemas.openxmlformats.org/package/2006/relationships"><Relationship Id="rId3" Type="http://schemas.openxmlformats.org/officeDocument/2006/relationships/image" Target="../media/image442.png"/><Relationship Id="rId2" Type="http://schemas.openxmlformats.org/officeDocument/2006/relationships/notesSlide" Target="../notesSlides/notesSlide41.xml"/><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3" Type="http://schemas.openxmlformats.org/officeDocument/2006/relationships/image" Target="../media/image83.png"/><Relationship Id="rId7" Type="http://schemas.openxmlformats.org/officeDocument/2006/relationships/image" Target="../media/image87.png"/><Relationship Id="rId12" Type="http://schemas.openxmlformats.org/officeDocument/2006/relationships/image" Target="../media/image92.png"/><Relationship Id="rId2" Type="http://schemas.openxmlformats.org/officeDocument/2006/relationships/notesSlide" Target="../notesSlides/notesSlide5.xml"/><Relationship Id="rId1" Type="http://schemas.openxmlformats.org/officeDocument/2006/relationships/slideLayout" Target="../slideLayouts/slideLayout135.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60.xml.rels><?xml version="1.0" encoding="UTF-8" standalone="yes"?>
<Relationships xmlns="http://schemas.openxmlformats.org/package/2006/relationships"><Relationship Id="rId3" Type="http://schemas.openxmlformats.org/officeDocument/2006/relationships/image" Target="../media/image443.png"/><Relationship Id="rId2" Type="http://schemas.openxmlformats.org/officeDocument/2006/relationships/notesSlide" Target="../notesSlides/notesSlide42.xml"/><Relationship Id="rId1" Type="http://schemas.openxmlformats.org/officeDocument/2006/relationships/slideLayout" Target="../slideLayouts/slideLayout4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4.jpeg"/><Relationship Id="rId18" Type="http://schemas.openxmlformats.org/officeDocument/2006/relationships/image" Target="../media/image109.png"/><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3.png"/><Relationship Id="rId17" Type="http://schemas.openxmlformats.org/officeDocument/2006/relationships/image" Target="../media/image108.png"/><Relationship Id="rId2" Type="http://schemas.openxmlformats.org/officeDocument/2006/relationships/notesSlide" Target="../notesSlides/notesSlide6.xml"/><Relationship Id="rId16" Type="http://schemas.openxmlformats.org/officeDocument/2006/relationships/image" Target="../media/image107.png"/><Relationship Id="rId20" Type="http://schemas.openxmlformats.org/officeDocument/2006/relationships/image" Target="../media/image111.jpeg"/><Relationship Id="rId1" Type="http://schemas.openxmlformats.org/officeDocument/2006/relationships/slideLayout" Target="../slideLayouts/slideLayout135.xml"/><Relationship Id="rId6" Type="http://schemas.openxmlformats.org/officeDocument/2006/relationships/image" Target="../media/image97.png"/><Relationship Id="rId11" Type="http://schemas.openxmlformats.org/officeDocument/2006/relationships/image" Target="../media/image102.png"/><Relationship Id="rId5" Type="http://schemas.openxmlformats.org/officeDocument/2006/relationships/image" Target="../media/image96.png"/><Relationship Id="rId15" Type="http://schemas.openxmlformats.org/officeDocument/2006/relationships/image" Target="../media/image106.png"/><Relationship Id="rId10" Type="http://schemas.openxmlformats.org/officeDocument/2006/relationships/image" Target="../media/image101.png"/><Relationship Id="rId19" Type="http://schemas.openxmlformats.org/officeDocument/2006/relationships/image" Target="../media/image110.png"/><Relationship Id="rId4" Type="http://schemas.openxmlformats.org/officeDocument/2006/relationships/image" Target="../media/image95.png"/><Relationship Id="rId9" Type="http://schemas.openxmlformats.org/officeDocument/2006/relationships/image" Target="../media/image100.png"/><Relationship Id="rId14" Type="http://schemas.openxmlformats.org/officeDocument/2006/relationships/image" Target="../media/image105.png"/></Relationships>
</file>

<file path=ppt/slides/_rels/slide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g"/><Relationship Id="rId1" Type="http://schemas.openxmlformats.org/officeDocument/2006/relationships/slideLayout" Target="../slideLayouts/slideLayout135.xml"/></Relationships>
</file>

<file path=ppt/slides/_rels/slide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7.xml"/><Relationship Id="rId1" Type="http://schemas.openxmlformats.org/officeDocument/2006/relationships/slideLayout" Target="../slideLayouts/slideLayout1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366702A-A5B0-46BB-A10E-BA896D2BB8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3902" t="20730" r="13993" b="17331"/>
          <a:stretch/>
        </p:blipFill>
        <p:spPr>
          <a:xfrm>
            <a:off x="0" y="-18162"/>
            <a:ext cx="12192000" cy="6876162"/>
          </a:xfrm>
          <a:prstGeom prst="rect">
            <a:avLst/>
          </a:prstGeom>
        </p:spPr>
      </p:pic>
      <p:pic>
        <p:nvPicPr>
          <p:cNvPr id="9" name="Picture 8">
            <a:extLst>
              <a:ext uri="{FF2B5EF4-FFF2-40B4-BE49-F238E27FC236}">
                <a16:creationId xmlns:a16="http://schemas.microsoft.com/office/drawing/2014/main" id="{8E0E500A-DD09-43D1-B80D-AAB736AAD7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6906" y="634652"/>
            <a:ext cx="3576475" cy="744561"/>
          </a:xfrm>
          <a:prstGeom prst="rect">
            <a:avLst/>
          </a:prstGeom>
        </p:spPr>
      </p:pic>
      <p:sp>
        <p:nvSpPr>
          <p:cNvPr id="14" name="Rectangle 13">
            <a:extLst>
              <a:ext uri="{FF2B5EF4-FFF2-40B4-BE49-F238E27FC236}">
                <a16:creationId xmlns:a16="http://schemas.microsoft.com/office/drawing/2014/main" id="{16DF4747-4FE1-4577-990B-633D73406CF6}"/>
              </a:ext>
            </a:extLst>
          </p:cNvPr>
          <p:cNvSpPr/>
          <p:nvPr/>
        </p:nvSpPr>
        <p:spPr>
          <a:xfrm rot="16200000">
            <a:off x="4533900" y="-800100"/>
            <a:ext cx="3124200" cy="12192000"/>
          </a:xfrm>
          <a:prstGeom prst="rect">
            <a:avLst/>
          </a:prstGeom>
          <a:gradFill flip="none" rotWithShape="1">
            <a:gsLst>
              <a:gs pos="79000">
                <a:srgbClr val="000000">
                  <a:alpha val="25000"/>
                </a:srgbClr>
              </a:gs>
              <a:gs pos="98030">
                <a:srgbClr val="000000">
                  <a:alpha val="0"/>
                </a:srgbClr>
              </a:gs>
              <a:gs pos="89000">
                <a:srgbClr val="000000">
                  <a:alpha val="10000"/>
                </a:srgbClr>
              </a:gs>
              <a:gs pos="41000">
                <a:srgbClr val="000000">
                  <a:alpha val="85000"/>
                </a:srgbClr>
              </a:gs>
              <a:gs pos="52000">
                <a:srgbClr val="000000">
                  <a:alpha val="75000"/>
                </a:srgbClr>
              </a:gs>
              <a:gs pos="63000">
                <a:srgbClr val="000000">
                  <a:alpha val="50000"/>
                </a:srgbClr>
              </a:gs>
              <a:gs pos="20000">
                <a:srgbClr val="000000"/>
              </a:gs>
            </a:gsLst>
            <a:lin ang="21594000" scaled="0"/>
            <a:tileRect/>
          </a:gradFill>
          <a:ln w="19050">
            <a:noFill/>
          </a:ln>
        </p:spPr>
        <p:txBody>
          <a:bodyPr vert="horz" lIns="454941" tIns="37851" rIns="75702" bIns="72790" rtlCol="0" anchor="b">
            <a:noAutofit/>
          </a:bodyPr>
          <a:lstStyle/>
          <a:p>
            <a:pPr marL="273582" marR="0" lvl="0" indent="-273582" algn="l" defTabSz="1086775" rtl="0" eaLnBrk="1" fontAlgn="auto" latinLnBrk="0" hangingPunct="1">
              <a:lnSpc>
                <a:spcPct val="90000"/>
              </a:lnSpc>
              <a:spcBef>
                <a:spcPts val="2400"/>
              </a:spcBef>
              <a:spcAft>
                <a:spcPts val="0"/>
              </a:spcAft>
              <a:buClr>
                <a:srgbClr val="3D4647"/>
              </a:buClr>
              <a:buSzTx/>
              <a:buFont typeface="Arial" pitchFamily="34" charset="0"/>
              <a:buChar char="•"/>
              <a:tabLst/>
              <a:defRPr/>
            </a:pPr>
            <a:endParaRPr kumimoji="0" lang="en-US" sz="1094"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8" name="Subtitle 17"/>
          <p:cNvSpPr>
            <a:spLocks noGrp="1"/>
          </p:cNvSpPr>
          <p:nvPr>
            <p:ph type="subTitle" idx="1"/>
          </p:nvPr>
        </p:nvSpPr>
        <p:spPr>
          <a:xfrm>
            <a:off x="8185727" y="5444930"/>
            <a:ext cx="3291840" cy="246221"/>
          </a:xfrm>
        </p:spPr>
        <p:txBody>
          <a:bodyPr/>
          <a:lstStyle/>
          <a:p>
            <a:r>
              <a:rPr lang="en-US"/>
              <a:t>T.C</a:t>
            </a:r>
            <a:endParaRPr lang="en-US" dirty="0"/>
          </a:p>
        </p:txBody>
      </p:sp>
      <p:sp>
        <p:nvSpPr>
          <p:cNvPr id="19" name="Text Placeholder 18"/>
          <p:cNvSpPr>
            <a:spLocks noGrp="1"/>
          </p:cNvSpPr>
          <p:nvPr>
            <p:ph type="body" sz="quarter" idx="10"/>
          </p:nvPr>
        </p:nvSpPr>
        <p:spPr>
          <a:xfrm>
            <a:off x="8185727" y="5725717"/>
            <a:ext cx="3291840" cy="221599"/>
          </a:xfrm>
        </p:spPr>
        <p:txBody>
          <a:bodyPr/>
          <a:lstStyle/>
          <a:p>
            <a:r>
              <a:rPr lang="en-US"/>
              <a:t>IOT Specialist</a:t>
            </a:r>
            <a:endParaRPr lang="en-US" dirty="0"/>
          </a:p>
        </p:txBody>
      </p:sp>
      <p:sp>
        <p:nvSpPr>
          <p:cNvPr id="20" name="Text Placeholder 19"/>
          <p:cNvSpPr>
            <a:spLocks noGrp="1"/>
          </p:cNvSpPr>
          <p:nvPr>
            <p:ph type="body" sz="quarter" idx="13"/>
          </p:nvPr>
        </p:nvSpPr>
        <p:spPr>
          <a:xfrm>
            <a:off x="8185727" y="6160021"/>
            <a:ext cx="2468880" cy="193899"/>
          </a:xfrm>
        </p:spPr>
        <p:txBody>
          <a:bodyPr/>
          <a:lstStyle/>
          <a:p>
            <a:r>
              <a:rPr lang="en-US">
                <a:solidFill>
                  <a:schemeClr val="tx2"/>
                </a:solidFill>
              </a:rPr>
              <a:t>Year 2020</a:t>
            </a:r>
            <a:endParaRPr lang="en-US" dirty="0">
              <a:solidFill>
                <a:schemeClr val="tx2"/>
              </a:solidFill>
            </a:endParaRPr>
          </a:p>
        </p:txBody>
      </p:sp>
      <p:sp>
        <p:nvSpPr>
          <p:cNvPr id="4" name="Oval 3">
            <a:extLst>
              <a:ext uri="{FF2B5EF4-FFF2-40B4-BE49-F238E27FC236}">
                <a16:creationId xmlns:a16="http://schemas.microsoft.com/office/drawing/2014/main" id="{1CF395D9-2EF6-463D-BB3D-4F15C7F86EE4}"/>
              </a:ext>
            </a:extLst>
          </p:cNvPr>
          <p:cNvSpPr/>
          <p:nvPr/>
        </p:nvSpPr>
        <p:spPr>
          <a:xfrm>
            <a:off x="-90225" y="4211199"/>
            <a:ext cx="4994809" cy="1298473"/>
          </a:xfrm>
          <a:prstGeom prst="ellipse">
            <a:avLst/>
          </a:prstGeom>
          <a:solidFill>
            <a:srgbClr val="0E0003"/>
          </a:solidFill>
          <a:ln>
            <a:noFill/>
          </a:ln>
          <a:effectLst>
            <a:softEdge rad="266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a:ea typeface="+mn-ea"/>
              <a:cs typeface="+mn-cs"/>
            </a:endParaRP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70386" y="4547122"/>
            <a:ext cx="1530307" cy="594360"/>
          </a:xfrm>
          <a:prstGeom prst="rect">
            <a:avLst/>
          </a:prstGeom>
        </p:spPr>
      </p:pic>
      <p:sp>
        <p:nvSpPr>
          <p:cNvPr id="17" name="Title 16"/>
          <p:cNvSpPr>
            <a:spLocks noGrp="1"/>
          </p:cNvSpPr>
          <p:nvPr>
            <p:ph type="ctrTitle"/>
          </p:nvPr>
        </p:nvSpPr>
        <p:spPr>
          <a:xfrm>
            <a:off x="433135" y="4463180"/>
            <a:ext cx="7202119" cy="1940584"/>
          </a:xfrm>
        </p:spPr>
        <p:txBody>
          <a:bodyPr/>
          <a:lstStyle/>
          <a:p>
            <a:r>
              <a:rPr lang="en-US" sz="5400">
                <a:solidFill>
                  <a:schemeClr val="bg2"/>
                </a:solidFill>
              </a:rPr>
              <a:t>ThingWorx</a:t>
            </a:r>
            <a:r>
              <a:rPr lang="en-US" sz="5400"/>
              <a:t> </a:t>
            </a:r>
            <a:r>
              <a:rPr lang="en-US" sz="4400"/>
              <a:t>Industrial Innovation Platform </a:t>
            </a:r>
            <a:endParaRPr lang="en-US"/>
          </a:p>
        </p:txBody>
      </p:sp>
    </p:spTree>
    <p:extLst>
      <p:ext uri="{BB962C8B-B14F-4D97-AF65-F5344CB8AC3E}">
        <p14:creationId xmlns:p14="http://schemas.microsoft.com/office/powerpoint/2010/main" val="418960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21015" y="350933"/>
            <a:ext cx="10232573" cy="344710"/>
          </a:xfrm>
        </p:spPr>
        <p:txBody>
          <a:bodyPr>
            <a:noAutofit/>
          </a:bodyPr>
          <a:lstStyle/>
          <a:p>
            <a:r>
              <a:rPr lang="en-US" dirty="0"/>
              <a:t>Industry Awards &amp; recognition</a:t>
            </a:r>
          </a:p>
        </p:txBody>
      </p:sp>
      <p:sp>
        <p:nvSpPr>
          <p:cNvPr id="118" name="Parallelogram 117">
            <a:extLst>
              <a:ext uri="{FF2B5EF4-FFF2-40B4-BE49-F238E27FC236}">
                <a16:creationId xmlns:a16="http://schemas.microsoft.com/office/drawing/2014/main" id="{45AEA327-1CD6-47C3-BC3B-BE1657E899C4}"/>
              </a:ext>
            </a:extLst>
          </p:cNvPr>
          <p:cNvSpPr/>
          <p:nvPr/>
        </p:nvSpPr>
        <p:spPr>
          <a:xfrm>
            <a:off x="418925" y="988113"/>
            <a:ext cx="11247120" cy="313428"/>
          </a:xfrm>
          <a:prstGeom prst="parallelogram">
            <a:avLst>
              <a:gd name="adj" fmla="val 4535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840" marR="0" lvl="0" indent="0" algn="l" defTabSz="108677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sp>
        <p:nvSpPr>
          <p:cNvPr id="127" name="Rectangle 126">
            <a:extLst>
              <a:ext uri="{FF2B5EF4-FFF2-40B4-BE49-F238E27FC236}">
                <a16:creationId xmlns:a16="http://schemas.microsoft.com/office/drawing/2014/main" id="{FD43A26A-C60A-4162-9C59-7C80313CA6BF}"/>
              </a:ext>
            </a:extLst>
          </p:cNvPr>
          <p:cNvSpPr/>
          <p:nvPr/>
        </p:nvSpPr>
        <p:spPr>
          <a:xfrm>
            <a:off x="471095" y="954231"/>
            <a:ext cx="758541" cy="369332"/>
          </a:xfrm>
          <a:prstGeom prst="rect">
            <a:avLst/>
          </a:prstGeom>
        </p:spPr>
        <p:txBody>
          <a:bodyPr wrap="none">
            <a:spAutoFit/>
          </a:bodyPr>
          <a:lstStyle/>
          <a:p>
            <a:pPr marL="53840" marR="0" lvl="0" indent="0" algn="l" defTabSz="10867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CC04A"/>
                </a:solidFill>
                <a:effectLst/>
                <a:uLnTx/>
                <a:uFillTx/>
                <a:latin typeface="Century Gothic" panose="020F0302020204030204"/>
                <a:ea typeface="+mn-ea"/>
                <a:cs typeface="+mn-cs"/>
              </a:rPr>
              <a:t>2018</a:t>
            </a:r>
            <a:endParaRPr kumimoji="0" lang="en-US" sz="1800"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grpSp>
        <p:nvGrpSpPr>
          <p:cNvPr id="13" name="Group 12">
            <a:extLst>
              <a:ext uri="{FF2B5EF4-FFF2-40B4-BE49-F238E27FC236}">
                <a16:creationId xmlns:a16="http://schemas.microsoft.com/office/drawing/2014/main" id="{A10F07F4-AF04-4F5F-8424-020CCE5ADE25}"/>
              </a:ext>
            </a:extLst>
          </p:cNvPr>
          <p:cNvGrpSpPr/>
          <p:nvPr/>
        </p:nvGrpSpPr>
        <p:grpSpPr>
          <a:xfrm>
            <a:off x="7364299" y="979154"/>
            <a:ext cx="1463040" cy="1516321"/>
            <a:chOff x="7633952" y="979154"/>
            <a:chExt cx="1463040" cy="1516321"/>
          </a:xfrm>
        </p:grpSpPr>
        <p:pic>
          <p:nvPicPr>
            <p:cNvPr id="190" name="Picture 189">
              <a:extLst>
                <a:ext uri="{FF2B5EF4-FFF2-40B4-BE49-F238E27FC236}">
                  <a16:creationId xmlns:a16="http://schemas.microsoft.com/office/drawing/2014/main" id="{365F3321-BA79-4091-A16F-12C83CEBC4A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81818" y="1728167"/>
              <a:ext cx="767308" cy="767308"/>
            </a:xfrm>
            <a:prstGeom prst="rect">
              <a:avLst/>
            </a:prstGeom>
          </p:spPr>
        </p:pic>
        <p:sp>
          <p:nvSpPr>
            <p:cNvPr id="109" name="Rectangle 108"/>
            <p:cNvSpPr/>
            <p:nvPr/>
          </p:nvSpPr>
          <p:spPr>
            <a:xfrm>
              <a:off x="7633952" y="1438944"/>
              <a:ext cx="1463040" cy="406265"/>
            </a:xfrm>
            <a:prstGeom prst="rect">
              <a:avLst/>
            </a:prstGeom>
          </p:spPr>
          <p:txBody>
            <a:bodyPr wrap="square">
              <a:spAutoFit/>
            </a:bodyPr>
            <a:lstStyle/>
            <a:p>
              <a:pPr lvl="0" algn="ctr">
                <a:lnSpc>
                  <a:spcPct val="85000"/>
                </a:lnSpc>
                <a:defRPr/>
              </a:pPr>
              <a:r>
                <a:rPr lang="en-US" sz="1200" b="1">
                  <a:solidFill>
                    <a:srgbClr val="3D4647">
                      <a:lumMod val="75000"/>
                    </a:srgbClr>
                  </a:solidFill>
                </a:rPr>
                <a:t>Best Industrial IoT Platform of 2018</a:t>
              </a:r>
              <a:endPar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endParaRPr>
            </a:p>
          </p:txBody>
        </p:sp>
        <p:cxnSp>
          <p:nvCxnSpPr>
            <p:cNvPr id="122" name="Straight Connector 121"/>
            <p:cNvCxnSpPr/>
            <p:nvPr/>
          </p:nvCxnSpPr>
          <p:spPr>
            <a:xfrm>
              <a:off x="8365472" y="1293868"/>
              <a:ext cx="0" cy="91214"/>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8130254" y="979154"/>
              <a:ext cx="470437" cy="307016"/>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dirty="0">
                  <a:ln>
                    <a:noFill/>
                  </a:ln>
                  <a:solidFill>
                    <a:srgbClr val="FFFFFF"/>
                  </a:solidFill>
                  <a:effectLst/>
                  <a:uLnTx/>
                  <a:uFillTx/>
                  <a:latin typeface="Century Gothic" panose="020F0302020204030204"/>
                  <a:ea typeface="+mn-ea"/>
                  <a:cs typeface="+mn-cs"/>
                </a:rPr>
                <a:t>JUL</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grpSp>
      <p:grpSp>
        <p:nvGrpSpPr>
          <p:cNvPr id="6" name="Group 5">
            <a:extLst>
              <a:ext uri="{FF2B5EF4-FFF2-40B4-BE49-F238E27FC236}">
                <a16:creationId xmlns:a16="http://schemas.microsoft.com/office/drawing/2014/main" id="{38AC1260-646A-4194-84D0-6222B92853D1}"/>
              </a:ext>
            </a:extLst>
          </p:cNvPr>
          <p:cNvGrpSpPr/>
          <p:nvPr/>
        </p:nvGrpSpPr>
        <p:grpSpPr>
          <a:xfrm>
            <a:off x="1154122" y="979154"/>
            <a:ext cx="1554480" cy="1187109"/>
            <a:chOff x="1538425" y="979154"/>
            <a:chExt cx="1554480" cy="1187109"/>
          </a:xfrm>
        </p:grpSpPr>
        <p:sp>
          <p:nvSpPr>
            <p:cNvPr id="133" name="Rectangle 132">
              <a:extLst>
                <a:ext uri="{FF2B5EF4-FFF2-40B4-BE49-F238E27FC236}">
                  <a16:creationId xmlns:a16="http://schemas.microsoft.com/office/drawing/2014/main" id="{173EC1E5-F7A1-42C1-9DD5-2DBA06D5BB95}"/>
                </a:ext>
              </a:extLst>
            </p:cNvPr>
            <p:cNvSpPr/>
            <p:nvPr/>
          </p:nvSpPr>
          <p:spPr>
            <a:xfrm>
              <a:off x="1538425" y="1438944"/>
              <a:ext cx="1554480" cy="406265"/>
            </a:xfrm>
            <a:prstGeom prst="rect">
              <a:avLst/>
            </a:prstGeom>
          </p:spPr>
          <p:txBody>
            <a:bodyPr wrap="square">
              <a:spAutoFit/>
            </a:bodyPr>
            <a:lstStyle/>
            <a:p>
              <a:pPr lvl="0" algn="ctr">
                <a:lnSpc>
                  <a:spcPct val="85000"/>
                </a:lnSpc>
                <a:defRPr/>
              </a:pPr>
              <a:r>
                <a:rPr lang="en-US" sz="1200" b="1" dirty="0">
                  <a:solidFill>
                    <a:srgbClr val="3D4647">
                      <a:lumMod val="75000"/>
                    </a:srgbClr>
                  </a:solidFill>
                </a:rPr>
                <a:t>Industrial IoT Platform Visionary </a:t>
              </a:r>
              <a:endPar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endParaRPr>
            </a:p>
          </p:txBody>
        </p:sp>
        <p:cxnSp>
          <p:nvCxnSpPr>
            <p:cNvPr id="134" name="Straight Connector 133">
              <a:extLst>
                <a:ext uri="{FF2B5EF4-FFF2-40B4-BE49-F238E27FC236}">
                  <a16:creationId xmlns:a16="http://schemas.microsoft.com/office/drawing/2014/main" id="{D6B6E7BA-655D-46B5-9D92-1B5543A6BBF1}"/>
                </a:ext>
              </a:extLst>
            </p:cNvPr>
            <p:cNvCxnSpPr>
              <a:cxnSpLocks/>
            </p:cNvCxnSpPr>
            <p:nvPr/>
          </p:nvCxnSpPr>
          <p:spPr>
            <a:xfrm>
              <a:off x="2315665" y="1293868"/>
              <a:ext cx="0" cy="9144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85" name="Rectangle 184">
              <a:extLst>
                <a:ext uri="{FF2B5EF4-FFF2-40B4-BE49-F238E27FC236}">
                  <a16:creationId xmlns:a16="http://schemas.microsoft.com/office/drawing/2014/main" id="{279961BD-DAC8-4959-93B7-A1E079077030}"/>
                </a:ext>
              </a:extLst>
            </p:cNvPr>
            <p:cNvSpPr/>
            <p:nvPr/>
          </p:nvSpPr>
          <p:spPr>
            <a:xfrm>
              <a:off x="2021354" y="979154"/>
              <a:ext cx="588623" cy="307328"/>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a:ln>
                    <a:noFill/>
                  </a:ln>
                  <a:solidFill>
                    <a:srgbClr val="FFFFFF"/>
                  </a:solidFill>
                  <a:effectLst/>
                  <a:uLnTx/>
                  <a:uFillTx/>
                  <a:latin typeface="Century Gothic" panose="020F0302020204030204"/>
                  <a:ea typeface="+mn-ea"/>
                  <a:cs typeface="+mn-cs"/>
                </a:rPr>
                <a:t>MAY</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pic>
          <p:nvPicPr>
            <p:cNvPr id="186" name="Picture 185">
              <a:extLst>
                <a:ext uri="{FF2B5EF4-FFF2-40B4-BE49-F238E27FC236}">
                  <a16:creationId xmlns:a16="http://schemas.microsoft.com/office/drawing/2014/main" id="{0566FC4F-E2FC-4275-A770-2ADEBD6563D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96064" y="1912919"/>
              <a:ext cx="839203" cy="253344"/>
            </a:xfrm>
            <a:prstGeom prst="rect">
              <a:avLst/>
            </a:prstGeom>
          </p:spPr>
        </p:pic>
      </p:grpSp>
      <p:grpSp>
        <p:nvGrpSpPr>
          <p:cNvPr id="5" name="Group 4">
            <a:extLst>
              <a:ext uri="{FF2B5EF4-FFF2-40B4-BE49-F238E27FC236}">
                <a16:creationId xmlns:a16="http://schemas.microsoft.com/office/drawing/2014/main" id="{D48221E0-C0CC-4074-BEFC-9AE1B89E523D}"/>
              </a:ext>
            </a:extLst>
          </p:cNvPr>
          <p:cNvGrpSpPr/>
          <p:nvPr/>
        </p:nvGrpSpPr>
        <p:grpSpPr>
          <a:xfrm>
            <a:off x="2718168" y="979154"/>
            <a:ext cx="1371600" cy="1436947"/>
            <a:chOff x="3155176" y="979154"/>
            <a:chExt cx="1371600" cy="1436947"/>
          </a:xfrm>
        </p:grpSpPr>
        <p:sp>
          <p:nvSpPr>
            <p:cNvPr id="106" name="Rectangle 105"/>
            <p:cNvSpPr/>
            <p:nvPr/>
          </p:nvSpPr>
          <p:spPr>
            <a:xfrm>
              <a:off x="3155176" y="1806657"/>
              <a:ext cx="1371600" cy="406265"/>
            </a:xfrm>
            <a:prstGeom prst="rect">
              <a:avLst/>
            </a:prstGeom>
          </p:spPr>
          <p:txBody>
            <a:bodyPr wrap="square">
              <a:spAutoFit/>
            </a:bodyPr>
            <a:lstStyle/>
            <a:p>
              <a:pPr lvl="0" algn="ctr">
                <a:lnSpc>
                  <a:spcPct val="85000"/>
                </a:lnSpc>
                <a:defRPr/>
              </a:pPr>
              <a:r>
                <a:rPr lang="en-US" sz="1200" b="1">
                  <a:solidFill>
                    <a:srgbClr val="3D4647">
                      <a:lumMod val="75000"/>
                    </a:srgbClr>
                  </a:solidFill>
                </a:rPr>
                <a:t> Leading IoT Platform Vendor</a:t>
              </a:r>
              <a:endPar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endParaRPr>
            </a:p>
          </p:txBody>
        </p:sp>
        <p:cxnSp>
          <p:nvCxnSpPr>
            <p:cNvPr id="123" name="Straight Connector 122"/>
            <p:cNvCxnSpPr/>
            <p:nvPr/>
          </p:nvCxnSpPr>
          <p:spPr>
            <a:xfrm>
              <a:off x="3840976" y="1293868"/>
              <a:ext cx="0" cy="45720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02" name="Rectangle 101"/>
            <p:cNvSpPr/>
            <p:nvPr/>
          </p:nvSpPr>
          <p:spPr>
            <a:xfrm>
              <a:off x="3580328" y="979154"/>
              <a:ext cx="521297" cy="307328"/>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a:ln>
                    <a:noFill/>
                  </a:ln>
                  <a:solidFill>
                    <a:srgbClr val="FFFFFF"/>
                  </a:solidFill>
                  <a:effectLst/>
                  <a:uLnTx/>
                  <a:uFillTx/>
                  <a:latin typeface="Century Gothic" panose="020F0302020204030204"/>
                  <a:ea typeface="+mn-ea"/>
                  <a:cs typeface="+mn-cs"/>
                </a:rPr>
                <a:t>JUN</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pic>
          <p:nvPicPr>
            <p:cNvPr id="187" name="Picture 5">
              <a:hlinkClick r:id="rId5"/>
              <a:extLst>
                <a:ext uri="{FF2B5EF4-FFF2-40B4-BE49-F238E27FC236}">
                  <a16:creationId xmlns:a16="http://schemas.microsoft.com/office/drawing/2014/main" id="{9B85199E-B173-409C-BEDE-E4E6EF332AA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00896" y="2232052"/>
              <a:ext cx="1280160" cy="1840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9" name="Group 68">
            <a:extLst>
              <a:ext uri="{FF2B5EF4-FFF2-40B4-BE49-F238E27FC236}">
                <a16:creationId xmlns:a16="http://schemas.microsoft.com/office/drawing/2014/main" id="{73924733-E110-4AFB-84A3-55FD5CAC36F3}"/>
              </a:ext>
            </a:extLst>
          </p:cNvPr>
          <p:cNvGrpSpPr/>
          <p:nvPr/>
        </p:nvGrpSpPr>
        <p:grpSpPr>
          <a:xfrm>
            <a:off x="4194846" y="979154"/>
            <a:ext cx="1483048" cy="1491510"/>
            <a:chOff x="5219066" y="979154"/>
            <a:chExt cx="1483048" cy="1491510"/>
          </a:xfrm>
        </p:grpSpPr>
        <p:sp>
          <p:nvSpPr>
            <p:cNvPr id="110" name="Rectangle 109"/>
            <p:cNvSpPr/>
            <p:nvPr/>
          </p:nvSpPr>
          <p:spPr>
            <a:xfrm>
              <a:off x="5219066" y="1438944"/>
              <a:ext cx="1483048" cy="563231"/>
            </a:xfrm>
            <a:prstGeom prst="rect">
              <a:avLst/>
            </a:prstGeom>
          </p:spPr>
          <p:txBody>
            <a:bodyPr wrap="square">
              <a:spAutoFit/>
            </a:bodyPr>
            <a:lstStyle/>
            <a:p>
              <a:pPr lvl="0" algn="ctr">
                <a:lnSpc>
                  <a:spcPct val="85000"/>
                </a:lnSpc>
                <a:defRPr/>
              </a:pPr>
              <a:r>
                <a:rPr lang="en-US" sz="1200" b="1">
                  <a:solidFill>
                    <a:srgbClr val="3D4647">
                      <a:lumMod val="75000"/>
                    </a:srgbClr>
                  </a:solidFill>
                </a:rPr>
                <a:t> 2018 Leader in the Global IoT Platform Market</a:t>
              </a:r>
              <a:endPar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endParaRPr>
            </a:p>
          </p:txBody>
        </p:sp>
        <p:cxnSp>
          <p:nvCxnSpPr>
            <p:cNvPr id="120" name="Straight Connector 119"/>
            <p:cNvCxnSpPr/>
            <p:nvPr/>
          </p:nvCxnSpPr>
          <p:spPr>
            <a:xfrm>
              <a:off x="5960590" y="1293868"/>
              <a:ext cx="0" cy="9144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01" name="Rectangle 100"/>
            <p:cNvSpPr/>
            <p:nvPr/>
          </p:nvSpPr>
          <p:spPr>
            <a:xfrm>
              <a:off x="5724788" y="979154"/>
              <a:ext cx="471604" cy="307328"/>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a:ln>
                    <a:noFill/>
                  </a:ln>
                  <a:solidFill>
                    <a:srgbClr val="FFFFFF"/>
                  </a:solidFill>
                  <a:effectLst/>
                  <a:uLnTx/>
                  <a:uFillTx/>
                  <a:latin typeface="Century Gothic" panose="020F0302020204030204"/>
                  <a:ea typeface="+mn-ea"/>
                  <a:cs typeface="+mn-cs"/>
                </a:rPr>
                <a:t>JUL</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pic>
          <p:nvPicPr>
            <p:cNvPr id="188" name="Picture 187">
              <a:extLst>
                <a:ext uri="{FF2B5EF4-FFF2-40B4-BE49-F238E27FC236}">
                  <a16:creationId xmlns:a16="http://schemas.microsoft.com/office/drawing/2014/main" id="{9C8CC8A1-C0D6-4CC2-99B2-94C40BF41E9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82936" y="1984650"/>
              <a:ext cx="955309" cy="486014"/>
            </a:xfrm>
            <a:prstGeom prst="rect">
              <a:avLst/>
            </a:prstGeom>
          </p:spPr>
        </p:pic>
      </p:grpSp>
      <p:grpSp>
        <p:nvGrpSpPr>
          <p:cNvPr id="68" name="Group 67">
            <a:extLst>
              <a:ext uri="{FF2B5EF4-FFF2-40B4-BE49-F238E27FC236}">
                <a16:creationId xmlns:a16="http://schemas.microsoft.com/office/drawing/2014/main" id="{DF6428BE-898C-4A6F-9D0B-735E194FEFA4}"/>
              </a:ext>
            </a:extLst>
          </p:cNvPr>
          <p:cNvGrpSpPr/>
          <p:nvPr/>
        </p:nvGrpSpPr>
        <p:grpSpPr>
          <a:xfrm>
            <a:off x="5873514" y="979154"/>
            <a:ext cx="1494341" cy="1606243"/>
            <a:chOff x="7223396" y="979154"/>
            <a:chExt cx="1494341" cy="1606243"/>
          </a:xfrm>
        </p:grpSpPr>
        <p:cxnSp>
          <p:nvCxnSpPr>
            <p:cNvPr id="121" name="Straight Connector 120"/>
            <p:cNvCxnSpPr>
              <a:cxnSpLocks/>
            </p:cNvCxnSpPr>
            <p:nvPr/>
          </p:nvCxnSpPr>
          <p:spPr>
            <a:xfrm>
              <a:off x="7970566" y="1293868"/>
              <a:ext cx="1" cy="45720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7734764" y="979154"/>
              <a:ext cx="471604" cy="307328"/>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a:ln>
                    <a:noFill/>
                  </a:ln>
                  <a:solidFill>
                    <a:srgbClr val="FFFFFF"/>
                  </a:solidFill>
                  <a:effectLst/>
                  <a:uLnTx/>
                  <a:uFillTx/>
                  <a:latin typeface="Century Gothic" panose="020F0302020204030204"/>
                  <a:ea typeface="+mn-ea"/>
                  <a:cs typeface="+mn-cs"/>
                </a:rPr>
                <a:t>JUL</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sp>
          <p:nvSpPr>
            <p:cNvPr id="107" name="Rectangle 106"/>
            <p:cNvSpPr/>
            <p:nvPr/>
          </p:nvSpPr>
          <p:spPr>
            <a:xfrm>
              <a:off x="7223396" y="1813178"/>
              <a:ext cx="1494341" cy="406265"/>
            </a:xfrm>
            <a:prstGeom prst="rect">
              <a:avLst/>
            </a:prstGeom>
          </p:spPr>
          <p:txBody>
            <a:bodyPr wrap="square">
              <a:spAutoFit/>
            </a:bodyPr>
            <a:lstStyle/>
            <a:p>
              <a:pPr lvl="0" algn="ctr">
                <a:lnSpc>
                  <a:spcPct val="85000"/>
                </a:lnSpc>
                <a:defRPr/>
              </a:pPr>
              <a:r>
                <a:rPr lang="en-US" sz="1200" b="1">
                  <a:solidFill>
                    <a:srgbClr val="3D4647">
                      <a:lumMod val="75000"/>
                    </a:srgbClr>
                  </a:solidFill>
                </a:rPr>
                <a:t>Best Industrial IoT Platform of 2018</a:t>
              </a:r>
              <a:endPar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endParaRPr>
            </a:p>
          </p:txBody>
        </p:sp>
        <p:pic>
          <p:nvPicPr>
            <p:cNvPr id="189" name="Picture 188">
              <a:extLst>
                <a:ext uri="{FF2B5EF4-FFF2-40B4-BE49-F238E27FC236}">
                  <a16:creationId xmlns:a16="http://schemas.microsoft.com/office/drawing/2014/main" id="{60B9639B-85A9-4334-8EF3-951DE37E38F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70652" y="2200848"/>
              <a:ext cx="999828" cy="384549"/>
            </a:xfrm>
            <a:prstGeom prst="rect">
              <a:avLst/>
            </a:prstGeom>
          </p:spPr>
        </p:pic>
      </p:grpSp>
      <p:grpSp>
        <p:nvGrpSpPr>
          <p:cNvPr id="140" name="Group 139">
            <a:extLst>
              <a:ext uri="{FF2B5EF4-FFF2-40B4-BE49-F238E27FC236}">
                <a16:creationId xmlns:a16="http://schemas.microsoft.com/office/drawing/2014/main" id="{CF261CC5-5986-4D01-B562-8A1691AC80DB}"/>
              </a:ext>
            </a:extLst>
          </p:cNvPr>
          <p:cNvGrpSpPr/>
          <p:nvPr/>
        </p:nvGrpSpPr>
        <p:grpSpPr>
          <a:xfrm>
            <a:off x="426056" y="2702007"/>
            <a:ext cx="11249700" cy="369332"/>
            <a:chOff x="433144" y="1178978"/>
            <a:chExt cx="11249700" cy="369332"/>
          </a:xfrm>
        </p:grpSpPr>
        <p:sp>
          <p:nvSpPr>
            <p:cNvPr id="141" name="Parallelogram 140">
              <a:extLst>
                <a:ext uri="{FF2B5EF4-FFF2-40B4-BE49-F238E27FC236}">
                  <a16:creationId xmlns:a16="http://schemas.microsoft.com/office/drawing/2014/main" id="{954FE2B0-F8B7-44CA-90B5-EEAB72D65844}"/>
                </a:ext>
              </a:extLst>
            </p:cNvPr>
            <p:cNvSpPr/>
            <p:nvPr/>
          </p:nvSpPr>
          <p:spPr>
            <a:xfrm>
              <a:off x="433144" y="1212903"/>
              <a:ext cx="11249700" cy="313428"/>
            </a:xfrm>
            <a:prstGeom prst="parallelogram">
              <a:avLst>
                <a:gd name="adj" fmla="val 4535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840" marR="0" lvl="0" indent="0" algn="l" defTabSz="108677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sp>
          <p:nvSpPr>
            <p:cNvPr id="142" name="Rectangle 141">
              <a:extLst>
                <a:ext uri="{FF2B5EF4-FFF2-40B4-BE49-F238E27FC236}">
                  <a16:creationId xmlns:a16="http://schemas.microsoft.com/office/drawing/2014/main" id="{4524BAF7-7D86-457C-BF59-6BFB17424AFA}"/>
                </a:ext>
              </a:extLst>
            </p:cNvPr>
            <p:cNvSpPr/>
            <p:nvPr/>
          </p:nvSpPr>
          <p:spPr>
            <a:xfrm>
              <a:off x="473185" y="1178978"/>
              <a:ext cx="758541" cy="369332"/>
            </a:xfrm>
            <a:prstGeom prst="rect">
              <a:avLst/>
            </a:prstGeom>
          </p:spPr>
          <p:txBody>
            <a:bodyPr wrap="none">
              <a:spAutoFit/>
            </a:bodyPr>
            <a:lstStyle/>
            <a:p>
              <a:pPr marL="53840" marR="0" lvl="0" indent="0" algn="l" defTabSz="10867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CC04A"/>
                  </a:solidFill>
                  <a:effectLst/>
                  <a:uLnTx/>
                  <a:uFillTx/>
                  <a:latin typeface="Century Gothic" panose="020F0302020204030204"/>
                  <a:ea typeface="+mn-ea"/>
                  <a:cs typeface="+mn-cs"/>
                </a:rPr>
                <a:t>2017</a:t>
              </a:r>
              <a:endParaRPr kumimoji="0" lang="en-US" sz="1800"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grpSp>
      <p:grpSp>
        <p:nvGrpSpPr>
          <p:cNvPr id="64" name="Group 63">
            <a:extLst>
              <a:ext uri="{FF2B5EF4-FFF2-40B4-BE49-F238E27FC236}">
                <a16:creationId xmlns:a16="http://schemas.microsoft.com/office/drawing/2014/main" id="{732979A8-8DAD-4E86-A2AE-6350A7A7BD30}"/>
              </a:ext>
            </a:extLst>
          </p:cNvPr>
          <p:cNvGrpSpPr/>
          <p:nvPr/>
        </p:nvGrpSpPr>
        <p:grpSpPr>
          <a:xfrm>
            <a:off x="1098164" y="2725501"/>
            <a:ext cx="1316306" cy="1495270"/>
            <a:chOff x="1064711" y="2725501"/>
            <a:chExt cx="1316306" cy="1495270"/>
          </a:xfrm>
        </p:grpSpPr>
        <p:pic>
          <p:nvPicPr>
            <p:cNvPr id="193" name="Picture 192">
              <a:hlinkClick r:id="rId9"/>
              <a:extLst>
                <a:ext uri="{FF2B5EF4-FFF2-40B4-BE49-F238E27FC236}">
                  <a16:creationId xmlns:a16="http://schemas.microsoft.com/office/drawing/2014/main" id="{65AC5F60-D980-48EE-A0BF-0C3F1A65829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1516" t="10526" r="14527" b="10434"/>
            <a:stretch/>
          </p:blipFill>
          <p:spPr>
            <a:xfrm>
              <a:off x="1393680" y="3615659"/>
              <a:ext cx="658368" cy="605112"/>
            </a:xfrm>
            <a:prstGeom prst="rect">
              <a:avLst/>
            </a:prstGeom>
          </p:spPr>
        </p:pic>
        <p:sp>
          <p:nvSpPr>
            <p:cNvPr id="194" name="Rectangle 193">
              <a:extLst>
                <a:ext uri="{FF2B5EF4-FFF2-40B4-BE49-F238E27FC236}">
                  <a16:creationId xmlns:a16="http://schemas.microsoft.com/office/drawing/2014/main" id="{8C674EC8-B47A-4A54-9FB6-0D67C251F762}"/>
                </a:ext>
              </a:extLst>
            </p:cNvPr>
            <p:cNvSpPr/>
            <p:nvPr/>
          </p:nvSpPr>
          <p:spPr>
            <a:xfrm>
              <a:off x="1064711" y="3181402"/>
              <a:ext cx="1316306" cy="406265"/>
            </a:xfrm>
            <a:prstGeom prst="rect">
              <a:avLst/>
            </a:prstGeom>
          </p:spPr>
          <p:txBody>
            <a:bodyPr wrap="square">
              <a:spAutoFit/>
            </a:bodyPr>
            <a:lstStyle/>
            <a:p>
              <a:pPr marL="0" marR="0" lvl="0" indent="0" algn="ctr" defTabSz="1086775"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IoT Company of the Year </a:t>
              </a:r>
            </a:p>
          </p:txBody>
        </p:sp>
        <p:cxnSp>
          <p:nvCxnSpPr>
            <p:cNvPr id="195" name="Straight Connector 194">
              <a:extLst>
                <a:ext uri="{FF2B5EF4-FFF2-40B4-BE49-F238E27FC236}">
                  <a16:creationId xmlns:a16="http://schemas.microsoft.com/office/drawing/2014/main" id="{62BEF561-DCEE-47B8-9B4D-0C59F0983C1A}"/>
                </a:ext>
              </a:extLst>
            </p:cNvPr>
            <p:cNvCxnSpPr/>
            <p:nvPr/>
          </p:nvCxnSpPr>
          <p:spPr>
            <a:xfrm>
              <a:off x="1722864" y="3037084"/>
              <a:ext cx="0" cy="91214"/>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655A265C-48CF-4904-9B06-97DADFF78FA3}"/>
                </a:ext>
              </a:extLst>
            </p:cNvPr>
            <p:cNvSpPr/>
            <p:nvPr/>
          </p:nvSpPr>
          <p:spPr>
            <a:xfrm>
              <a:off x="1454865" y="2725501"/>
              <a:ext cx="535998" cy="307016"/>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dirty="0">
                  <a:ln>
                    <a:noFill/>
                  </a:ln>
                  <a:solidFill>
                    <a:srgbClr val="FFFFFF"/>
                  </a:solidFill>
                  <a:effectLst/>
                  <a:uLnTx/>
                  <a:uFillTx/>
                  <a:latin typeface="Century Gothic" panose="020F0302020204030204"/>
                  <a:ea typeface="+mn-ea"/>
                  <a:cs typeface="+mn-cs"/>
                </a:rPr>
                <a:t>JAN</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grpSp>
      <p:grpSp>
        <p:nvGrpSpPr>
          <p:cNvPr id="25" name="Group 24">
            <a:extLst>
              <a:ext uri="{FF2B5EF4-FFF2-40B4-BE49-F238E27FC236}">
                <a16:creationId xmlns:a16="http://schemas.microsoft.com/office/drawing/2014/main" id="{71401B6A-9822-4721-8601-AAC0781B69CD}"/>
              </a:ext>
            </a:extLst>
          </p:cNvPr>
          <p:cNvGrpSpPr/>
          <p:nvPr/>
        </p:nvGrpSpPr>
        <p:grpSpPr>
          <a:xfrm>
            <a:off x="5321422" y="2725501"/>
            <a:ext cx="1495250" cy="1771549"/>
            <a:chOff x="5289271" y="2725501"/>
            <a:chExt cx="1495250" cy="1771549"/>
          </a:xfrm>
        </p:grpSpPr>
        <p:pic>
          <p:nvPicPr>
            <p:cNvPr id="205" name="Picture 204">
              <a:hlinkClick r:id="rId11"/>
              <a:extLst>
                <a:ext uri="{FF2B5EF4-FFF2-40B4-BE49-F238E27FC236}">
                  <a16:creationId xmlns:a16="http://schemas.microsoft.com/office/drawing/2014/main" id="{D1BDF771-F833-4A3D-9EBB-88698731E6FC}"/>
                </a:ext>
              </a:extLst>
            </p:cNvPr>
            <p:cNvPicPr>
              <a:picLocks noChangeAspect="1"/>
            </p:cNvPicPr>
            <p:nvPr/>
          </p:nvPicPr>
          <p:blipFill rotWithShape="1">
            <a:blip r:embed="rId12">
              <a:extLst>
                <a:ext uri="{28A0092B-C50C-407E-A947-70E740481C1C}">
                  <a14:useLocalDpi xmlns:a14="http://schemas.microsoft.com/office/drawing/2010/main" val="0"/>
                </a:ext>
              </a:extLst>
            </a:blip>
            <a:srcRect r="63003" b="5744"/>
            <a:stretch/>
          </p:blipFill>
          <p:spPr>
            <a:xfrm>
              <a:off x="5584662" y="4039850"/>
              <a:ext cx="904469" cy="457200"/>
            </a:xfrm>
            <a:prstGeom prst="rect">
              <a:avLst/>
            </a:prstGeom>
          </p:spPr>
        </p:pic>
        <p:cxnSp>
          <p:nvCxnSpPr>
            <p:cNvPr id="197" name="Straight Connector 196">
              <a:extLst>
                <a:ext uri="{FF2B5EF4-FFF2-40B4-BE49-F238E27FC236}">
                  <a16:creationId xmlns:a16="http://schemas.microsoft.com/office/drawing/2014/main" id="{CC311EDB-7D0B-4AF4-A418-8E82C3AF6A88}"/>
                </a:ext>
              </a:extLst>
            </p:cNvPr>
            <p:cNvCxnSpPr>
              <a:cxnSpLocks/>
            </p:cNvCxnSpPr>
            <p:nvPr/>
          </p:nvCxnSpPr>
          <p:spPr>
            <a:xfrm>
              <a:off x="6036896" y="3035579"/>
              <a:ext cx="1" cy="9144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202" name="Rectangle 201">
              <a:extLst>
                <a:ext uri="{FF2B5EF4-FFF2-40B4-BE49-F238E27FC236}">
                  <a16:creationId xmlns:a16="http://schemas.microsoft.com/office/drawing/2014/main" id="{3C3681EB-94DB-4431-9B97-617AE1F85BAB}"/>
                </a:ext>
              </a:extLst>
            </p:cNvPr>
            <p:cNvSpPr/>
            <p:nvPr/>
          </p:nvSpPr>
          <p:spPr>
            <a:xfrm>
              <a:off x="5289271" y="3551171"/>
              <a:ext cx="1495250" cy="563231"/>
            </a:xfrm>
            <a:prstGeom prst="rect">
              <a:avLst/>
            </a:prstGeom>
          </p:spPr>
          <p:txBody>
            <a:bodyPr wrap="square">
              <a:spAutoFit/>
            </a:bodyPr>
            <a:lstStyle/>
            <a:p>
              <a:pPr marL="0" marR="0" lvl="0" indent="0" algn="ctr" defTabSz="1086775"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Best </a:t>
              </a: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IoT </a:t>
              </a:r>
              <a:b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b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Platform</a:t>
              </a:r>
              <a:b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b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 </a:t>
              </a: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CODiE™ Award </a:t>
              </a:r>
            </a:p>
          </p:txBody>
        </p:sp>
        <p:cxnSp>
          <p:nvCxnSpPr>
            <p:cNvPr id="203" name="Straight Connector 202">
              <a:extLst>
                <a:ext uri="{FF2B5EF4-FFF2-40B4-BE49-F238E27FC236}">
                  <a16:creationId xmlns:a16="http://schemas.microsoft.com/office/drawing/2014/main" id="{38795E6B-D471-4251-8255-937B5D7CDF7D}"/>
                </a:ext>
              </a:extLst>
            </p:cNvPr>
            <p:cNvCxnSpPr/>
            <p:nvPr/>
          </p:nvCxnSpPr>
          <p:spPr>
            <a:xfrm>
              <a:off x="6036896" y="3035580"/>
              <a:ext cx="0" cy="45720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204" name="Rectangle 203">
              <a:extLst>
                <a:ext uri="{FF2B5EF4-FFF2-40B4-BE49-F238E27FC236}">
                  <a16:creationId xmlns:a16="http://schemas.microsoft.com/office/drawing/2014/main" id="{D58D7008-B18B-4D0E-9422-73BFC49BE053}"/>
                </a:ext>
              </a:extLst>
            </p:cNvPr>
            <p:cNvSpPr/>
            <p:nvPr/>
          </p:nvSpPr>
          <p:spPr>
            <a:xfrm>
              <a:off x="5801678" y="2725501"/>
              <a:ext cx="470437" cy="307016"/>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dirty="0">
                  <a:ln>
                    <a:noFill/>
                  </a:ln>
                  <a:solidFill>
                    <a:srgbClr val="FFFFFF"/>
                  </a:solidFill>
                  <a:effectLst/>
                  <a:uLnTx/>
                  <a:uFillTx/>
                  <a:latin typeface="Century Gothic" panose="020F0302020204030204"/>
                  <a:ea typeface="+mn-ea"/>
                  <a:cs typeface="+mn-cs"/>
                </a:rPr>
                <a:t>JUL</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grpSp>
      <p:grpSp>
        <p:nvGrpSpPr>
          <p:cNvPr id="22" name="Group 21">
            <a:extLst>
              <a:ext uri="{FF2B5EF4-FFF2-40B4-BE49-F238E27FC236}">
                <a16:creationId xmlns:a16="http://schemas.microsoft.com/office/drawing/2014/main" id="{EE8F81BC-A4A0-47E4-8CA9-187E64CE348C}"/>
              </a:ext>
            </a:extLst>
          </p:cNvPr>
          <p:cNvGrpSpPr/>
          <p:nvPr/>
        </p:nvGrpSpPr>
        <p:grpSpPr>
          <a:xfrm>
            <a:off x="6721751" y="2724620"/>
            <a:ext cx="1376964" cy="1131555"/>
            <a:chOff x="6721751" y="2724620"/>
            <a:chExt cx="1376964" cy="1131555"/>
          </a:xfrm>
        </p:grpSpPr>
        <p:cxnSp>
          <p:nvCxnSpPr>
            <p:cNvPr id="206" name="Straight Connector 205">
              <a:extLst>
                <a:ext uri="{FF2B5EF4-FFF2-40B4-BE49-F238E27FC236}">
                  <a16:creationId xmlns:a16="http://schemas.microsoft.com/office/drawing/2014/main" id="{18339A59-46F7-463A-B0E3-0C3150849721}"/>
                </a:ext>
              </a:extLst>
            </p:cNvPr>
            <p:cNvCxnSpPr/>
            <p:nvPr/>
          </p:nvCxnSpPr>
          <p:spPr>
            <a:xfrm>
              <a:off x="7410233" y="3034701"/>
              <a:ext cx="1" cy="9144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207" name="Rectangle 206">
              <a:extLst>
                <a:ext uri="{FF2B5EF4-FFF2-40B4-BE49-F238E27FC236}">
                  <a16:creationId xmlns:a16="http://schemas.microsoft.com/office/drawing/2014/main" id="{6A6B0FEF-700D-4431-8DEE-C0010B62577D}"/>
                </a:ext>
              </a:extLst>
            </p:cNvPr>
            <p:cNvSpPr/>
            <p:nvPr/>
          </p:nvSpPr>
          <p:spPr>
            <a:xfrm>
              <a:off x="7115051" y="2724620"/>
              <a:ext cx="590365" cy="307016"/>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dirty="0">
                  <a:ln>
                    <a:noFill/>
                  </a:ln>
                  <a:solidFill>
                    <a:srgbClr val="FFFFFF"/>
                  </a:solidFill>
                  <a:effectLst/>
                  <a:uLnTx/>
                  <a:uFillTx/>
                  <a:latin typeface="Century Gothic" panose="020F0302020204030204"/>
                  <a:ea typeface="+mn-ea"/>
                  <a:cs typeface="+mn-cs"/>
                </a:rPr>
                <a:t>AUG</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sp>
          <p:nvSpPr>
            <p:cNvPr id="208" name="Rectangle 207">
              <a:extLst>
                <a:ext uri="{FF2B5EF4-FFF2-40B4-BE49-F238E27FC236}">
                  <a16:creationId xmlns:a16="http://schemas.microsoft.com/office/drawing/2014/main" id="{761324F6-BDAE-44B6-AE6E-41847C9B06A5}"/>
                </a:ext>
              </a:extLst>
            </p:cNvPr>
            <p:cNvSpPr/>
            <p:nvPr/>
          </p:nvSpPr>
          <p:spPr>
            <a:xfrm>
              <a:off x="6721751" y="3176420"/>
              <a:ext cx="1376964" cy="406265"/>
            </a:xfrm>
            <a:prstGeom prst="rect">
              <a:avLst/>
            </a:prstGeom>
          </p:spPr>
          <p:txBody>
            <a:bodyPr wrap="square">
              <a:spAutoFit/>
            </a:bodyPr>
            <a:lstStyle/>
            <a:p>
              <a:pPr marL="0" marR="0" lvl="0" indent="0" algn="ctr" defTabSz="1086775"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IoT Platform </a:t>
              </a:r>
            </a:p>
            <a:p>
              <a:pPr marL="0" marR="0" lvl="0" indent="0" algn="ctr" defTabSz="1086775"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Market Leader</a:t>
              </a:r>
            </a:p>
          </p:txBody>
        </p:sp>
        <p:pic>
          <p:nvPicPr>
            <p:cNvPr id="209" name="Picture 208">
              <a:hlinkClick r:id="rId13"/>
              <a:extLst>
                <a:ext uri="{FF2B5EF4-FFF2-40B4-BE49-F238E27FC236}">
                  <a16:creationId xmlns:a16="http://schemas.microsoft.com/office/drawing/2014/main" id="{308B0FCE-9031-4481-BA63-912DB6FEECD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982044" y="3627575"/>
              <a:ext cx="856379" cy="228600"/>
            </a:xfrm>
            <a:prstGeom prst="rect">
              <a:avLst/>
            </a:prstGeom>
          </p:spPr>
        </p:pic>
      </p:grpSp>
      <p:grpSp>
        <p:nvGrpSpPr>
          <p:cNvPr id="65" name="Group 64">
            <a:extLst>
              <a:ext uri="{FF2B5EF4-FFF2-40B4-BE49-F238E27FC236}">
                <a16:creationId xmlns:a16="http://schemas.microsoft.com/office/drawing/2014/main" id="{0F754215-1596-47C1-99A8-F0F8BC0D52FC}"/>
              </a:ext>
            </a:extLst>
          </p:cNvPr>
          <p:cNvGrpSpPr/>
          <p:nvPr/>
        </p:nvGrpSpPr>
        <p:grpSpPr>
          <a:xfrm>
            <a:off x="8103802" y="2725499"/>
            <a:ext cx="1083789" cy="1817753"/>
            <a:chOff x="8170708" y="2725499"/>
            <a:chExt cx="1083789" cy="1817753"/>
          </a:xfrm>
        </p:grpSpPr>
        <p:sp>
          <p:nvSpPr>
            <p:cNvPr id="221" name="Rectangle 220">
              <a:extLst>
                <a:ext uri="{FF2B5EF4-FFF2-40B4-BE49-F238E27FC236}">
                  <a16:creationId xmlns:a16="http://schemas.microsoft.com/office/drawing/2014/main" id="{5E961D13-251F-4D82-87C3-6872011543DD}"/>
                </a:ext>
              </a:extLst>
            </p:cNvPr>
            <p:cNvSpPr/>
            <p:nvPr/>
          </p:nvSpPr>
          <p:spPr>
            <a:xfrm>
              <a:off x="8170708" y="3176420"/>
              <a:ext cx="1083789" cy="720197"/>
            </a:xfrm>
            <a:prstGeom prst="rect">
              <a:avLst/>
            </a:prstGeom>
          </p:spPr>
          <p:txBody>
            <a:bodyPr wrap="square">
              <a:spAutoFit/>
            </a:bodyPr>
            <a:lstStyle/>
            <a:p>
              <a:pPr marL="0" marR="0" lvl="0" indent="0" algn="ctr" defTabSz="1086775"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Boston </a:t>
              </a:r>
              <a:b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b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Globe</a:t>
              </a:r>
              <a:b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b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 </a:t>
              </a: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Top Places </a:t>
              </a:r>
              <a:b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b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to Work</a:t>
              </a:r>
            </a:p>
          </p:txBody>
        </p:sp>
        <p:cxnSp>
          <p:nvCxnSpPr>
            <p:cNvPr id="222" name="Straight Connector 221">
              <a:extLst>
                <a:ext uri="{FF2B5EF4-FFF2-40B4-BE49-F238E27FC236}">
                  <a16:creationId xmlns:a16="http://schemas.microsoft.com/office/drawing/2014/main" id="{FD05CAB3-3975-4884-9937-60A48C0A959E}"/>
                </a:ext>
              </a:extLst>
            </p:cNvPr>
            <p:cNvCxnSpPr/>
            <p:nvPr/>
          </p:nvCxnSpPr>
          <p:spPr>
            <a:xfrm>
              <a:off x="8712602" y="3035580"/>
              <a:ext cx="0" cy="9144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223" name="Rectangle 222">
              <a:extLst>
                <a:ext uri="{FF2B5EF4-FFF2-40B4-BE49-F238E27FC236}">
                  <a16:creationId xmlns:a16="http://schemas.microsoft.com/office/drawing/2014/main" id="{08DE8F24-CF7F-4101-8BAD-91E3C008FFA8}"/>
                </a:ext>
              </a:extLst>
            </p:cNvPr>
            <p:cNvSpPr/>
            <p:nvPr/>
          </p:nvSpPr>
          <p:spPr>
            <a:xfrm>
              <a:off x="8413422" y="2725499"/>
              <a:ext cx="598360" cy="307016"/>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dirty="0">
                  <a:ln>
                    <a:noFill/>
                  </a:ln>
                  <a:solidFill>
                    <a:srgbClr val="FFFFFF"/>
                  </a:solidFill>
                  <a:effectLst/>
                  <a:uLnTx/>
                  <a:uFillTx/>
                  <a:latin typeface="Century Gothic" panose="020F0302020204030204"/>
                  <a:ea typeface="+mn-ea"/>
                  <a:cs typeface="+mn-cs"/>
                </a:rPr>
                <a:t>NOV</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pic>
          <p:nvPicPr>
            <p:cNvPr id="224" name="Picture 223">
              <a:extLst>
                <a:ext uri="{FF2B5EF4-FFF2-40B4-BE49-F238E27FC236}">
                  <a16:creationId xmlns:a16="http://schemas.microsoft.com/office/drawing/2014/main" id="{F6F10C33-BF77-4C1B-A6D2-D6E1BD5FEF4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83418" y="3926759"/>
              <a:ext cx="658368" cy="616493"/>
            </a:xfrm>
            <a:prstGeom prst="rect">
              <a:avLst/>
            </a:prstGeom>
          </p:spPr>
        </p:pic>
      </p:grpSp>
      <p:grpSp>
        <p:nvGrpSpPr>
          <p:cNvPr id="66" name="Group 65">
            <a:extLst>
              <a:ext uri="{FF2B5EF4-FFF2-40B4-BE49-F238E27FC236}">
                <a16:creationId xmlns:a16="http://schemas.microsoft.com/office/drawing/2014/main" id="{03FA585B-A37A-4214-B5E4-D5948643B6CD}"/>
              </a:ext>
            </a:extLst>
          </p:cNvPr>
          <p:cNvGrpSpPr/>
          <p:nvPr/>
        </p:nvGrpSpPr>
        <p:grpSpPr>
          <a:xfrm>
            <a:off x="9452804" y="2725499"/>
            <a:ext cx="817465" cy="1393092"/>
            <a:chOff x="9500726" y="2725499"/>
            <a:chExt cx="817465" cy="1393092"/>
          </a:xfrm>
        </p:grpSpPr>
        <p:sp>
          <p:nvSpPr>
            <p:cNvPr id="226" name="Rectangle 225">
              <a:extLst>
                <a:ext uri="{FF2B5EF4-FFF2-40B4-BE49-F238E27FC236}">
                  <a16:creationId xmlns:a16="http://schemas.microsoft.com/office/drawing/2014/main" id="{CF6D7A25-E741-417F-AABA-73EC670816D5}"/>
                </a:ext>
              </a:extLst>
            </p:cNvPr>
            <p:cNvSpPr/>
            <p:nvPr/>
          </p:nvSpPr>
          <p:spPr>
            <a:xfrm>
              <a:off x="9500726" y="3562401"/>
              <a:ext cx="817465" cy="406265"/>
            </a:xfrm>
            <a:prstGeom prst="rect">
              <a:avLst/>
            </a:prstGeom>
          </p:spPr>
          <p:txBody>
            <a:bodyPr wrap="square">
              <a:spAutoFit/>
            </a:bodyPr>
            <a:lstStyle/>
            <a:p>
              <a:pPr marL="0" marR="0" lvl="0" indent="0" algn="ctr" defTabSz="1086775"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PLM </a:t>
              </a:r>
              <a:b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b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Leader</a:t>
              </a:r>
            </a:p>
          </p:txBody>
        </p:sp>
        <p:pic>
          <p:nvPicPr>
            <p:cNvPr id="227" name="Picture 226">
              <a:hlinkClick r:id="rId16"/>
              <a:extLst>
                <a:ext uri="{FF2B5EF4-FFF2-40B4-BE49-F238E27FC236}">
                  <a16:creationId xmlns:a16="http://schemas.microsoft.com/office/drawing/2014/main" id="{3CA39E75-4340-4C79-A6A1-33E089924DB9}"/>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534381" y="3999080"/>
              <a:ext cx="750154" cy="119511"/>
            </a:xfrm>
            <a:prstGeom prst="rect">
              <a:avLst/>
            </a:prstGeom>
          </p:spPr>
        </p:pic>
        <p:cxnSp>
          <p:nvCxnSpPr>
            <p:cNvPr id="228" name="Straight Connector 227">
              <a:extLst>
                <a:ext uri="{FF2B5EF4-FFF2-40B4-BE49-F238E27FC236}">
                  <a16:creationId xmlns:a16="http://schemas.microsoft.com/office/drawing/2014/main" id="{B13CAD59-CD4C-45A8-82F6-EBAD0CD9C315}"/>
                </a:ext>
              </a:extLst>
            </p:cNvPr>
            <p:cNvCxnSpPr/>
            <p:nvPr/>
          </p:nvCxnSpPr>
          <p:spPr>
            <a:xfrm>
              <a:off x="9909458" y="3035580"/>
              <a:ext cx="0" cy="45720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229" name="Rectangle 228">
              <a:extLst>
                <a:ext uri="{FF2B5EF4-FFF2-40B4-BE49-F238E27FC236}">
                  <a16:creationId xmlns:a16="http://schemas.microsoft.com/office/drawing/2014/main" id="{E9C12F7F-297F-44F4-9262-A75C6B338D0C}"/>
                </a:ext>
              </a:extLst>
            </p:cNvPr>
            <p:cNvSpPr/>
            <p:nvPr/>
          </p:nvSpPr>
          <p:spPr>
            <a:xfrm>
              <a:off x="9610278" y="2725499"/>
              <a:ext cx="598360" cy="307016"/>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dirty="0">
                  <a:ln>
                    <a:noFill/>
                  </a:ln>
                  <a:solidFill>
                    <a:srgbClr val="FFFFFF"/>
                  </a:solidFill>
                  <a:effectLst/>
                  <a:uLnTx/>
                  <a:uFillTx/>
                  <a:latin typeface="Century Gothic" panose="020F0302020204030204"/>
                  <a:ea typeface="+mn-ea"/>
                  <a:cs typeface="+mn-cs"/>
                </a:rPr>
                <a:t>NOV</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grpSp>
      <p:sp>
        <p:nvSpPr>
          <p:cNvPr id="231" name="Rectangle 230">
            <a:extLst>
              <a:ext uri="{FF2B5EF4-FFF2-40B4-BE49-F238E27FC236}">
                <a16:creationId xmlns:a16="http://schemas.microsoft.com/office/drawing/2014/main" id="{9FBF9667-E56E-4B92-9D4E-8D71EE2CFA5C}"/>
              </a:ext>
            </a:extLst>
          </p:cNvPr>
          <p:cNvSpPr/>
          <p:nvPr/>
        </p:nvSpPr>
        <p:spPr>
          <a:xfrm>
            <a:off x="10473590" y="3176420"/>
            <a:ext cx="1134697" cy="406265"/>
          </a:xfrm>
          <a:prstGeom prst="rect">
            <a:avLst/>
          </a:prstGeom>
        </p:spPr>
        <p:txBody>
          <a:bodyPr wrap="square">
            <a:spAutoFit/>
          </a:bodyPr>
          <a:lstStyle/>
          <a:p>
            <a:pPr lvl="0" algn="ctr">
              <a:lnSpc>
                <a:spcPct val="85000"/>
              </a:lnSpc>
              <a:defRPr/>
            </a:pPr>
            <a:r>
              <a:rPr lang="en-US" sz="1200" b="1">
                <a:solidFill>
                  <a:srgbClr val="3D4647">
                    <a:lumMod val="75000"/>
                  </a:srgbClr>
                </a:solidFill>
              </a:rPr>
              <a:t>Leading IoT Platform</a:t>
            </a:r>
            <a:endPar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endParaRPr>
          </a:p>
        </p:txBody>
      </p:sp>
      <p:cxnSp>
        <p:nvCxnSpPr>
          <p:cNvPr id="232" name="Straight Connector 231">
            <a:extLst>
              <a:ext uri="{FF2B5EF4-FFF2-40B4-BE49-F238E27FC236}">
                <a16:creationId xmlns:a16="http://schemas.microsoft.com/office/drawing/2014/main" id="{0CC231AF-8B17-4F01-A794-A89F481969D7}"/>
              </a:ext>
            </a:extLst>
          </p:cNvPr>
          <p:cNvCxnSpPr/>
          <p:nvPr/>
        </p:nvCxnSpPr>
        <p:spPr>
          <a:xfrm>
            <a:off x="11040938" y="3035580"/>
            <a:ext cx="0" cy="9144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233" name="Rectangle 232">
            <a:extLst>
              <a:ext uri="{FF2B5EF4-FFF2-40B4-BE49-F238E27FC236}">
                <a16:creationId xmlns:a16="http://schemas.microsoft.com/office/drawing/2014/main" id="{7FC5AC93-863E-4B3F-812F-EC80ECC91AF5}"/>
              </a:ext>
            </a:extLst>
          </p:cNvPr>
          <p:cNvSpPr/>
          <p:nvPr/>
        </p:nvSpPr>
        <p:spPr>
          <a:xfrm>
            <a:off x="10761054" y="2725499"/>
            <a:ext cx="559769" cy="307328"/>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a:ln>
                  <a:noFill/>
                </a:ln>
                <a:solidFill>
                  <a:srgbClr val="FFFFFF"/>
                </a:solidFill>
                <a:effectLst/>
                <a:uLnTx/>
                <a:uFillTx/>
                <a:latin typeface="Century Gothic" panose="020F0302020204030204"/>
                <a:ea typeface="+mn-ea"/>
                <a:cs typeface="+mn-cs"/>
              </a:rPr>
              <a:t>DEC</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pic>
        <p:nvPicPr>
          <p:cNvPr id="235" name="Picture 2" descr="Navigant Research">
            <a:extLst>
              <a:ext uri="{FF2B5EF4-FFF2-40B4-BE49-F238E27FC236}">
                <a16:creationId xmlns:a16="http://schemas.microsoft.com/office/drawing/2014/main" id="{A9BE2E5A-5BE0-462A-8768-505C7D388F25}"/>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t="33903" b="34251"/>
          <a:stretch/>
        </p:blipFill>
        <p:spPr bwMode="auto">
          <a:xfrm>
            <a:off x="10505273" y="3567138"/>
            <a:ext cx="1071330" cy="34117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00499C17-50AA-48D4-951B-D46DA0D1A30A}"/>
              </a:ext>
            </a:extLst>
          </p:cNvPr>
          <p:cNvGrpSpPr/>
          <p:nvPr/>
        </p:nvGrpSpPr>
        <p:grpSpPr>
          <a:xfrm>
            <a:off x="2443762" y="2725189"/>
            <a:ext cx="1188720" cy="1574388"/>
            <a:chOff x="2200227" y="2725189"/>
            <a:chExt cx="1188720" cy="1574388"/>
          </a:xfrm>
        </p:grpSpPr>
        <p:sp>
          <p:nvSpPr>
            <p:cNvPr id="237" name="Rectangle 236">
              <a:extLst>
                <a:ext uri="{FF2B5EF4-FFF2-40B4-BE49-F238E27FC236}">
                  <a16:creationId xmlns:a16="http://schemas.microsoft.com/office/drawing/2014/main" id="{E54463C0-A808-4F34-9F00-555883268222}"/>
                </a:ext>
              </a:extLst>
            </p:cNvPr>
            <p:cNvSpPr/>
            <p:nvPr/>
          </p:nvSpPr>
          <p:spPr>
            <a:xfrm>
              <a:off x="2200227" y="3551171"/>
              <a:ext cx="1188720" cy="406265"/>
            </a:xfrm>
            <a:prstGeom prst="rect">
              <a:avLst/>
            </a:prstGeom>
          </p:spPr>
          <p:txBody>
            <a:bodyPr wrap="square">
              <a:spAutoFit/>
            </a:bodyPr>
            <a:lstStyle/>
            <a:p>
              <a:pPr lvl="0" algn="ctr">
                <a:lnSpc>
                  <a:spcPct val="85000"/>
                </a:lnSpc>
                <a:defRPr/>
              </a:pPr>
              <a:r>
                <a:rPr lang="en-US" sz="1200" b="1">
                  <a:solidFill>
                    <a:srgbClr val="3D4647">
                      <a:lumMod val="75000"/>
                    </a:srgbClr>
                  </a:solidFill>
                </a:rPr>
                <a:t>IoT Platform Leader </a:t>
              </a:r>
              <a:endParaRPr lang="en-US" sz="1200" b="1" dirty="0">
                <a:solidFill>
                  <a:srgbClr val="3D4647">
                    <a:lumMod val="75000"/>
                  </a:srgbClr>
                </a:solidFill>
              </a:endParaRPr>
            </a:p>
          </p:txBody>
        </p:sp>
        <p:cxnSp>
          <p:nvCxnSpPr>
            <p:cNvPr id="238" name="Straight Connector 237">
              <a:extLst>
                <a:ext uri="{FF2B5EF4-FFF2-40B4-BE49-F238E27FC236}">
                  <a16:creationId xmlns:a16="http://schemas.microsoft.com/office/drawing/2014/main" id="{449C4D33-84BC-4567-BD79-0E29328A41FA}"/>
                </a:ext>
              </a:extLst>
            </p:cNvPr>
            <p:cNvCxnSpPr/>
            <p:nvPr/>
          </p:nvCxnSpPr>
          <p:spPr>
            <a:xfrm>
              <a:off x="2794587" y="3035580"/>
              <a:ext cx="0" cy="45720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239" name="Rectangle 238">
              <a:extLst>
                <a:ext uri="{FF2B5EF4-FFF2-40B4-BE49-F238E27FC236}">
                  <a16:creationId xmlns:a16="http://schemas.microsoft.com/office/drawing/2014/main" id="{E0839D21-65B6-4340-AA39-42F53E4467C6}"/>
                </a:ext>
              </a:extLst>
            </p:cNvPr>
            <p:cNvSpPr/>
            <p:nvPr/>
          </p:nvSpPr>
          <p:spPr>
            <a:xfrm>
              <a:off x="2525924" y="2725189"/>
              <a:ext cx="537327" cy="307328"/>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a:ln>
                    <a:noFill/>
                  </a:ln>
                  <a:solidFill>
                    <a:srgbClr val="FFFFFF"/>
                  </a:solidFill>
                  <a:effectLst/>
                  <a:uLnTx/>
                  <a:uFillTx/>
                  <a:latin typeface="Century Gothic" panose="020F0302020204030204"/>
                  <a:ea typeface="+mn-ea"/>
                  <a:cs typeface="+mn-cs"/>
                </a:rPr>
                <a:t>JAN</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pic>
          <p:nvPicPr>
            <p:cNvPr id="241" name="Picture 240">
              <a:hlinkClick r:id="rId5"/>
              <a:extLst>
                <a:ext uri="{FF2B5EF4-FFF2-40B4-BE49-F238E27FC236}">
                  <a16:creationId xmlns:a16="http://schemas.microsoft.com/office/drawing/2014/main" id="{0D447F01-DCAD-440F-B461-38FF7202A91E}"/>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412927" y="3984664"/>
              <a:ext cx="763320" cy="314913"/>
            </a:xfrm>
            <a:prstGeom prst="rect">
              <a:avLst/>
            </a:prstGeom>
          </p:spPr>
        </p:pic>
      </p:grpSp>
      <p:grpSp>
        <p:nvGrpSpPr>
          <p:cNvPr id="244" name="Group 243">
            <a:extLst>
              <a:ext uri="{FF2B5EF4-FFF2-40B4-BE49-F238E27FC236}">
                <a16:creationId xmlns:a16="http://schemas.microsoft.com/office/drawing/2014/main" id="{DE9C5D07-F83C-42FB-9C82-E4C2E00A8573}"/>
              </a:ext>
            </a:extLst>
          </p:cNvPr>
          <p:cNvGrpSpPr/>
          <p:nvPr/>
        </p:nvGrpSpPr>
        <p:grpSpPr>
          <a:xfrm>
            <a:off x="523200" y="4803195"/>
            <a:ext cx="11249700" cy="369332"/>
            <a:chOff x="421015" y="2600258"/>
            <a:chExt cx="11249700" cy="369332"/>
          </a:xfrm>
        </p:grpSpPr>
        <p:sp>
          <p:nvSpPr>
            <p:cNvPr id="283" name="Parallelogram 282">
              <a:extLst>
                <a:ext uri="{FF2B5EF4-FFF2-40B4-BE49-F238E27FC236}">
                  <a16:creationId xmlns:a16="http://schemas.microsoft.com/office/drawing/2014/main" id="{2722FA43-5008-4D70-8443-7A6A91A712A7}"/>
                </a:ext>
              </a:extLst>
            </p:cNvPr>
            <p:cNvSpPr/>
            <p:nvPr/>
          </p:nvSpPr>
          <p:spPr>
            <a:xfrm>
              <a:off x="421015" y="2628210"/>
              <a:ext cx="11249700" cy="313428"/>
            </a:xfrm>
            <a:prstGeom prst="parallelogram">
              <a:avLst>
                <a:gd name="adj" fmla="val 4535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840" marR="0" lvl="0" indent="0" algn="l" defTabSz="108677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sp>
          <p:nvSpPr>
            <p:cNvPr id="284" name="Rectangle 283">
              <a:extLst>
                <a:ext uri="{FF2B5EF4-FFF2-40B4-BE49-F238E27FC236}">
                  <a16:creationId xmlns:a16="http://schemas.microsoft.com/office/drawing/2014/main" id="{E25DEE69-EC02-453D-9897-920418153E05}"/>
                </a:ext>
              </a:extLst>
            </p:cNvPr>
            <p:cNvSpPr/>
            <p:nvPr/>
          </p:nvSpPr>
          <p:spPr>
            <a:xfrm>
              <a:off x="473185" y="2600258"/>
              <a:ext cx="758541" cy="369332"/>
            </a:xfrm>
            <a:prstGeom prst="rect">
              <a:avLst/>
            </a:prstGeom>
          </p:spPr>
          <p:txBody>
            <a:bodyPr wrap="none">
              <a:spAutoFit/>
            </a:bodyPr>
            <a:lstStyle/>
            <a:p>
              <a:pPr marL="53840" marR="0" lvl="0" indent="0" algn="l" defTabSz="108677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CC04A"/>
                  </a:solidFill>
                  <a:effectLst/>
                  <a:uLnTx/>
                  <a:uFillTx/>
                  <a:latin typeface="Century Gothic" panose="020F0302020204030204"/>
                  <a:ea typeface="+mn-ea"/>
                  <a:cs typeface="+mn-cs"/>
                </a:rPr>
                <a:t>2016</a:t>
              </a:r>
            </a:p>
          </p:txBody>
        </p:sp>
      </p:grpSp>
      <p:grpSp>
        <p:nvGrpSpPr>
          <p:cNvPr id="19" name="Group 18">
            <a:extLst>
              <a:ext uri="{FF2B5EF4-FFF2-40B4-BE49-F238E27FC236}">
                <a16:creationId xmlns:a16="http://schemas.microsoft.com/office/drawing/2014/main" id="{CF5276DF-C035-4BDA-A8D2-B8991E9BC10B}"/>
              </a:ext>
            </a:extLst>
          </p:cNvPr>
          <p:cNvGrpSpPr/>
          <p:nvPr/>
        </p:nvGrpSpPr>
        <p:grpSpPr>
          <a:xfrm>
            <a:off x="9043145" y="4835813"/>
            <a:ext cx="1188720" cy="1675384"/>
            <a:chOff x="8976470" y="4835813"/>
            <a:chExt cx="1188720" cy="1675384"/>
          </a:xfrm>
        </p:grpSpPr>
        <p:sp>
          <p:nvSpPr>
            <p:cNvPr id="279" name="Rectangle 278">
              <a:extLst>
                <a:ext uri="{FF2B5EF4-FFF2-40B4-BE49-F238E27FC236}">
                  <a16:creationId xmlns:a16="http://schemas.microsoft.com/office/drawing/2014/main" id="{3975B7FD-8D04-4D3E-A6BC-6FE182B17B9A}"/>
                </a:ext>
              </a:extLst>
            </p:cNvPr>
            <p:cNvSpPr/>
            <p:nvPr/>
          </p:nvSpPr>
          <p:spPr>
            <a:xfrm>
              <a:off x="8976470" y="5532105"/>
              <a:ext cx="1188720" cy="563231"/>
            </a:xfrm>
            <a:prstGeom prst="rect">
              <a:avLst/>
            </a:prstGeom>
          </p:spPr>
          <p:txBody>
            <a:bodyPr wrap="square">
              <a:spAutoFit/>
            </a:bodyPr>
            <a:lstStyle/>
            <a:p>
              <a:pPr marL="0" marR="0" lvl="0" indent="0" algn="ctr" defTabSz="1086775"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Technology Innovation Award for IoT </a:t>
              </a:r>
            </a:p>
          </p:txBody>
        </p:sp>
        <p:pic>
          <p:nvPicPr>
            <p:cNvPr id="280" name="Picture 279">
              <a:hlinkClick r:id="rId20"/>
              <a:extLst>
                <a:ext uri="{FF2B5EF4-FFF2-40B4-BE49-F238E27FC236}">
                  <a16:creationId xmlns:a16="http://schemas.microsoft.com/office/drawing/2014/main" id="{A3AD9AD6-C91B-4E62-80E8-F5F83417D14C}"/>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066035" y="6191157"/>
              <a:ext cx="1009590" cy="320040"/>
            </a:xfrm>
            <a:prstGeom prst="rect">
              <a:avLst/>
            </a:prstGeom>
          </p:spPr>
        </p:pic>
        <p:sp>
          <p:nvSpPr>
            <p:cNvPr id="281" name="Rectangle 280">
              <a:extLst>
                <a:ext uri="{FF2B5EF4-FFF2-40B4-BE49-F238E27FC236}">
                  <a16:creationId xmlns:a16="http://schemas.microsoft.com/office/drawing/2014/main" id="{C6B096C0-5E44-4E95-A1F6-7D1E12AB3ACF}"/>
                </a:ext>
              </a:extLst>
            </p:cNvPr>
            <p:cNvSpPr/>
            <p:nvPr/>
          </p:nvSpPr>
          <p:spPr>
            <a:xfrm>
              <a:off x="9290039" y="4835813"/>
              <a:ext cx="561582" cy="307016"/>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dirty="0">
                  <a:ln>
                    <a:noFill/>
                  </a:ln>
                  <a:solidFill>
                    <a:srgbClr val="FFFFFF"/>
                  </a:solidFill>
                  <a:effectLst/>
                  <a:uLnTx/>
                  <a:uFillTx/>
                  <a:latin typeface="Century Gothic" panose="020F0302020204030204"/>
                  <a:ea typeface="+mn-ea"/>
                  <a:cs typeface="+mn-cs"/>
                </a:rPr>
                <a:t>OCT</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cxnSp>
          <p:nvCxnSpPr>
            <p:cNvPr id="282" name="Straight Connector 281">
              <a:extLst>
                <a:ext uri="{FF2B5EF4-FFF2-40B4-BE49-F238E27FC236}">
                  <a16:creationId xmlns:a16="http://schemas.microsoft.com/office/drawing/2014/main" id="{1A1921E2-CE24-492E-935E-206F0FB15A1A}"/>
                </a:ext>
              </a:extLst>
            </p:cNvPr>
            <p:cNvCxnSpPr/>
            <p:nvPr/>
          </p:nvCxnSpPr>
          <p:spPr>
            <a:xfrm>
              <a:off x="9570830" y="5142595"/>
              <a:ext cx="0" cy="36576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F4D7430D-45C3-414D-BE7B-FD2C7D1B9B04}"/>
              </a:ext>
            </a:extLst>
          </p:cNvPr>
          <p:cNvGrpSpPr/>
          <p:nvPr/>
        </p:nvGrpSpPr>
        <p:grpSpPr>
          <a:xfrm>
            <a:off x="5305084" y="4835813"/>
            <a:ext cx="1828800" cy="1700623"/>
            <a:chOff x="5095534" y="4835813"/>
            <a:chExt cx="1828800" cy="1700623"/>
          </a:xfrm>
        </p:grpSpPr>
        <p:sp>
          <p:nvSpPr>
            <p:cNvPr id="275" name="Rectangle 274">
              <a:extLst>
                <a:ext uri="{FF2B5EF4-FFF2-40B4-BE49-F238E27FC236}">
                  <a16:creationId xmlns:a16="http://schemas.microsoft.com/office/drawing/2014/main" id="{5F6D8778-BFC6-4B06-A032-1F70589580C3}"/>
                </a:ext>
              </a:extLst>
            </p:cNvPr>
            <p:cNvSpPr/>
            <p:nvPr/>
          </p:nvSpPr>
          <p:spPr>
            <a:xfrm>
              <a:off x="5095534" y="5532105"/>
              <a:ext cx="1828800" cy="563231"/>
            </a:xfrm>
            <a:prstGeom prst="rect">
              <a:avLst/>
            </a:prstGeom>
          </p:spPr>
          <p:txBody>
            <a:bodyPr wrap="square">
              <a:spAutoFit/>
            </a:bodyPr>
            <a:lstStyle/>
            <a:p>
              <a:pPr marL="0" marR="0" lvl="0" indent="0" algn="ctr" defTabSz="1086775"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IoT Application Enablement Platforms Market Share Leader</a:t>
              </a:r>
            </a:p>
          </p:txBody>
        </p:sp>
        <p:pic>
          <p:nvPicPr>
            <p:cNvPr id="276" name="Picture 275">
              <a:hlinkClick r:id="rId22"/>
              <a:extLst>
                <a:ext uri="{FF2B5EF4-FFF2-40B4-BE49-F238E27FC236}">
                  <a16:creationId xmlns:a16="http://schemas.microsoft.com/office/drawing/2014/main" id="{3562EB8E-0B1A-4B5E-8E57-8B442C748E8A}"/>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423080" y="6143244"/>
              <a:ext cx="1173709" cy="393192"/>
            </a:xfrm>
            <a:prstGeom prst="rect">
              <a:avLst/>
            </a:prstGeom>
          </p:spPr>
        </p:pic>
        <p:cxnSp>
          <p:nvCxnSpPr>
            <p:cNvPr id="277" name="Straight Connector 276">
              <a:extLst>
                <a:ext uri="{FF2B5EF4-FFF2-40B4-BE49-F238E27FC236}">
                  <a16:creationId xmlns:a16="http://schemas.microsoft.com/office/drawing/2014/main" id="{A8C03592-3CDF-48DF-B19C-B28A8599CC6E}"/>
                </a:ext>
              </a:extLst>
            </p:cNvPr>
            <p:cNvCxnSpPr/>
            <p:nvPr/>
          </p:nvCxnSpPr>
          <p:spPr>
            <a:xfrm>
              <a:off x="6009934" y="5142595"/>
              <a:ext cx="0" cy="36576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278" name="Rectangle 277">
              <a:extLst>
                <a:ext uri="{FF2B5EF4-FFF2-40B4-BE49-F238E27FC236}">
                  <a16:creationId xmlns:a16="http://schemas.microsoft.com/office/drawing/2014/main" id="{4A4E8484-D830-4ECA-B1FE-C6BD7C35ECFF}"/>
                </a:ext>
              </a:extLst>
            </p:cNvPr>
            <p:cNvSpPr/>
            <p:nvPr/>
          </p:nvSpPr>
          <p:spPr>
            <a:xfrm>
              <a:off x="5772318" y="4835813"/>
              <a:ext cx="475233" cy="307016"/>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dirty="0">
                  <a:ln>
                    <a:noFill/>
                  </a:ln>
                  <a:solidFill>
                    <a:srgbClr val="FFFFFF"/>
                  </a:solidFill>
                  <a:effectLst/>
                  <a:uLnTx/>
                  <a:uFillTx/>
                  <a:latin typeface="Century Gothic" panose="020F0302020204030204"/>
                  <a:ea typeface="+mn-ea"/>
                  <a:cs typeface="+mn-cs"/>
                </a:rPr>
                <a:t>SEP</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grpSp>
      <p:grpSp>
        <p:nvGrpSpPr>
          <p:cNvPr id="247" name="Group 246">
            <a:extLst>
              <a:ext uri="{FF2B5EF4-FFF2-40B4-BE49-F238E27FC236}">
                <a16:creationId xmlns:a16="http://schemas.microsoft.com/office/drawing/2014/main" id="{E5398456-2C4C-41FA-8094-A7854512B50D}"/>
              </a:ext>
            </a:extLst>
          </p:cNvPr>
          <p:cNvGrpSpPr/>
          <p:nvPr/>
        </p:nvGrpSpPr>
        <p:grpSpPr>
          <a:xfrm>
            <a:off x="1265797" y="4830313"/>
            <a:ext cx="1307332" cy="1442638"/>
            <a:chOff x="1352087" y="2479003"/>
            <a:chExt cx="1307332" cy="1442638"/>
          </a:xfrm>
        </p:grpSpPr>
        <p:sp>
          <p:nvSpPr>
            <p:cNvPr id="270" name="Rectangle 269">
              <a:extLst>
                <a:ext uri="{FF2B5EF4-FFF2-40B4-BE49-F238E27FC236}">
                  <a16:creationId xmlns:a16="http://schemas.microsoft.com/office/drawing/2014/main" id="{4AC8E1A3-5B51-45C1-B632-E82587118DF3}"/>
                </a:ext>
              </a:extLst>
            </p:cNvPr>
            <p:cNvSpPr/>
            <p:nvPr/>
          </p:nvSpPr>
          <p:spPr>
            <a:xfrm>
              <a:off x="1352087" y="2904569"/>
              <a:ext cx="1307332" cy="718658"/>
            </a:xfrm>
            <a:prstGeom prst="rect">
              <a:avLst/>
            </a:prstGeom>
          </p:spPr>
          <p:txBody>
            <a:bodyPr wrap="square">
              <a:spAutoFit/>
            </a:bodyPr>
            <a:lstStyle/>
            <a:p>
              <a:pPr lvl="0" algn="ctr">
                <a:lnSpc>
                  <a:spcPct val="85000"/>
                </a:lnSpc>
                <a:defRPr/>
              </a:pPr>
              <a:r>
                <a:rPr lang="en-US" sz="1197" b="1" dirty="0">
                  <a:solidFill>
                    <a:srgbClr val="3D4647">
                      <a:lumMod val="75000"/>
                    </a:srgbClr>
                  </a:solidFill>
                </a:rPr>
                <a:t> Technology Leader in the Global IoT PLM Market</a:t>
              </a:r>
              <a:endParaRPr kumimoji="0" lang="en-US" sz="1197"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endParaRPr>
            </a:p>
          </p:txBody>
        </p:sp>
        <p:grpSp>
          <p:nvGrpSpPr>
            <p:cNvPr id="271" name="Group 270">
              <a:extLst>
                <a:ext uri="{FF2B5EF4-FFF2-40B4-BE49-F238E27FC236}">
                  <a16:creationId xmlns:a16="http://schemas.microsoft.com/office/drawing/2014/main" id="{2F6C7938-D624-4894-ABDD-EEE16109A569}"/>
                </a:ext>
              </a:extLst>
            </p:cNvPr>
            <p:cNvGrpSpPr/>
            <p:nvPr/>
          </p:nvGrpSpPr>
          <p:grpSpPr>
            <a:xfrm>
              <a:off x="1558514" y="2479003"/>
              <a:ext cx="856379" cy="1442638"/>
              <a:chOff x="1558514" y="2479003"/>
              <a:chExt cx="856379" cy="1442638"/>
            </a:xfrm>
          </p:grpSpPr>
          <p:sp>
            <p:nvSpPr>
              <p:cNvPr id="272" name="Rectangle 271">
                <a:extLst>
                  <a:ext uri="{FF2B5EF4-FFF2-40B4-BE49-F238E27FC236}">
                    <a16:creationId xmlns:a16="http://schemas.microsoft.com/office/drawing/2014/main" id="{642A99A1-DA7A-4276-A6F0-EC527E6394DE}"/>
                  </a:ext>
                </a:extLst>
              </p:cNvPr>
              <p:cNvSpPr/>
              <p:nvPr/>
            </p:nvSpPr>
            <p:spPr>
              <a:xfrm>
                <a:off x="1737090" y="2479003"/>
                <a:ext cx="537327" cy="307777"/>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entury Gothic" panose="020F0302020204030204"/>
                    <a:ea typeface="+mn-ea"/>
                    <a:cs typeface="+mn-cs"/>
                  </a:rPr>
                  <a:t>JAN</a:t>
                </a:r>
                <a:endPar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cxnSp>
            <p:nvCxnSpPr>
              <p:cNvPr id="273" name="Straight Connector 272">
                <a:extLst>
                  <a:ext uri="{FF2B5EF4-FFF2-40B4-BE49-F238E27FC236}">
                    <a16:creationId xmlns:a16="http://schemas.microsoft.com/office/drawing/2014/main" id="{A3DCE5C9-5A1D-4851-BB62-16603B9C45D6}"/>
                  </a:ext>
                </a:extLst>
              </p:cNvPr>
              <p:cNvCxnSpPr/>
              <p:nvPr/>
            </p:nvCxnSpPr>
            <p:spPr>
              <a:xfrm>
                <a:off x="2005753" y="2791285"/>
                <a:ext cx="0" cy="91214"/>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pic>
            <p:nvPicPr>
              <p:cNvPr id="274" name="Picture 273">
                <a:hlinkClick r:id="rId13"/>
                <a:extLst>
                  <a:ext uri="{FF2B5EF4-FFF2-40B4-BE49-F238E27FC236}">
                    <a16:creationId xmlns:a16="http://schemas.microsoft.com/office/drawing/2014/main" id="{86F70104-BC9C-48FF-AEF4-A0629FB3247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58514" y="3693041"/>
                <a:ext cx="856379" cy="228600"/>
              </a:xfrm>
              <a:prstGeom prst="rect">
                <a:avLst/>
              </a:prstGeom>
            </p:spPr>
          </p:pic>
        </p:grpSp>
      </p:grpSp>
      <p:grpSp>
        <p:nvGrpSpPr>
          <p:cNvPr id="29" name="Group 28">
            <a:extLst>
              <a:ext uri="{FF2B5EF4-FFF2-40B4-BE49-F238E27FC236}">
                <a16:creationId xmlns:a16="http://schemas.microsoft.com/office/drawing/2014/main" id="{EA6A00AA-453E-4D7B-B6D2-EBA618412459}"/>
              </a:ext>
            </a:extLst>
          </p:cNvPr>
          <p:cNvGrpSpPr/>
          <p:nvPr/>
        </p:nvGrpSpPr>
        <p:grpSpPr>
          <a:xfrm>
            <a:off x="2572679" y="4830313"/>
            <a:ext cx="1280160" cy="1637619"/>
            <a:chOff x="2425716" y="4830313"/>
            <a:chExt cx="1280160" cy="1637619"/>
          </a:xfrm>
        </p:grpSpPr>
        <p:sp>
          <p:nvSpPr>
            <p:cNvPr id="266" name="Rectangle 265">
              <a:extLst>
                <a:ext uri="{FF2B5EF4-FFF2-40B4-BE49-F238E27FC236}">
                  <a16:creationId xmlns:a16="http://schemas.microsoft.com/office/drawing/2014/main" id="{7862657C-47AE-43D5-8C35-00AA2DB4D71C}"/>
                </a:ext>
              </a:extLst>
            </p:cNvPr>
            <p:cNvSpPr/>
            <p:nvPr/>
          </p:nvSpPr>
          <p:spPr>
            <a:xfrm>
              <a:off x="2425716" y="5532105"/>
              <a:ext cx="1280160" cy="562077"/>
            </a:xfrm>
            <a:prstGeom prst="rect">
              <a:avLst/>
            </a:prstGeom>
          </p:spPr>
          <p:txBody>
            <a:bodyPr wrap="square">
              <a:spAutoFit/>
            </a:bodyPr>
            <a:lstStyle/>
            <a:p>
              <a:pPr lvl="0" algn="ctr">
                <a:lnSpc>
                  <a:spcPct val="85000"/>
                </a:lnSpc>
                <a:defRPr/>
              </a:pPr>
              <a:r>
                <a:rPr lang="en-US" sz="1197" b="1">
                  <a:solidFill>
                    <a:srgbClr val="3D4647">
                      <a:lumMod val="75000"/>
                    </a:srgbClr>
                  </a:solidFill>
                </a:rPr>
                <a:t>IoT Innovation Vendor of </a:t>
              </a:r>
              <a:br>
                <a:rPr lang="en-US" sz="1197" b="1">
                  <a:solidFill>
                    <a:srgbClr val="3D4647">
                      <a:lumMod val="75000"/>
                    </a:srgbClr>
                  </a:solidFill>
                </a:rPr>
              </a:br>
              <a:r>
                <a:rPr lang="en-US" sz="1197" b="1">
                  <a:solidFill>
                    <a:srgbClr val="3D4647">
                      <a:lumMod val="75000"/>
                    </a:srgbClr>
                  </a:solidFill>
                </a:rPr>
                <a:t>the Year </a:t>
              </a:r>
              <a:endParaRPr kumimoji="0" lang="en-US" sz="1197"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endParaRPr>
            </a:p>
          </p:txBody>
        </p:sp>
        <p:sp>
          <p:nvSpPr>
            <p:cNvPr id="267" name="Rectangle 266">
              <a:extLst>
                <a:ext uri="{FF2B5EF4-FFF2-40B4-BE49-F238E27FC236}">
                  <a16:creationId xmlns:a16="http://schemas.microsoft.com/office/drawing/2014/main" id="{F86EEB9F-1398-4575-80D9-61E0FFED6500}"/>
                </a:ext>
              </a:extLst>
            </p:cNvPr>
            <p:cNvSpPr/>
            <p:nvPr/>
          </p:nvSpPr>
          <p:spPr>
            <a:xfrm>
              <a:off x="2800296" y="4830313"/>
              <a:ext cx="537327" cy="307777"/>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entury Gothic" panose="020F0302020204030204"/>
                  <a:ea typeface="+mn-ea"/>
                  <a:cs typeface="+mn-cs"/>
                </a:rPr>
                <a:t>JAN</a:t>
              </a:r>
              <a:endPar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cxnSp>
          <p:nvCxnSpPr>
            <p:cNvPr id="268" name="Straight Connector 267">
              <a:extLst>
                <a:ext uri="{FF2B5EF4-FFF2-40B4-BE49-F238E27FC236}">
                  <a16:creationId xmlns:a16="http://schemas.microsoft.com/office/drawing/2014/main" id="{37D35256-B04F-4A33-B4D0-F2CFAA303C20}"/>
                </a:ext>
              </a:extLst>
            </p:cNvPr>
            <p:cNvCxnSpPr/>
            <p:nvPr/>
          </p:nvCxnSpPr>
          <p:spPr>
            <a:xfrm>
              <a:off x="3068959" y="5142595"/>
              <a:ext cx="0" cy="36576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pic>
          <p:nvPicPr>
            <p:cNvPr id="269" name="Picture 268">
              <a:hlinkClick r:id="rId24"/>
              <a:extLst>
                <a:ext uri="{FF2B5EF4-FFF2-40B4-BE49-F238E27FC236}">
                  <a16:creationId xmlns:a16="http://schemas.microsoft.com/office/drawing/2014/main" id="{0701CD08-15A7-4511-8863-9C789A393911}"/>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648292" y="6120460"/>
              <a:ext cx="841335" cy="347472"/>
            </a:xfrm>
            <a:prstGeom prst="rect">
              <a:avLst/>
            </a:prstGeom>
          </p:spPr>
        </p:pic>
      </p:grpSp>
      <p:grpSp>
        <p:nvGrpSpPr>
          <p:cNvPr id="249" name="Group 248">
            <a:extLst>
              <a:ext uri="{FF2B5EF4-FFF2-40B4-BE49-F238E27FC236}">
                <a16:creationId xmlns:a16="http://schemas.microsoft.com/office/drawing/2014/main" id="{2317DE52-3252-4B20-BDA3-897965A88969}"/>
              </a:ext>
            </a:extLst>
          </p:cNvPr>
          <p:cNvGrpSpPr/>
          <p:nvPr/>
        </p:nvGrpSpPr>
        <p:grpSpPr>
          <a:xfrm>
            <a:off x="3914072" y="4830313"/>
            <a:ext cx="1307332" cy="1409264"/>
            <a:chOff x="3979241" y="2479003"/>
            <a:chExt cx="1307332" cy="1409264"/>
          </a:xfrm>
        </p:grpSpPr>
        <p:grpSp>
          <p:nvGrpSpPr>
            <p:cNvPr id="261" name="Group 260">
              <a:extLst>
                <a:ext uri="{FF2B5EF4-FFF2-40B4-BE49-F238E27FC236}">
                  <a16:creationId xmlns:a16="http://schemas.microsoft.com/office/drawing/2014/main" id="{B3BAD681-B257-43C8-95CC-56390CC5E16F}"/>
                </a:ext>
              </a:extLst>
            </p:cNvPr>
            <p:cNvGrpSpPr/>
            <p:nvPr/>
          </p:nvGrpSpPr>
          <p:grpSpPr>
            <a:xfrm>
              <a:off x="3979241" y="2479003"/>
              <a:ext cx="1307332" cy="1144224"/>
              <a:chOff x="1352087" y="2479003"/>
              <a:chExt cx="1307332" cy="1144224"/>
            </a:xfrm>
          </p:grpSpPr>
          <p:sp>
            <p:nvSpPr>
              <p:cNvPr id="263" name="Rectangle 262">
                <a:extLst>
                  <a:ext uri="{FF2B5EF4-FFF2-40B4-BE49-F238E27FC236}">
                    <a16:creationId xmlns:a16="http://schemas.microsoft.com/office/drawing/2014/main" id="{0B95F18E-AD32-4B0E-AE1C-8D8267DEF03C}"/>
                  </a:ext>
                </a:extLst>
              </p:cNvPr>
              <p:cNvSpPr/>
              <p:nvPr/>
            </p:nvSpPr>
            <p:spPr>
              <a:xfrm>
                <a:off x="1352087" y="2904569"/>
                <a:ext cx="1307332" cy="718658"/>
              </a:xfrm>
              <a:prstGeom prst="rect">
                <a:avLst/>
              </a:prstGeom>
            </p:spPr>
            <p:txBody>
              <a:bodyPr wrap="square">
                <a:spAutoFit/>
              </a:bodyPr>
              <a:lstStyle/>
              <a:p>
                <a:pPr lvl="0" algn="ctr">
                  <a:lnSpc>
                    <a:spcPct val="85000"/>
                  </a:lnSpc>
                  <a:defRPr/>
                </a:pPr>
                <a:r>
                  <a:rPr lang="en-US" sz="1197" b="1">
                    <a:solidFill>
                      <a:srgbClr val="3D4647">
                        <a:lumMod val="75000"/>
                      </a:srgbClr>
                    </a:solidFill>
                  </a:rPr>
                  <a:t>Leading Provider of PLM in Aerospace and Defense</a:t>
                </a:r>
                <a:endParaRPr kumimoji="0" lang="en-US" sz="1197"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endParaRPr>
              </a:p>
            </p:txBody>
          </p:sp>
          <p:sp>
            <p:nvSpPr>
              <p:cNvPr id="264" name="Rectangle 263">
                <a:extLst>
                  <a:ext uri="{FF2B5EF4-FFF2-40B4-BE49-F238E27FC236}">
                    <a16:creationId xmlns:a16="http://schemas.microsoft.com/office/drawing/2014/main" id="{43868529-15FC-476C-BA03-8D8DBA770B46}"/>
                  </a:ext>
                </a:extLst>
              </p:cNvPr>
              <p:cNvSpPr/>
              <p:nvPr/>
            </p:nvSpPr>
            <p:spPr>
              <a:xfrm>
                <a:off x="1737090" y="2479003"/>
                <a:ext cx="471604" cy="307777"/>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entury Gothic" panose="020F0302020204030204"/>
                    <a:ea typeface="+mn-ea"/>
                    <a:cs typeface="+mn-cs"/>
                  </a:rPr>
                  <a:t>JUL</a:t>
                </a:r>
                <a:endPar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cxnSp>
            <p:nvCxnSpPr>
              <p:cNvPr id="265" name="Straight Connector 264">
                <a:extLst>
                  <a:ext uri="{FF2B5EF4-FFF2-40B4-BE49-F238E27FC236}">
                    <a16:creationId xmlns:a16="http://schemas.microsoft.com/office/drawing/2014/main" id="{3211786F-EF1C-485A-A17B-50AC1BECC557}"/>
                  </a:ext>
                </a:extLst>
              </p:cNvPr>
              <p:cNvCxnSpPr/>
              <p:nvPr/>
            </p:nvCxnSpPr>
            <p:spPr>
              <a:xfrm>
                <a:off x="2005753" y="2791285"/>
                <a:ext cx="0" cy="91214"/>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grpSp>
        <p:pic>
          <p:nvPicPr>
            <p:cNvPr id="262" name="Picture 261">
              <a:hlinkClick r:id="rId26"/>
              <a:extLst>
                <a:ext uri="{FF2B5EF4-FFF2-40B4-BE49-F238E27FC236}">
                  <a16:creationId xmlns:a16="http://schemas.microsoft.com/office/drawing/2014/main" id="{6A0C9B5F-93E2-40EF-B843-489214F2438D}"/>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4157326" y="3677955"/>
              <a:ext cx="951162" cy="210312"/>
            </a:xfrm>
            <a:prstGeom prst="rect">
              <a:avLst/>
            </a:prstGeom>
          </p:spPr>
        </p:pic>
      </p:grpSp>
      <p:grpSp>
        <p:nvGrpSpPr>
          <p:cNvPr id="18" name="Group 17">
            <a:extLst>
              <a:ext uri="{FF2B5EF4-FFF2-40B4-BE49-F238E27FC236}">
                <a16:creationId xmlns:a16="http://schemas.microsoft.com/office/drawing/2014/main" id="{E3B5FE80-8ED8-432E-86D4-45EA0DAFD323}"/>
              </a:ext>
            </a:extLst>
          </p:cNvPr>
          <p:cNvGrpSpPr/>
          <p:nvPr/>
        </p:nvGrpSpPr>
        <p:grpSpPr>
          <a:xfrm>
            <a:off x="7145436" y="4835813"/>
            <a:ext cx="1828800" cy="1662053"/>
            <a:chOff x="7021611" y="4835813"/>
            <a:chExt cx="1828800" cy="1662053"/>
          </a:xfrm>
        </p:grpSpPr>
        <p:sp>
          <p:nvSpPr>
            <p:cNvPr id="257" name="Rectangle 256">
              <a:extLst>
                <a:ext uri="{FF2B5EF4-FFF2-40B4-BE49-F238E27FC236}">
                  <a16:creationId xmlns:a16="http://schemas.microsoft.com/office/drawing/2014/main" id="{3FF0B122-A712-4031-AA78-5B90E20B37F9}"/>
                </a:ext>
              </a:extLst>
            </p:cNvPr>
            <p:cNvSpPr/>
            <p:nvPr/>
          </p:nvSpPr>
          <p:spPr>
            <a:xfrm>
              <a:off x="7021611" y="5263162"/>
              <a:ext cx="1828800" cy="889090"/>
            </a:xfrm>
            <a:prstGeom prst="rect">
              <a:avLst/>
            </a:prstGeom>
          </p:spPr>
          <p:txBody>
            <a:bodyPr wrap="square">
              <a:spAutoFit/>
            </a:bodyPr>
            <a:lstStyle/>
            <a:p>
              <a:pPr marL="0" marR="0" lvl="0" indent="0" algn="ctr" defTabSz="1086775"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IoT Enablement Company of the Year </a:t>
              </a:r>
            </a:p>
            <a:p>
              <a:pPr marL="0" marR="0" lvl="0" indent="0" algn="ctr" defTabSz="1086775" rtl="0" eaLnBrk="1" fontAlgn="auto" latinLnBrk="0" hangingPunct="1">
                <a:lnSpc>
                  <a:spcPct val="85000"/>
                </a:lnSpc>
                <a:spcBef>
                  <a:spcPts val="0"/>
                </a:spcBef>
                <a:spcAft>
                  <a:spcPts val="0"/>
                </a:spcAft>
                <a:buClrTx/>
                <a:buSzTx/>
                <a:buFontTx/>
                <a:buNone/>
                <a:tabLst/>
                <a:defRPr/>
              </a:pPr>
              <a:endParaRPr kumimoji="0" lang="en-US" sz="1097"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endParaRPr>
            </a:p>
            <a:p>
              <a:pPr marL="0" marR="0" lvl="0" indent="0" algn="ctr" defTabSz="1086775"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Leading Augmented Reality Vendor</a:t>
              </a:r>
            </a:p>
          </p:txBody>
        </p:sp>
        <p:sp>
          <p:nvSpPr>
            <p:cNvPr id="258" name="Rectangle 257">
              <a:extLst>
                <a:ext uri="{FF2B5EF4-FFF2-40B4-BE49-F238E27FC236}">
                  <a16:creationId xmlns:a16="http://schemas.microsoft.com/office/drawing/2014/main" id="{B615071C-FCC0-4AFE-839D-2C421C42086A}"/>
                </a:ext>
              </a:extLst>
            </p:cNvPr>
            <p:cNvSpPr/>
            <p:nvPr/>
          </p:nvSpPr>
          <p:spPr>
            <a:xfrm>
              <a:off x="7698395" y="4835813"/>
              <a:ext cx="475233" cy="307016"/>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entury Gothic" panose="020F0302020204030204"/>
                  <a:ea typeface="+mn-ea"/>
                  <a:cs typeface="+mn-cs"/>
                </a:rPr>
                <a:t>SEP</a:t>
              </a:r>
              <a:endPar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cxnSp>
          <p:nvCxnSpPr>
            <p:cNvPr id="259" name="Straight Connector 258">
              <a:extLst>
                <a:ext uri="{FF2B5EF4-FFF2-40B4-BE49-F238E27FC236}">
                  <a16:creationId xmlns:a16="http://schemas.microsoft.com/office/drawing/2014/main" id="{E8CD4126-B788-4F13-9B30-5172EBA286BD}"/>
                </a:ext>
              </a:extLst>
            </p:cNvPr>
            <p:cNvCxnSpPr/>
            <p:nvPr/>
          </p:nvCxnSpPr>
          <p:spPr>
            <a:xfrm>
              <a:off x="7936011" y="5149878"/>
              <a:ext cx="0" cy="91214"/>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pic>
          <p:nvPicPr>
            <p:cNvPr id="260" name="Picture 259">
              <a:hlinkClick r:id="rId24"/>
              <a:extLst>
                <a:ext uri="{FF2B5EF4-FFF2-40B4-BE49-F238E27FC236}">
                  <a16:creationId xmlns:a16="http://schemas.microsoft.com/office/drawing/2014/main" id="{6DEBD05D-8E80-4A5E-8558-16FE46E47CDC}"/>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515344" y="6150394"/>
              <a:ext cx="841335" cy="347472"/>
            </a:xfrm>
            <a:prstGeom prst="rect">
              <a:avLst/>
            </a:prstGeom>
          </p:spPr>
        </p:pic>
      </p:grpSp>
      <p:grpSp>
        <p:nvGrpSpPr>
          <p:cNvPr id="14" name="Group 13">
            <a:extLst>
              <a:ext uri="{FF2B5EF4-FFF2-40B4-BE49-F238E27FC236}">
                <a16:creationId xmlns:a16="http://schemas.microsoft.com/office/drawing/2014/main" id="{9B5B45C0-9D0C-451A-9599-0EDF07272F3A}"/>
              </a:ext>
            </a:extLst>
          </p:cNvPr>
          <p:cNvGrpSpPr/>
          <p:nvPr/>
        </p:nvGrpSpPr>
        <p:grpSpPr>
          <a:xfrm>
            <a:off x="10343447" y="4827759"/>
            <a:ext cx="1069091" cy="1172828"/>
            <a:chOff x="10514897" y="4827759"/>
            <a:chExt cx="1069091" cy="1172828"/>
          </a:xfrm>
        </p:grpSpPr>
        <p:sp>
          <p:nvSpPr>
            <p:cNvPr id="255" name="Rectangle 254">
              <a:extLst>
                <a:ext uri="{FF2B5EF4-FFF2-40B4-BE49-F238E27FC236}">
                  <a16:creationId xmlns:a16="http://schemas.microsoft.com/office/drawing/2014/main" id="{91240D18-56EB-4E0A-96E5-BB3414B6A4BC}"/>
                </a:ext>
              </a:extLst>
            </p:cNvPr>
            <p:cNvSpPr/>
            <p:nvPr/>
          </p:nvSpPr>
          <p:spPr>
            <a:xfrm>
              <a:off x="10514897" y="5266768"/>
              <a:ext cx="1069091" cy="563231"/>
            </a:xfrm>
            <a:prstGeom prst="rect">
              <a:avLst/>
            </a:prstGeom>
          </p:spPr>
          <p:txBody>
            <a:bodyPr wrap="square">
              <a:spAutoFit/>
            </a:bodyPr>
            <a:lstStyle/>
            <a:p>
              <a:pPr marL="0" marR="0" lvl="0" indent="0" algn="ctr" defTabSz="1086775"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IoT Software </a:t>
              </a: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Platforms </a:t>
              </a:r>
              <a:b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b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Leader</a:t>
              </a:r>
              <a:endPar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endParaRPr>
            </a:p>
          </p:txBody>
        </p:sp>
        <p:sp>
          <p:nvSpPr>
            <p:cNvPr id="256" name="Rectangle 255">
              <a:extLst>
                <a:ext uri="{FF2B5EF4-FFF2-40B4-BE49-F238E27FC236}">
                  <a16:creationId xmlns:a16="http://schemas.microsoft.com/office/drawing/2014/main" id="{19515296-E0AB-4C44-B24C-D9B7893E23CE}"/>
                </a:ext>
              </a:extLst>
            </p:cNvPr>
            <p:cNvSpPr/>
            <p:nvPr/>
          </p:nvSpPr>
          <p:spPr>
            <a:xfrm>
              <a:off x="10750262" y="4827759"/>
              <a:ext cx="598360" cy="307016"/>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dirty="0">
                  <a:ln>
                    <a:noFill/>
                  </a:ln>
                  <a:solidFill>
                    <a:srgbClr val="FFFFFF"/>
                  </a:solidFill>
                  <a:effectLst/>
                  <a:uLnTx/>
                  <a:uFillTx/>
                  <a:latin typeface="Century Gothic" panose="020F0302020204030204"/>
                  <a:ea typeface="+mn-ea"/>
                  <a:cs typeface="+mn-cs"/>
                </a:rPr>
                <a:t>NOV</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cxnSp>
          <p:nvCxnSpPr>
            <p:cNvPr id="253" name="Straight Connector 252">
              <a:extLst>
                <a:ext uri="{FF2B5EF4-FFF2-40B4-BE49-F238E27FC236}">
                  <a16:creationId xmlns:a16="http://schemas.microsoft.com/office/drawing/2014/main" id="{D9756B4D-4F87-483F-A120-94F57110D799}"/>
                </a:ext>
              </a:extLst>
            </p:cNvPr>
            <p:cNvCxnSpPr/>
            <p:nvPr/>
          </p:nvCxnSpPr>
          <p:spPr>
            <a:xfrm>
              <a:off x="11049442" y="5142595"/>
              <a:ext cx="0" cy="91214"/>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pic>
          <p:nvPicPr>
            <p:cNvPr id="254" name="Picture 253">
              <a:hlinkClick r:id="rId16"/>
              <a:extLst>
                <a:ext uri="{FF2B5EF4-FFF2-40B4-BE49-F238E27FC236}">
                  <a16:creationId xmlns:a16="http://schemas.microsoft.com/office/drawing/2014/main" id="{981765B5-BB5C-42D3-8DBD-DA45B79F80C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674365" y="5881076"/>
              <a:ext cx="750154" cy="119511"/>
            </a:xfrm>
            <a:prstGeom prst="rect">
              <a:avLst/>
            </a:prstGeom>
          </p:spPr>
        </p:pic>
      </p:grpSp>
      <p:grpSp>
        <p:nvGrpSpPr>
          <p:cNvPr id="28" name="Group 27">
            <a:extLst>
              <a:ext uri="{FF2B5EF4-FFF2-40B4-BE49-F238E27FC236}">
                <a16:creationId xmlns:a16="http://schemas.microsoft.com/office/drawing/2014/main" id="{E2221FF8-3E50-4E17-B6A1-37BD4F48A930}"/>
              </a:ext>
            </a:extLst>
          </p:cNvPr>
          <p:cNvGrpSpPr/>
          <p:nvPr/>
        </p:nvGrpSpPr>
        <p:grpSpPr>
          <a:xfrm>
            <a:off x="3520315" y="2725499"/>
            <a:ext cx="1809096" cy="1816059"/>
            <a:chOff x="3520315" y="2725499"/>
            <a:chExt cx="1809096" cy="1816059"/>
          </a:xfrm>
        </p:grpSpPr>
        <p:sp>
          <p:nvSpPr>
            <p:cNvPr id="198" name="Rectangle 197">
              <a:extLst>
                <a:ext uri="{FF2B5EF4-FFF2-40B4-BE49-F238E27FC236}">
                  <a16:creationId xmlns:a16="http://schemas.microsoft.com/office/drawing/2014/main" id="{CA912A44-1986-4180-9F37-37652E74F468}"/>
                </a:ext>
              </a:extLst>
            </p:cNvPr>
            <p:cNvSpPr/>
            <p:nvPr/>
          </p:nvSpPr>
          <p:spPr>
            <a:xfrm>
              <a:off x="4164860" y="2725499"/>
              <a:ext cx="520007" cy="307016"/>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397" b="0" i="0" u="none" strike="noStrike" kern="1200" cap="none" spc="0" normalizeH="0" baseline="0" noProof="0" dirty="0">
                  <a:ln>
                    <a:noFill/>
                  </a:ln>
                  <a:solidFill>
                    <a:srgbClr val="FFFFFF"/>
                  </a:solidFill>
                  <a:effectLst/>
                  <a:uLnTx/>
                  <a:uFillTx/>
                  <a:latin typeface="Century Gothic" panose="020F0302020204030204"/>
                  <a:ea typeface="+mn-ea"/>
                  <a:cs typeface="+mn-cs"/>
                </a:rPr>
                <a:t>JUN</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sp>
          <p:nvSpPr>
            <p:cNvPr id="199" name="Rectangle 198">
              <a:extLst>
                <a:ext uri="{FF2B5EF4-FFF2-40B4-BE49-F238E27FC236}">
                  <a16:creationId xmlns:a16="http://schemas.microsoft.com/office/drawing/2014/main" id="{4F6568F8-B5BD-4C92-92FF-25F860FF7B9B}"/>
                </a:ext>
              </a:extLst>
            </p:cNvPr>
            <p:cNvSpPr/>
            <p:nvPr/>
          </p:nvSpPr>
          <p:spPr>
            <a:xfrm>
              <a:off x="3520315" y="3176420"/>
              <a:ext cx="1809096" cy="999056"/>
            </a:xfrm>
            <a:prstGeom prst="rect">
              <a:avLst/>
            </a:prstGeom>
          </p:spPr>
          <p:txBody>
            <a:bodyPr wrap="square">
              <a:spAutoFit/>
            </a:bodyPr>
            <a:lstStyle/>
            <a:p>
              <a:pPr marL="0" marR="0" lvl="0" indent="0" algn="ctr" defTabSz="1086775" rtl="0" eaLnBrk="1" fontAlgn="auto" latinLnBrk="0" hangingPunct="1">
                <a:lnSpc>
                  <a:spcPct val="83000"/>
                </a:lnSpc>
                <a:spcBef>
                  <a:spcPts val="0"/>
                </a:spcBef>
                <a:spcAft>
                  <a:spcPts val="0"/>
                </a:spcAft>
                <a:buClrTx/>
                <a:buSzTx/>
                <a:buFontTx/>
                <a:buNone/>
                <a:tabLst/>
                <a:defRPr/>
              </a:pP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Industrial IoT</a:t>
              </a:r>
              <a:b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b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Company of the </a:t>
              </a: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Year </a:t>
              </a:r>
            </a:p>
            <a:p>
              <a:pPr marL="0" marR="0" lvl="0" indent="0" algn="ctr" defTabSz="1086775" rtl="0" eaLnBrk="1" fontAlgn="auto" latinLnBrk="0" hangingPunct="1">
                <a:lnSpc>
                  <a:spcPct val="83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endParaRPr>
            </a:p>
            <a:p>
              <a:pPr marL="0" marR="0" lvl="0" indent="0" algn="ctr" defTabSz="1086775" rtl="0" eaLnBrk="1" fontAlgn="auto" latinLnBrk="0" hangingPunct="1">
                <a:lnSpc>
                  <a:spcPct val="83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IoT </a:t>
              </a: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Innovative </a:t>
              </a:r>
              <a:b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b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Product </a:t>
              </a: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of </a:t>
              </a: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the </a:t>
              </a:r>
              <a:b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br>
              <a:r>
                <a:rPr kumimoji="0" lang="en-US" sz="1200" b="1" i="0" u="none" strike="noStrike" kern="1200" cap="none" spc="0" normalizeH="0" baseline="0" noProof="0">
                  <a:ln>
                    <a:noFill/>
                  </a:ln>
                  <a:solidFill>
                    <a:srgbClr val="3D4647">
                      <a:lumMod val="75000"/>
                    </a:srgbClr>
                  </a:solidFill>
                  <a:effectLst/>
                  <a:uLnTx/>
                  <a:uFillTx/>
                  <a:latin typeface="Century Gothic" panose="020F0302020204030204"/>
                  <a:ea typeface="+mn-ea"/>
                  <a:cs typeface="+mn-cs"/>
                </a:rPr>
                <a:t>Year </a:t>
              </a:r>
              <a:r>
                <a:rPr kumimoji="0" lang="en-US" sz="1200" b="1" i="0" u="none" strike="noStrike" kern="1200" cap="none" spc="0" normalizeH="0" baseline="0" noProof="0" dirty="0">
                  <a:ln>
                    <a:noFill/>
                  </a:ln>
                  <a:solidFill>
                    <a:srgbClr val="3D4647">
                      <a:lumMod val="75000"/>
                    </a:srgbClr>
                  </a:solidFill>
                  <a:effectLst/>
                  <a:uLnTx/>
                  <a:uFillTx/>
                  <a:latin typeface="Century Gothic" panose="020F0302020204030204"/>
                  <a:ea typeface="+mn-ea"/>
                  <a:cs typeface="+mn-cs"/>
                </a:rPr>
                <a:t>Vendor</a:t>
              </a:r>
            </a:p>
          </p:txBody>
        </p:sp>
        <p:cxnSp>
          <p:nvCxnSpPr>
            <p:cNvPr id="327" name="Straight Connector 326">
              <a:extLst>
                <a:ext uri="{FF2B5EF4-FFF2-40B4-BE49-F238E27FC236}">
                  <a16:creationId xmlns:a16="http://schemas.microsoft.com/office/drawing/2014/main" id="{960E5A47-B8D8-439D-A1AD-A27332B1E928}"/>
                </a:ext>
              </a:extLst>
            </p:cNvPr>
            <p:cNvCxnSpPr/>
            <p:nvPr/>
          </p:nvCxnSpPr>
          <p:spPr>
            <a:xfrm>
              <a:off x="4424863" y="3034701"/>
              <a:ext cx="1" cy="9144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pic>
          <p:nvPicPr>
            <p:cNvPr id="328" name="Picture 327">
              <a:hlinkClick r:id="rId24"/>
              <a:extLst>
                <a:ext uri="{FF2B5EF4-FFF2-40B4-BE49-F238E27FC236}">
                  <a16:creationId xmlns:a16="http://schemas.microsoft.com/office/drawing/2014/main" id="{0CF10DD1-EC07-4D17-9F6C-7ECFFB148E39}"/>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004196" y="4194086"/>
              <a:ext cx="841335" cy="347472"/>
            </a:xfrm>
            <a:prstGeom prst="rect">
              <a:avLst/>
            </a:prstGeom>
          </p:spPr>
        </p:pic>
      </p:grpSp>
      <p:grpSp>
        <p:nvGrpSpPr>
          <p:cNvPr id="2" name="Group 1">
            <a:extLst>
              <a:ext uri="{FF2B5EF4-FFF2-40B4-BE49-F238E27FC236}">
                <a16:creationId xmlns:a16="http://schemas.microsoft.com/office/drawing/2014/main" id="{8618D2C0-5BB4-42ED-99CE-2378AAA22D11}"/>
              </a:ext>
            </a:extLst>
          </p:cNvPr>
          <p:cNvGrpSpPr/>
          <p:nvPr/>
        </p:nvGrpSpPr>
        <p:grpSpPr>
          <a:xfrm>
            <a:off x="8850942" y="991029"/>
            <a:ext cx="1283746" cy="1588285"/>
            <a:chOff x="8841889" y="991029"/>
            <a:chExt cx="1283746" cy="1588285"/>
          </a:xfrm>
        </p:grpSpPr>
        <p:sp>
          <p:nvSpPr>
            <p:cNvPr id="130" name="Rectangle 129">
              <a:extLst>
                <a:ext uri="{FF2B5EF4-FFF2-40B4-BE49-F238E27FC236}">
                  <a16:creationId xmlns:a16="http://schemas.microsoft.com/office/drawing/2014/main" id="{3C05C021-B6DD-49A9-AEDB-4C402D443D9B}"/>
                </a:ext>
              </a:extLst>
            </p:cNvPr>
            <p:cNvSpPr/>
            <p:nvPr/>
          </p:nvSpPr>
          <p:spPr>
            <a:xfrm>
              <a:off x="8841889" y="1755259"/>
              <a:ext cx="1283746" cy="563231"/>
            </a:xfrm>
            <a:prstGeom prst="rect">
              <a:avLst/>
            </a:prstGeom>
          </p:spPr>
          <p:txBody>
            <a:bodyPr wrap="square">
              <a:spAutoFit/>
            </a:bodyPr>
            <a:lstStyle/>
            <a:p>
              <a:pPr lvl="0" algn="ctr">
                <a:lnSpc>
                  <a:spcPct val="85000"/>
                </a:lnSpc>
                <a:defRPr/>
              </a:pPr>
              <a:r>
                <a:rPr lang="en-US" sz="1200" b="1">
                  <a:solidFill>
                    <a:srgbClr val="3D4647">
                      <a:lumMod val="75000"/>
                    </a:srgbClr>
                  </a:solidFill>
                </a:rPr>
                <a:t>Top Smart Manufacturing Platform</a:t>
              </a:r>
              <a:endParaRPr lang="en-US" sz="1200" b="1" dirty="0">
                <a:solidFill>
                  <a:srgbClr val="3D4647">
                    <a:lumMod val="75000"/>
                  </a:srgbClr>
                </a:solidFill>
              </a:endParaRPr>
            </a:p>
          </p:txBody>
        </p:sp>
        <p:cxnSp>
          <p:nvCxnSpPr>
            <p:cNvPr id="132" name="Straight Connector 131">
              <a:extLst>
                <a:ext uri="{FF2B5EF4-FFF2-40B4-BE49-F238E27FC236}">
                  <a16:creationId xmlns:a16="http://schemas.microsoft.com/office/drawing/2014/main" id="{0692415C-9466-4226-8574-895A8E25CDA7}"/>
                </a:ext>
              </a:extLst>
            </p:cNvPr>
            <p:cNvCxnSpPr/>
            <p:nvPr/>
          </p:nvCxnSpPr>
          <p:spPr>
            <a:xfrm>
              <a:off x="9483762" y="1289235"/>
              <a:ext cx="0" cy="41148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C3F978B9-E823-404B-A9A4-549EDBC70164}"/>
                </a:ext>
              </a:extLst>
            </p:cNvPr>
            <p:cNvSpPr/>
            <p:nvPr/>
          </p:nvSpPr>
          <p:spPr>
            <a:xfrm>
              <a:off x="9247960" y="991029"/>
              <a:ext cx="471604" cy="307328"/>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lang="en-US" sz="1397">
                  <a:solidFill>
                    <a:srgbClr val="FFFFFF"/>
                  </a:solidFill>
                  <a:latin typeface="Century Gothic" panose="020F0302020204030204"/>
                </a:rPr>
                <a:t>JUL</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pic>
          <p:nvPicPr>
            <p:cNvPr id="3" name="Picture 2">
              <a:extLst>
                <a:ext uri="{FF2B5EF4-FFF2-40B4-BE49-F238E27FC236}">
                  <a16:creationId xmlns:a16="http://schemas.microsoft.com/office/drawing/2014/main" id="{78774F7D-7BB1-463F-AC8D-BCDEBD6C3BEE}"/>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9030079" y="2332426"/>
              <a:ext cx="907367" cy="246888"/>
            </a:xfrm>
            <a:prstGeom prst="rect">
              <a:avLst/>
            </a:prstGeom>
          </p:spPr>
        </p:pic>
      </p:grpSp>
      <p:grpSp>
        <p:nvGrpSpPr>
          <p:cNvPr id="11" name="Group 10">
            <a:extLst>
              <a:ext uri="{FF2B5EF4-FFF2-40B4-BE49-F238E27FC236}">
                <a16:creationId xmlns:a16="http://schemas.microsoft.com/office/drawing/2014/main" id="{E9A910D8-3EC6-42FB-8F1A-51D043B6E226}"/>
              </a:ext>
            </a:extLst>
          </p:cNvPr>
          <p:cNvGrpSpPr/>
          <p:nvPr/>
        </p:nvGrpSpPr>
        <p:grpSpPr>
          <a:xfrm>
            <a:off x="10076817" y="991029"/>
            <a:ext cx="1554480" cy="1018856"/>
            <a:chOff x="10113029" y="991029"/>
            <a:chExt cx="1554480" cy="1018856"/>
          </a:xfrm>
        </p:grpSpPr>
        <p:sp>
          <p:nvSpPr>
            <p:cNvPr id="137" name="Rectangle 136">
              <a:extLst>
                <a:ext uri="{FF2B5EF4-FFF2-40B4-BE49-F238E27FC236}">
                  <a16:creationId xmlns:a16="http://schemas.microsoft.com/office/drawing/2014/main" id="{D64A86A9-7F87-4D8A-B991-F03106752D22}"/>
                </a:ext>
              </a:extLst>
            </p:cNvPr>
            <p:cNvSpPr/>
            <p:nvPr/>
          </p:nvSpPr>
          <p:spPr>
            <a:xfrm>
              <a:off x="10113029" y="1438944"/>
              <a:ext cx="1554480" cy="406265"/>
            </a:xfrm>
            <a:prstGeom prst="rect">
              <a:avLst/>
            </a:prstGeom>
          </p:spPr>
          <p:txBody>
            <a:bodyPr wrap="square">
              <a:spAutoFit/>
            </a:bodyPr>
            <a:lstStyle/>
            <a:p>
              <a:pPr lvl="0" algn="ctr">
                <a:lnSpc>
                  <a:spcPct val="85000"/>
                </a:lnSpc>
                <a:defRPr/>
              </a:pPr>
              <a:r>
                <a:rPr lang="en-US" sz="1200" b="1" dirty="0">
                  <a:solidFill>
                    <a:srgbClr val="3D4647">
                      <a:lumMod val="75000"/>
                    </a:srgbClr>
                  </a:solidFill>
                </a:rPr>
                <a:t>Industrial IoT Software Platforms </a:t>
              </a:r>
            </a:p>
          </p:txBody>
        </p:sp>
        <p:pic>
          <p:nvPicPr>
            <p:cNvPr id="138" name="Picture 137">
              <a:hlinkClick r:id="rId16"/>
              <a:extLst>
                <a:ext uri="{FF2B5EF4-FFF2-40B4-BE49-F238E27FC236}">
                  <a16:creationId xmlns:a16="http://schemas.microsoft.com/office/drawing/2014/main" id="{2BA6B782-692F-470F-8430-CEE9C571D253}"/>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515192" y="1890374"/>
              <a:ext cx="750154" cy="119511"/>
            </a:xfrm>
            <a:prstGeom prst="rect">
              <a:avLst/>
            </a:prstGeom>
          </p:spPr>
        </p:pic>
        <p:cxnSp>
          <p:nvCxnSpPr>
            <p:cNvPr id="139" name="Straight Connector 138">
              <a:extLst>
                <a:ext uri="{FF2B5EF4-FFF2-40B4-BE49-F238E27FC236}">
                  <a16:creationId xmlns:a16="http://schemas.microsoft.com/office/drawing/2014/main" id="{11C536B3-86A9-4394-B263-1F36B72DE7CA}"/>
                </a:ext>
              </a:extLst>
            </p:cNvPr>
            <p:cNvCxnSpPr/>
            <p:nvPr/>
          </p:nvCxnSpPr>
          <p:spPr>
            <a:xfrm>
              <a:off x="10890269" y="1289235"/>
              <a:ext cx="0" cy="9144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0D5C85EE-F9E9-492F-94A8-F36B2D75AEAF}"/>
                </a:ext>
              </a:extLst>
            </p:cNvPr>
            <p:cNvSpPr/>
            <p:nvPr/>
          </p:nvSpPr>
          <p:spPr>
            <a:xfrm>
              <a:off x="10595156" y="991029"/>
              <a:ext cx="590226" cy="307328"/>
            </a:xfrm>
            <a:prstGeom prst="rect">
              <a:avLst/>
            </a:prstGeom>
          </p:spPr>
          <p:txBody>
            <a:bodyPr wrap="non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lang="en-US" sz="1397">
                  <a:solidFill>
                    <a:srgbClr val="FFFFFF"/>
                  </a:solidFill>
                  <a:latin typeface="Century Gothic" panose="020F0302020204030204"/>
                </a:rPr>
                <a:t>AUG</a:t>
              </a:r>
              <a:endParaRPr kumimoji="0" lang="en-US" sz="1397"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grpSp>
      <p:sp>
        <p:nvSpPr>
          <p:cNvPr id="4" name="Explosion: 14 Points 3">
            <a:extLst>
              <a:ext uri="{FF2B5EF4-FFF2-40B4-BE49-F238E27FC236}">
                <a16:creationId xmlns:a16="http://schemas.microsoft.com/office/drawing/2014/main" id="{0357E009-11F4-4C29-BD3A-1E0644AEB1A5}"/>
              </a:ext>
            </a:extLst>
          </p:cNvPr>
          <p:cNvSpPr/>
          <p:nvPr/>
        </p:nvSpPr>
        <p:spPr>
          <a:xfrm>
            <a:off x="8111469" y="520810"/>
            <a:ext cx="4179315" cy="2428976"/>
          </a:xfrm>
          <a:prstGeom prst="irregularSeal2">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800"/>
              </a:spcBef>
            </a:pPr>
            <a:endParaRPr lang="en-US" dirty="0">
              <a:solidFill>
                <a:schemeClr val="bg1"/>
              </a:solidFill>
            </a:endParaRPr>
          </a:p>
        </p:txBody>
      </p:sp>
      <p:sp>
        <p:nvSpPr>
          <p:cNvPr id="124" name="Explosion: 14 Points 123">
            <a:extLst>
              <a:ext uri="{FF2B5EF4-FFF2-40B4-BE49-F238E27FC236}">
                <a16:creationId xmlns:a16="http://schemas.microsoft.com/office/drawing/2014/main" id="{4C87A0C6-D3E9-4A34-9D1B-9D359BB2A89F}"/>
              </a:ext>
            </a:extLst>
          </p:cNvPr>
          <p:cNvSpPr/>
          <p:nvPr/>
        </p:nvSpPr>
        <p:spPr>
          <a:xfrm>
            <a:off x="8386781" y="2597188"/>
            <a:ext cx="3036560" cy="2428976"/>
          </a:xfrm>
          <a:prstGeom prst="irregularSeal2">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800"/>
              </a:spcBef>
            </a:pPr>
            <a:endParaRPr lang="en-US" dirty="0">
              <a:solidFill>
                <a:schemeClr val="bg1"/>
              </a:solidFill>
            </a:endParaRPr>
          </a:p>
        </p:txBody>
      </p:sp>
      <p:sp>
        <p:nvSpPr>
          <p:cNvPr id="125" name="Explosion: 14 Points 124">
            <a:extLst>
              <a:ext uri="{FF2B5EF4-FFF2-40B4-BE49-F238E27FC236}">
                <a16:creationId xmlns:a16="http://schemas.microsoft.com/office/drawing/2014/main" id="{808FD5CF-ADD7-4A4B-9DCA-C72DFB584EEF}"/>
              </a:ext>
            </a:extLst>
          </p:cNvPr>
          <p:cNvSpPr/>
          <p:nvPr/>
        </p:nvSpPr>
        <p:spPr>
          <a:xfrm>
            <a:off x="516244" y="390068"/>
            <a:ext cx="3036560" cy="2428976"/>
          </a:xfrm>
          <a:prstGeom prst="irregularSeal2">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800"/>
              </a:spcBef>
            </a:pPr>
            <a:endParaRPr lang="en-US" dirty="0">
              <a:solidFill>
                <a:schemeClr val="bg1"/>
              </a:solidFill>
            </a:endParaRPr>
          </a:p>
        </p:txBody>
      </p:sp>
      <p:sp>
        <p:nvSpPr>
          <p:cNvPr id="126" name="Explosion: 14 Points 125">
            <a:extLst>
              <a:ext uri="{FF2B5EF4-FFF2-40B4-BE49-F238E27FC236}">
                <a16:creationId xmlns:a16="http://schemas.microsoft.com/office/drawing/2014/main" id="{2CBB9C78-231B-4F38-9E91-FBDABC3B12DF}"/>
              </a:ext>
            </a:extLst>
          </p:cNvPr>
          <p:cNvSpPr/>
          <p:nvPr/>
        </p:nvSpPr>
        <p:spPr>
          <a:xfrm>
            <a:off x="9416306" y="4540935"/>
            <a:ext cx="3036560" cy="2428976"/>
          </a:xfrm>
          <a:prstGeom prst="irregularSeal2">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800"/>
              </a:spcBef>
            </a:pPr>
            <a:endParaRPr lang="en-US" dirty="0">
              <a:solidFill>
                <a:schemeClr val="bg1"/>
              </a:solidFill>
            </a:endParaRPr>
          </a:p>
        </p:txBody>
      </p:sp>
    </p:spTree>
    <p:extLst>
      <p:ext uri="{BB962C8B-B14F-4D97-AF65-F5344CB8AC3E}">
        <p14:creationId xmlns:p14="http://schemas.microsoft.com/office/powerpoint/2010/main" val="404368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4645" y="6165857"/>
            <a:ext cx="12117467" cy="307777"/>
          </a:xfrm>
          <a:prstGeom prst="rect">
            <a:avLst/>
          </a:prstGeom>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 Justin Hester, Senior Researcher, Hirotec</a:t>
            </a:r>
            <a:endParaRPr kumimoji="0" lang="en-US" sz="1400" b="0" i="1" u="none" strike="noStrike" kern="0" cap="none" spc="0" normalizeH="0" baseline="0" noProof="0" dirty="0">
              <a:ln>
                <a:noFill/>
              </a:ln>
              <a:solidFill>
                <a:schemeClr val="bg1"/>
              </a:solidFill>
              <a:effectLst/>
              <a:uLnTx/>
              <a:uFillTx/>
            </a:endParaRPr>
          </a:p>
        </p:txBody>
      </p:sp>
      <p:sp>
        <p:nvSpPr>
          <p:cNvPr id="15" name="Title 14">
            <a:extLst>
              <a:ext uri="{FF2B5EF4-FFF2-40B4-BE49-F238E27FC236}">
                <a16:creationId xmlns:a16="http://schemas.microsoft.com/office/drawing/2014/main" id="{90A10E21-4A61-4FDE-8DC0-58EA7CBC6B65}"/>
              </a:ext>
            </a:extLst>
          </p:cNvPr>
          <p:cNvSpPr>
            <a:spLocks noGrp="1"/>
          </p:cNvSpPr>
          <p:nvPr>
            <p:ph type="title"/>
          </p:nvPr>
        </p:nvSpPr>
        <p:spPr/>
        <p:txBody>
          <a:bodyPr/>
          <a:lstStyle/>
          <a:p>
            <a:r>
              <a:rPr lang="en-US" dirty="0">
                <a:solidFill>
                  <a:srgbClr val="6CC04A"/>
                </a:solidFill>
              </a:rPr>
              <a:t>Industry Analysts Endorse PTC’s IOT Leadership</a:t>
            </a:r>
            <a:endParaRPr lang="en-US" dirty="0"/>
          </a:p>
        </p:txBody>
      </p:sp>
      <p:sp>
        <p:nvSpPr>
          <p:cNvPr id="4" name="Rectangle 3">
            <a:extLst>
              <a:ext uri="{FF2B5EF4-FFF2-40B4-BE49-F238E27FC236}">
                <a16:creationId xmlns:a16="http://schemas.microsoft.com/office/drawing/2014/main" id="{29B6D20F-F86C-4819-906D-70C1D070E735}"/>
              </a:ext>
            </a:extLst>
          </p:cNvPr>
          <p:cNvSpPr/>
          <p:nvPr/>
        </p:nvSpPr>
        <p:spPr>
          <a:xfrm>
            <a:off x="9128898" y="2531728"/>
            <a:ext cx="2724087" cy="23999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60" dirty="0">
              <a:solidFill>
                <a:schemeClr val="tx1"/>
              </a:solidFill>
            </a:endParaRPr>
          </a:p>
        </p:txBody>
      </p:sp>
      <p:sp>
        <p:nvSpPr>
          <p:cNvPr id="5" name="TextBox 4">
            <a:extLst>
              <a:ext uri="{FF2B5EF4-FFF2-40B4-BE49-F238E27FC236}">
                <a16:creationId xmlns:a16="http://schemas.microsoft.com/office/drawing/2014/main" id="{686B9DC0-2FCB-45E2-ADF1-8535F53B18BC}"/>
              </a:ext>
            </a:extLst>
          </p:cNvPr>
          <p:cNvSpPr txBox="1"/>
          <p:nvPr/>
        </p:nvSpPr>
        <p:spPr>
          <a:xfrm>
            <a:off x="6499641" y="5286728"/>
            <a:ext cx="1639871" cy="307777"/>
          </a:xfrm>
          <a:prstGeom prst="rect">
            <a:avLst/>
          </a:prstGeom>
          <a:noFill/>
        </p:spPr>
        <p:txBody>
          <a:bodyPr wrap="none" lIns="0" tIns="0" rIns="0" bIns="0" rtlCol="0" anchor="ctr">
            <a:spAutoFit/>
          </a:bodyPr>
          <a:lstStyle>
            <a:defPPr>
              <a:defRPr lang="en-US"/>
            </a:defPPr>
            <a:lvl1pPr algn="ctr">
              <a:defRPr sz="1400">
                <a:solidFill>
                  <a:schemeClr val="bg1">
                    <a:lumMod val="75000"/>
                  </a:schemeClr>
                </a:solidFill>
              </a:defRPr>
            </a:lvl1pPr>
          </a:lstStyle>
          <a:p>
            <a:pPr defTabSz="1086747">
              <a:defRPr/>
            </a:pPr>
            <a:r>
              <a:rPr lang="en-US" sz="2000" b="1" dirty="0">
                <a:solidFill>
                  <a:schemeClr val="tx1"/>
                </a:solidFill>
                <a:latin typeface="Century Gothic" panose="020F0302020204030204"/>
              </a:rPr>
              <a:t>ABI Research</a:t>
            </a:r>
          </a:p>
        </p:txBody>
      </p:sp>
      <p:grpSp>
        <p:nvGrpSpPr>
          <p:cNvPr id="7" name="Group 6">
            <a:extLst>
              <a:ext uri="{FF2B5EF4-FFF2-40B4-BE49-F238E27FC236}">
                <a16:creationId xmlns:a16="http://schemas.microsoft.com/office/drawing/2014/main" id="{B91C344F-BA2A-44D9-85B9-FC6B198DE8BE}"/>
              </a:ext>
            </a:extLst>
          </p:cNvPr>
          <p:cNvGrpSpPr/>
          <p:nvPr/>
        </p:nvGrpSpPr>
        <p:grpSpPr>
          <a:xfrm>
            <a:off x="9128898" y="2531727"/>
            <a:ext cx="2729595" cy="2483592"/>
            <a:chOff x="5110478" y="3096446"/>
            <a:chExt cx="1966296" cy="1794437"/>
          </a:xfrm>
        </p:grpSpPr>
        <p:sp>
          <p:nvSpPr>
            <p:cNvPr id="9" name="Oval 8">
              <a:extLst>
                <a:ext uri="{FF2B5EF4-FFF2-40B4-BE49-F238E27FC236}">
                  <a16:creationId xmlns:a16="http://schemas.microsoft.com/office/drawing/2014/main" id="{E0F9323E-9A1D-4329-97D5-F82BC79847F4}"/>
                </a:ext>
              </a:extLst>
            </p:cNvPr>
            <p:cNvSpPr/>
            <p:nvPr/>
          </p:nvSpPr>
          <p:spPr>
            <a:xfrm>
              <a:off x="5699879" y="3587905"/>
              <a:ext cx="828916" cy="828916"/>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6747">
                <a:defRPr/>
              </a:pPr>
              <a:endParaRPr lang="en-US" sz="847" dirty="0">
                <a:solidFill>
                  <a:schemeClr val="tx1"/>
                </a:solidFill>
                <a:latin typeface="Century Gothic" panose="020B0502020202020204" pitchFamily="34" charset="0"/>
                <a:ea typeface="TeXGyreAdventor" charset="0"/>
                <a:cs typeface="TeXGyreAdventor" charset="0"/>
              </a:endParaRPr>
            </a:p>
          </p:txBody>
        </p:sp>
        <p:sp>
          <p:nvSpPr>
            <p:cNvPr id="10" name="TextBox 9">
              <a:extLst>
                <a:ext uri="{FF2B5EF4-FFF2-40B4-BE49-F238E27FC236}">
                  <a16:creationId xmlns:a16="http://schemas.microsoft.com/office/drawing/2014/main" id="{355ACF8A-8AD2-4C03-B866-09076F9C2D56}"/>
                </a:ext>
              </a:extLst>
            </p:cNvPr>
            <p:cNvSpPr txBox="1"/>
            <p:nvPr/>
          </p:nvSpPr>
          <p:spPr>
            <a:xfrm>
              <a:off x="6116505" y="3827265"/>
              <a:ext cx="47" cy="51239"/>
            </a:xfrm>
            <a:prstGeom prst="rect">
              <a:avLst/>
            </a:prstGeom>
            <a:noFill/>
          </p:spPr>
          <p:txBody>
            <a:bodyPr wrap="none" lIns="0" tIns="0" rIns="0" bIns="0" rtlCol="0">
              <a:spAutoFit/>
            </a:bodyPr>
            <a:lstStyle/>
            <a:p>
              <a:pPr defTabSz="1086747">
                <a:defRPr/>
              </a:pPr>
              <a:endParaRPr lang="en-US" sz="461" b="1" dirty="0">
                <a:latin typeface="Century Gothic" panose="020B0502020202020204" pitchFamily="34" charset="0"/>
                <a:ea typeface="TeXGyreAdventor" charset="0"/>
                <a:cs typeface="TeXGyreAdventor" charset="0"/>
              </a:endParaRPr>
            </a:p>
          </p:txBody>
        </p:sp>
        <p:graphicFrame>
          <p:nvGraphicFramePr>
            <p:cNvPr id="11" name="Content Placeholder 7">
              <a:extLst>
                <a:ext uri="{FF2B5EF4-FFF2-40B4-BE49-F238E27FC236}">
                  <a16:creationId xmlns:a16="http://schemas.microsoft.com/office/drawing/2014/main" id="{8F76404F-F942-4944-9E5D-7EBCCD677CC2}"/>
                </a:ext>
              </a:extLst>
            </p:cNvPr>
            <p:cNvGraphicFramePr>
              <a:graphicFrameLocks/>
            </p:cNvGraphicFramePr>
            <p:nvPr/>
          </p:nvGraphicFramePr>
          <p:xfrm>
            <a:off x="5110478" y="3096446"/>
            <a:ext cx="1966296" cy="1794437"/>
          </p:xfrm>
          <a:graphic>
            <a:graphicData uri="http://schemas.openxmlformats.org/drawingml/2006/chart">
              <c:chart xmlns:c="http://schemas.openxmlformats.org/drawingml/2006/chart" xmlns:r="http://schemas.openxmlformats.org/officeDocument/2006/relationships" r:id="rId3"/>
            </a:graphicData>
          </a:graphic>
        </p:graphicFrame>
        <p:sp>
          <p:nvSpPr>
            <p:cNvPr id="12" name="Oval 11">
              <a:extLst>
                <a:ext uri="{FF2B5EF4-FFF2-40B4-BE49-F238E27FC236}">
                  <a16:creationId xmlns:a16="http://schemas.microsoft.com/office/drawing/2014/main" id="{A4A81DF0-2876-43C6-8B4F-82EA69EE26AD}"/>
                </a:ext>
              </a:extLst>
            </p:cNvPr>
            <p:cNvSpPr/>
            <p:nvPr/>
          </p:nvSpPr>
          <p:spPr>
            <a:xfrm>
              <a:off x="5696707" y="3579203"/>
              <a:ext cx="828916" cy="8289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6747">
                <a:defRPr/>
              </a:pPr>
              <a:endParaRPr lang="en-US" sz="847" dirty="0">
                <a:solidFill>
                  <a:schemeClr val="tx1"/>
                </a:solidFill>
                <a:latin typeface="Century Gothic" panose="020B0502020202020204" pitchFamily="34" charset="0"/>
                <a:ea typeface="TeXGyreAdventor" charset="0"/>
                <a:cs typeface="TeXGyreAdventor" charset="0"/>
              </a:endParaRPr>
            </a:p>
          </p:txBody>
        </p:sp>
        <p:sp>
          <p:nvSpPr>
            <p:cNvPr id="13" name="TextBox 12">
              <a:extLst>
                <a:ext uri="{FF2B5EF4-FFF2-40B4-BE49-F238E27FC236}">
                  <a16:creationId xmlns:a16="http://schemas.microsoft.com/office/drawing/2014/main" id="{B9183E32-0C0C-440C-842C-CD827E850CFD}"/>
                </a:ext>
              </a:extLst>
            </p:cNvPr>
            <p:cNvSpPr txBox="1"/>
            <p:nvPr/>
          </p:nvSpPr>
          <p:spPr>
            <a:xfrm>
              <a:off x="5686076" y="3294354"/>
              <a:ext cx="446585" cy="200136"/>
            </a:xfrm>
            <a:prstGeom prst="rect">
              <a:avLst/>
            </a:prstGeom>
            <a:noFill/>
          </p:spPr>
          <p:txBody>
            <a:bodyPr wrap="square" lIns="0" tIns="0" rIns="0" bIns="0" rtlCol="0">
              <a:spAutoFit/>
            </a:bodyPr>
            <a:lstStyle/>
            <a:p>
              <a:pPr defTabSz="1086747">
                <a:defRPr/>
              </a:pPr>
              <a:r>
                <a:rPr lang="en-US" sz="900" dirty="0">
                  <a:latin typeface="Century Gothic" panose="020B0502020202020204" pitchFamily="34" charset="0"/>
                  <a:ea typeface="TeXGyreAdventor" charset="0"/>
                  <a:cs typeface="TeXGyreAdventor" charset="0"/>
                </a:rPr>
                <a:t>Other </a:t>
              </a:r>
            </a:p>
            <a:p>
              <a:pPr defTabSz="1086747">
                <a:defRPr/>
              </a:pPr>
              <a:r>
                <a:rPr lang="en-US" sz="900" dirty="0">
                  <a:latin typeface="Century Gothic" panose="020B0502020202020204" pitchFamily="34" charset="0"/>
                  <a:ea typeface="TeXGyreAdventor" charset="0"/>
                  <a:cs typeface="TeXGyreAdventor" charset="0"/>
                </a:rPr>
                <a:t>10%</a:t>
              </a:r>
            </a:p>
          </p:txBody>
        </p:sp>
      </p:grpSp>
      <p:sp>
        <p:nvSpPr>
          <p:cNvPr id="14" name="TextBox 13">
            <a:extLst>
              <a:ext uri="{FF2B5EF4-FFF2-40B4-BE49-F238E27FC236}">
                <a16:creationId xmlns:a16="http://schemas.microsoft.com/office/drawing/2014/main" id="{9FD8646F-1D3D-416B-B904-2707D3B3F2E5}"/>
              </a:ext>
            </a:extLst>
          </p:cNvPr>
          <p:cNvSpPr txBox="1"/>
          <p:nvPr/>
        </p:nvSpPr>
        <p:spPr>
          <a:xfrm>
            <a:off x="9733094" y="5312037"/>
            <a:ext cx="1436291" cy="276999"/>
          </a:xfrm>
          <a:prstGeom prst="rect">
            <a:avLst/>
          </a:prstGeom>
          <a:noFill/>
        </p:spPr>
        <p:txBody>
          <a:bodyPr wrap="none" lIns="0" tIns="0" rIns="0" bIns="0" rtlCol="0" anchor="ctr">
            <a:spAutoFit/>
          </a:bodyPr>
          <a:lstStyle>
            <a:defPPr>
              <a:defRPr lang="en-US"/>
            </a:defPPr>
            <a:lvl1pPr algn="ctr">
              <a:defRPr sz="1400">
                <a:solidFill>
                  <a:schemeClr val="bg1">
                    <a:lumMod val="75000"/>
                  </a:schemeClr>
                </a:solidFill>
              </a:defRPr>
            </a:lvl1pPr>
          </a:lstStyle>
          <a:p>
            <a:pPr defTabSz="1086747">
              <a:defRPr/>
            </a:pPr>
            <a:r>
              <a:rPr lang="en-US" sz="1800" b="1" dirty="0">
                <a:solidFill>
                  <a:schemeClr val="tx1"/>
                </a:solidFill>
                <a:latin typeface="Century Gothic" panose="020F0302020204030204"/>
              </a:rPr>
              <a:t>Aeon Mobile</a:t>
            </a:r>
          </a:p>
        </p:txBody>
      </p:sp>
      <p:sp>
        <p:nvSpPr>
          <p:cNvPr id="16" name="TextBox 15">
            <a:extLst>
              <a:ext uri="{FF2B5EF4-FFF2-40B4-BE49-F238E27FC236}">
                <a16:creationId xmlns:a16="http://schemas.microsoft.com/office/drawing/2014/main" id="{1AF27651-D475-4B04-A73F-C65D5F62F6E7}"/>
              </a:ext>
            </a:extLst>
          </p:cNvPr>
          <p:cNvSpPr txBox="1"/>
          <p:nvPr/>
        </p:nvSpPr>
        <p:spPr>
          <a:xfrm>
            <a:off x="5966759" y="1769381"/>
            <a:ext cx="2886420" cy="553998"/>
          </a:xfrm>
          <a:prstGeom prst="rect">
            <a:avLst/>
          </a:prstGeom>
          <a:noFill/>
        </p:spPr>
        <p:txBody>
          <a:bodyPr wrap="square" lIns="0" tIns="0" rIns="0" bIns="0" rtlCol="0">
            <a:spAutoFit/>
          </a:bodyPr>
          <a:lstStyle/>
          <a:p>
            <a:pPr algn="ctr">
              <a:lnSpc>
                <a:spcPct val="90000"/>
              </a:lnSpc>
            </a:pPr>
            <a:r>
              <a:rPr lang="en-US" sz="2000" b="1" dirty="0"/>
              <a:t>Smart Manufacturing</a:t>
            </a:r>
            <a:br>
              <a:rPr lang="en-US" sz="2000" b="1" dirty="0"/>
            </a:br>
            <a:r>
              <a:rPr lang="en-US" sz="2000" b="1" dirty="0"/>
              <a:t>Platforms</a:t>
            </a:r>
          </a:p>
        </p:txBody>
      </p:sp>
      <p:sp>
        <p:nvSpPr>
          <p:cNvPr id="17" name="TextBox 16">
            <a:extLst>
              <a:ext uri="{FF2B5EF4-FFF2-40B4-BE49-F238E27FC236}">
                <a16:creationId xmlns:a16="http://schemas.microsoft.com/office/drawing/2014/main" id="{B896F09F-80A4-41A9-A053-1838E72AA552}"/>
              </a:ext>
            </a:extLst>
          </p:cNvPr>
          <p:cNvSpPr txBox="1"/>
          <p:nvPr/>
        </p:nvSpPr>
        <p:spPr>
          <a:xfrm>
            <a:off x="9008030" y="1769380"/>
            <a:ext cx="2886420" cy="498598"/>
          </a:xfrm>
          <a:prstGeom prst="rect">
            <a:avLst/>
          </a:prstGeom>
          <a:noFill/>
        </p:spPr>
        <p:txBody>
          <a:bodyPr wrap="square" lIns="0" tIns="0" rIns="0" bIns="0" rtlCol="0">
            <a:spAutoFit/>
          </a:bodyPr>
          <a:lstStyle/>
          <a:p>
            <a:pPr algn="ctr">
              <a:lnSpc>
                <a:spcPct val="90000"/>
              </a:lnSpc>
            </a:pPr>
            <a:r>
              <a:rPr lang="en-US" sz="1800" b="1" dirty="0"/>
              <a:t>% of Apple and Android AR Apps</a:t>
            </a:r>
          </a:p>
        </p:txBody>
      </p:sp>
      <p:sp>
        <p:nvSpPr>
          <p:cNvPr id="18" name="TextBox 17">
            <a:extLst>
              <a:ext uri="{FF2B5EF4-FFF2-40B4-BE49-F238E27FC236}">
                <a16:creationId xmlns:a16="http://schemas.microsoft.com/office/drawing/2014/main" id="{DD0C7F0F-855B-4835-89B7-829ED485AD76}"/>
              </a:ext>
            </a:extLst>
          </p:cNvPr>
          <p:cNvSpPr txBox="1"/>
          <p:nvPr/>
        </p:nvSpPr>
        <p:spPr>
          <a:xfrm>
            <a:off x="451185" y="1560844"/>
            <a:ext cx="2516483" cy="830997"/>
          </a:xfrm>
          <a:prstGeom prst="rect">
            <a:avLst/>
          </a:prstGeom>
          <a:noFill/>
        </p:spPr>
        <p:txBody>
          <a:bodyPr wrap="square" lIns="0" tIns="0" rIns="0" bIns="0" rtlCol="0">
            <a:spAutoFit/>
          </a:bodyPr>
          <a:lstStyle/>
          <a:p>
            <a:pPr algn="ctr">
              <a:lnSpc>
                <a:spcPct val="90000"/>
              </a:lnSpc>
            </a:pPr>
            <a:r>
              <a:rPr lang="en-US" sz="2000" b="1" dirty="0"/>
              <a:t>Industrial IoT Platforms</a:t>
            </a:r>
          </a:p>
          <a:p>
            <a:pPr algn="ctr">
              <a:lnSpc>
                <a:spcPct val="90000"/>
              </a:lnSpc>
            </a:pPr>
            <a:r>
              <a:rPr lang="en-US" sz="2000" b="1" dirty="0"/>
              <a:t>Magic Quadrant</a:t>
            </a:r>
          </a:p>
        </p:txBody>
      </p:sp>
      <p:grpSp>
        <p:nvGrpSpPr>
          <p:cNvPr id="20" name="Group 19">
            <a:extLst>
              <a:ext uri="{FF2B5EF4-FFF2-40B4-BE49-F238E27FC236}">
                <a16:creationId xmlns:a16="http://schemas.microsoft.com/office/drawing/2014/main" id="{A73062ED-AB3D-4635-8EBC-5EC5415F58BA}"/>
              </a:ext>
            </a:extLst>
          </p:cNvPr>
          <p:cNvGrpSpPr/>
          <p:nvPr/>
        </p:nvGrpSpPr>
        <p:grpSpPr>
          <a:xfrm>
            <a:off x="451184" y="2533479"/>
            <a:ext cx="2576384" cy="2420940"/>
            <a:chOff x="4139219" y="1298841"/>
            <a:chExt cx="3992666" cy="3958955"/>
          </a:xfrm>
        </p:grpSpPr>
        <p:pic>
          <p:nvPicPr>
            <p:cNvPr id="21" name="Picture 20">
              <a:extLst>
                <a:ext uri="{FF2B5EF4-FFF2-40B4-BE49-F238E27FC236}">
                  <a16:creationId xmlns:a16="http://schemas.microsoft.com/office/drawing/2014/main" id="{0BC64B11-D7E0-41E0-A5DF-6C7794A363C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48" t="10064" r="6056" b="3547"/>
            <a:stretch/>
          </p:blipFill>
          <p:spPr>
            <a:xfrm>
              <a:off x="4139219" y="1298841"/>
              <a:ext cx="3992666" cy="3958955"/>
            </a:xfrm>
            <a:prstGeom prst="rect">
              <a:avLst/>
            </a:prstGeom>
          </p:spPr>
        </p:pic>
        <p:sp>
          <p:nvSpPr>
            <p:cNvPr id="22" name="Freeform 13">
              <a:extLst>
                <a:ext uri="{FF2B5EF4-FFF2-40B4-BE49-F238E27FC236}">
                  <a16:creationId xmlns:a16="http://schemas.microsoft.com/office/drawing/2014/main" id="{8E614927-A272-4FC6-943E-D4DE410DA142}"/>
                </a:ext>
              </a:extLst>
            </p:cNvPr>
            <p:cNvSpPr>
              <a:spLocks/>
            </p:cNvSpPr>
            <p:nvPr/>
          </p:nvSpPr>
          <p:spPr bwMode="auto">
            <a:xfrm rot="11276848" flipH="1">
              <a:off x="6365317" y="3232305"/>
              <a:ext cx="502324" cy="293735"/>
            </a:xfrm>
            <a:custGeom>
              <a:avLst/>
              <a:gdLst>
                <a:gd name="T0" fmla="*/ 707 w 5132"/>
                <a:gd name="T1" fmla="*/ 1448 h 2444"/>
                <a:gd name="T2" fmla="*/ 621 w 5132"/>
                <a:gd name="T3" fmla="*/ 1298 h 2444"/>
                <a:gd name="T4" fmla="*/ 590 w 5132"/>
                <a:gd name="T5" fmla="*/ 1126 h 2444"/>
                <a:gd name="T6" fmla="*/ 611 w 5132"/>
                <a:gd name="T7" fmla="*/ 951 h 2444"/>
                <a:gd name="T8" fmla="*/ 675 w 5132"/>
                <a:gd name="T9" fmla="*/ 795 h 2444"/>
                <a:gd name="T10" fmla="*/ 878 w 5132"/>
                <a:gd name="T11" fmla="*/ 553 h 2444"/>
                <a:gd name="T12" fmla="*/ 1168 w 5132"/>
                <a:gd name="T13" fmla="*/ 373 h 2444"/>
                <a:gd name="T14" fmla="*/ 1589 w 5132"/>
                <a:gd name="T15" fmla="*/ 248 h 2444"/>
                <a:gd name="T16" fmla="*/ 2240 w 5132"/>
                <a:gd name="T17" fmla="*/ 164 h 2444"/>
                <a:gd name="T18" fmla="*/ 2993 w 5132"/>
                <a:gd name="T19" fmla="*/ 158 h 2444"/>
                <a:gd name="T20" fmla="*/ 3727 w 5132"/>
                <a:gd name="T21" fmla="*/ 269 h 2444"/>
                <a:gd name="T22" fmla="*/ 4133 w 5132"/>
                <a:gd name="T23" fmla="*/ 396 h 2444"/>
                <a:gd name="T24" fmla="*/ 4517 w 5132"/>
                <a:gd name="T25" fmla="*/ 574 h 2444"/>
                <a:gd name="T26" fmla="*/ 4780 w 5132"/>
                <a:gd name="T27" fmla="*/ 764 h 2444"/>
                <a:gd name="T28" fmla="*/ 4955 w 5132"/>
                <a:gd name="T29" fmla="*/ 1005 h 2444"/>
                <a:gd name="T30" fmla="*/ 5002 w 5132"/>
                <a:gd name="T31" fmla="*/ 1165 h 2444"/>
                <a:gd name="T32" fmla="*/ 4989 w 5132"/>
                <a:gd name="T33" fmla="*/ 1356 h 2444"/>
                <a:gd name="T34" fmla="*/ 4909 w 5132"/>
                <a:gd name="T35" fmla="*/ 1532 h 2444"/>
                <a:gd name="T36" fmla="*/ 4681 w 5132"/>
                <a:gd name="T37" fmla="*/ 1783 h 2444"/>
                <a:gd name="T38" fmla="*/ 4371 w 5132"/>
                <a:gd name="T39" fmla="*/ 1984 h 2444"/>
                <a:gd name="T40" fmla="*/ 3809 w 5132"/>
                <a:gd name="T41" fmla="*/ 2189 h 2444"/>
                <a:gd name="T42" fmla="*/ 3296 w 5132"/>
                <a:gd name="T43" fmla="*/ 2286 h 2444"/>
                <a:gd name="T44" fmla="*/ 2694 w 5132"/>
                <a:gd name="T45" fmla="*/ 2312 h 2444"/>
                <a:gd name="T46" fmla="*/ 2162 w 5132"/>
                <a:gd name="T47" fmla="*/ 2280 h 2444"/>
                <a:gd name="T48" fmla="*/ 1549 w 5132"/>
                <a:gd name="T49" fmla="*/ 2185 h 2444"/>
                <a:gd name="T50" fmla="*/ 1021 w 5132"/>
                <a:gd name="T51" fmla="*/ 2051 h 2444"/>
                <a:gd name="T52" fmla="*/ 507 w 5132"/>
                <a:gd name="T53" fmla="*/ 1847 h 2444"/>
                <a:gd name="T54" fmla="*/ 213 w 5132"/>
                <a:gd name="T55" fmla="*/ 1674 h 2444"/>
                <a:gd name="T56" fmla="*/ 142 w 5132"/>
                <a:gd name="T57" fmla="*/ 1577 h 2444"/>
                <a:gd name="T58" fmla="*/ 178 w 5132"/>
                <a:gd name="T59" fmla="*/ 1523 h 2444"/>
                <a:gd name="T60" fmla="*/ 198 w 5132"/>
                <a:gd name="T61" fmla="*/ 1482 h 2444"/>
                <a:gd name="T62" fmla="*/ 148 w 5132"/>
                <a:gd name="T63" fmla="*/ 1452 h 2444"/>
                <a:gd name="T64" fmla="*/ 65 w 5132"/>
                <a:gd name="T65" fmla="*/ 1486 h 2444"/>
                <a:gd name="T66" fmla="*/ 5 w 5132"/>
                <a:gd name="T67" fmla="*/ 1577 h 2444"/>
                <a:gd name="T68" fmla="*/ 20 w 5132"/>
                <a:gd name="T69" fmla="*/ 1704 h 2444"/>
                <a:gd name="T70" fmla="*/ 146 w 5132"/>
                <a:gd name="T71" fmla="*/ 1824 h 2444"/>
                <a:gd name="T72" fmla="*/ 463 w 5132"/>
                <a:gd name="T73" fmla="*/ 1995 h 2444"/>
                <a:gd name="T74" fmla="*/ 961 w 5132"/>
                <a:gd name="T75" fmla="*/ 2183 h 2444"/>
                <a:gd name="T76" fmla="*/ 1785 w 5132"/>
                <a:gd name="T77" fmla="*/ 2371 h 2444"/>
                <a:gd name="T78" fmla="*/ 2626 w 5132"/>
                <a:gd name="T79" fmla="*/ 2443 h 2444"/>
                <a:gd name="T80" fmla="*/ 3332 w 5132"/>
                <a:gd name="T81" fmla="*/ 2405 h 2444"/>
                <a:gd name="T82" fmla="*/ 4021 w 5132"/>
                <a:gd name="T83" fmla="*/ 2245 h 2444"/>
                <a:gd name="T84" fmla="*/ 4407 w 5132"/>
                <a:gd name="T85" fmla="*/ 2083 h 2444"/>
                <a:gd name="T86" fmla="*/ 4721 w 5132"/>
                <a:gd name="T87" fmla="*/ 1891 h 2444"/>
                <a:gd name="T88" fmla="*/ 4980 w 5132"/>
                <a:gd name="T89" fmla="*/ 1638 h 2444"/>
                <a:gd name="T90" fmla="*/ 5122 w 5132"/>
                <a:gd name="T91" fmla="*/ 1320 h 2444"/>
                <a:gd name="T92" fmla="*/ 5130 w 5132"/>
                <a:gd name="T93" fmla="*/ 1139 h 2444"/>
                <a:gd name="T94" fmla="*/ 5072 w 5132"/>
                <a:gd name="T95" fmla="*/ 928 h 2444"/>
                <a:gd name="T96" fmla="*/ 4857 w 5132"/>
                <a:gd name="T97" fmla="*/ 652 h 2444"/>
                <a:gd name="T98" fmla="*/ 4553 w 5132"/>
                <a:gd name="T99" fmla="*/ 442 h 2444"/>
                <a:gd name="T100" fmla="*/ 4106 w 5132"/>
                <a:gd name="T101" fmla="*/ 241 h 2444"/>
                <a:gd name="T102" fmla="*/ 3655 w 5132"/>
                <a:gd name="T103" fmla="*/ 108 h 2444"/>
                <a:gd name="T104" fmla="*/ 2826 w 5132"/>
                <a:gd name="T105" fmla="*/ 4 h 2444"/>
                <a:gd name="T106" fmla="*/ 2090 w 5132"/>
                <a:gd name="T107" fmla="*/ 26 h 2444"/>
                <a:gd name="T108" fmla="*/ 1462 w 5132"/>
                <a:gd name="T109" fmla="*/ 116 h 2444"/>
                <a:gd name="T110" fmla="*/ 1057 w 5132"/>
                <a:gd name="T111" fmla="*/ 239 h 2444"/>
                <a:gd name="T112" fmla="*/ 760 w 5132"/>
                <a:gd name="T113" fmla="*/ 417 h 2444"/>
                <a:gd name="T114" fmla="*/ 528 w 5132"/>
                <a:gd name="T115" fmla="*/ 686 h 2444"/>
                <a:gd name="T116" fmla="*/ 452 w 5132"/>
                <a:gd name="T117" fmla="*/ 898 h 2444"/>
                <a:gd name="T118" fmla="*/ 469 w 5132"/>
                <a:gd name="T119" fmla="*/ 1201 h 2444"/>
                <a:gd name="T120" fmla="*/ 620 w 5132"/>
                <a:gd name="T121" fmla="*/ 1462 h 2444"/>
                <a:gd name="T122" fmla="*/ 755 w 5132"/>
                <a:gd name="T123" fmla="*/ 1562 h 2444"/>
                <a:gd name="T124" fmla="*/ 814 w 5132"/>
                <a:gd name="T125" fmla="*/ 1559 h 2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32" h="2444">
                  <a:moveTo>
                    <a:pt x="808" y="1538"/>
                  </a:moveTo>
                  <a:lnTo>
                    <a:pt x="808" y="1538"/>
                  </a:lnTo>
                  <a:lnTo>
                    <a:pt x="790" y="1526"/>
                  </a:lnTo>
                  <a:lnTo>
                    <a:pt x="771" y="1511"/>
                  </a:lnTo>
                  <a:lnTo>
                    <a:pt x="753" y="1497"/>
                  </a:lnTo>
                  <a:lnTo>
                    <a:pt x="737" y="1481"/>
                  </a:lnTo>
                  <a:lnTo>
                    <a:pt x="722" y="1465"/>
                  </a:lnTo>
                  <a:lnTo>
                    <a:pt x="707" y="1448"/>
                  </a:lnTo>
                  <a:lnTo>
                    <a:pt x="694" y="1431"/>
                  </a:lnTo>
                  <a:lnTo>
                    <a:pt x="681" y="1414"/>
                  </a:lnTo>
                  <a:lnTo>
                    <a:pt x="669" y="1395"/>
                  </a:lnTo>
                  <a:lnTo>
                    <a:pt x="658" y="1376"/>
                  </a:lnTo>
                  <a:lnTo>
                    <a:pt x="648" y="1358"/>
                  </a:lnTo>
                  <a:lnTo>
                    <a:pt x="638" y="1338"/>
                  </a:lnTo>
                  <a:lnTo>
                    <a:pt x="629" y="1318"/>
                  </a:lnTo>
                  <a:lnTo>
                    <a:pt x="621" y="1298"/>
                  </a:lnTo>
                  <a:lnTo>
                    <a:pt x="615" y="1277"/>
                  </a:lnTo>
                  <a:lnTo>
                    <a:pt x="609" y="1256"/>
                  </a:lnTo>
                  <a:lnTo>
                    <a:pt x="604" y="1234"/>
                  </a:lnTo>
                  <a:lnTo>
                    <a:pt x="599" y="1213"/>
                  </a:lnTo>
                  <a:lnTo>
                    <a:pt x="597" y="1192"/>
                  </a:lnTo>
                  <a:lnTo>
                    <a:pt x="594" y="1170"/>
                  </a:lnTo>
                  <a:lnTo>
                    <a:pt x="592" y="1149"/>
                  </a:lnTo>
                  <a:lnTo>
                    <a:pt x="590" y="1126"/>
                  </a:lnTo>
                  <a:lnTo>
                    <a:pt x="590" y="1104"/>
                  </a:lnTo>
                  <a:lnTo>
                    <a:pt x="592" y="1083"/>
                  </a:lnTo>
                  <a:lnTo>
                    <a:pt x="593" y="1060"/>
                  </a:lnTo>
                  <a:lnTo>
                    <a:pt x="595" y="1038"/>
                  </a:lnTo>
                  <a:lnTo>
                    <a:pt x="598" y="1015"/>
                  </a:lnTo>
                  <a:lnTo>
                    <a:pt x="601" y="994"/>
                  </a:lnTo>
                  <a:lnTo>
                    <a:pt x="606" y="972"/>
                  </a:lnTo>
                  <a:lnTo>
                    <a:pt x="611" y="951"/>
                  </a:lnTo>
                  <a:lnTo>
                    <a:pt x="618" y="928"/>
                  </a:lnTo>
                  <a:lnTo>
                    <a:pt x="625" y="907"/>
                  </a:lnTo>
                  <a:lnTo>
                    <a:pt x="625" y="907"/>
                  </a:lnTo>
                  <a:lnTo>
                    <a:pt x="634" y="884"/>
                  </a:lnTo>
                  <a:lnTo>
                    <a:pt x="643" y="861"/>
                  </a:lnTo>
                  <a:lnTo>
                    <a:pt x="653" y="839"/>
                  </a:lnTo>
                  <a:lnTo>
                    <a:pt x="664" y="816"/>
                  </a:lnTo>
                  <a:lnTo>
                    <a:pt x="675" y="795"/>
                  </a:lnTo>
                  <a:lnTo>
                    <a:pt x="687" y="774"/>
                  </a:lnTo>
                  <a:lnTo>
                    <a:pt x="700" y="753"/>
                  </a:lnTo>
                  <a:lnTo>
                    <a:pt x="714" y="733"/>
                  </a:lnTo>
                  <a:lnTo>
                    <a:pt x="742" y="693"/>
                  </a:lnTo>
                  <a:lnTo>
                    <a:pt x="773" y="656"/>
                  </a:lnTo>
                  <a:lnTo>
                    <a:pt x="806" y="620"/>
                  </a:lnTo>
                  <a:lnTo>
                    <a:pt x="841" y="585"/>
                  </a:lnTo>
                  <a:lnTo>
                    <a:pt x="878" y="553"/>
                  </a:lnTo>
                  <a:lnTo>
                    <a:pt x="915" y="521"/>
                  </a:lnTo>
                  <a:lnTo>
                    <a:pt x="955" y="493"/>
                  </a:lnTo>
                  <a:lnTo>
                    <a:pt x="996" y="465"/>
                  </a:lnTo>
                  <a:lnTo>
                    <a:pt x="1037" y="439"/>
                  </a:lnTo>
                  <a:lnTo>
                    <a:pt x="1081" y="416"/>
                  </a:lnTo>
                  <a:lnTo>
                    <a:pt x="1123" y="393"/>
                  </a:lnTo>
                  <a:lnTo>
                    <a:pt x="1168" y="373"/>
                  </a:lnTo>
                  <a:lnTo>
                    <a:pt x="1168" y="373"/>
                  </a:lnTo>
                  <a:lnTo>
                    <a:pt x="1218" y="352"/>
                  </a:lnTo>
                  <a:lnTo>
                    <a:pt x="1269" y="332"/>
                  </a:lnTo>
                  <a:lnTo>
                    <a:pt x="1321" y="315"/>
                  </a:lnTo>
                  <a:lnTo>
                    <a:pt x="1374" y="299"/>
                  </a:lnTo>
                  <a:lnTo>
                    <a:pt x="1427" y="285"/>
                  </a:lnTo>
                  <a:lnTo>
                    <a:pt x="1481" y="271"/>
                  </a:lnTo>
                  <a:lnTo>
                    <a:pt x="1534" y="259"/>
                  </a:lnTo>
                  <a:lnTo>
                    <a:pt x="1589" y="248"/>
                  </a:lnTo>
                  <a:lnTo>
                    <a:pt x="1644" y="238"/>
                  </a:lnTo>
                  <a:lnTo>
                    <a:pt x="1699" y="229"/>
                  </a:lnTo>
                  <a:lnTo>
                    <a:pt x="1808" y="213"/>
                  </a:lnTo>
                  <a:lnTo>
                    <a:pt x="1917" y="199"/>
                  </a:lnTo>
                  <a:lnTo>
                    <a:pt x="2025" y="185"/>
                  </a:lnTo>
                  <a:lnTo>
                    <a:pt x="2025" y="185"/>
                  </a:lnTo>
                  <a:lnTo>
                    <a:pt x="2132" y="174"/>
                  </a:lnTo>
                  <a:lnTo>
                    <a:pt x="2240" y="164"/>
                  </a:lnTo>
                  <a:lnTo>
                    <a:pt x="2347" y="157"/>
                  </a:lnTo>
                  <a:lnTo>
                    <a:pt x="2456" y="152"/>
                  </a:lnTo>
                  <a:lnTo>
                    <a:pt x="2564" y="149"/>
                  </a:lnTo>
                  <a:lnTo>
                    <a:pt x="2671" y="148"/>
                  </a:lnTo>
                  <a:lnTo>
                    <a:pt x="2780" y="149"/>
                  </a:lnTo>
                  <a:lnTo>
                    <a:pt x="2888" y="153"/>
                  </a:lnTo>
                  <a:lnTo>
                    <a:pt x="2888" y="153"/>
                  </a:lnTo>
                  <a:lnTo>
                    <a:pt x="2993" y="158"/>
                  </a:lnTo>
                  <a:lnTo>
                    <a:pt x="3098" y="166"/>
                  </a:lnTo>
                  <a:lnTo>
                    <a:pt x="3203" y="177"/>
                  </a:lnTo>
                  <a:lnTo>
                    <a:pt x="3309" y="189"/>
                  </a:lnTo>
                  <a:lnTo>
                    <a:pt x="3415" y="205"/>
                  </a:lnTo>
                  <a:lnTo>
                    <a:pt x="3519" y="224"/>
                  </a:lnTo>
                  <a:lnTo>
                    <a:pt x="3624" y="245"/>
                  </a:lnTo>
                  <a:lnTo>
                    <a:pt x="3676" y="256"/>
                  </a:lnTo>
                  <a:lnTo>
                    <a:pt x="3727" y="269"/>
                  </a:lnTo>
                  <a:lnTo>
                    <a:pt x="3780" y="282"/>
                  </a:lnTo>
                  <a:lnTo>
                    <a:pt x="3831" y="296"/>
                  </a:lnTo>
                  <a:lnTo>
                    <a:pt x="3882" y="311"/>
                  </a:lnTo>
                  <a:lnTo>
                    <a:pt x="3933" y="326"/>
                  </a:lnTo>
                  <a:lnTo>
                    <a:pt x="3984" y="342"/>
                  </a:lnTo>
                  <a:lnTo>
                    <a:pt x="4034" y="360"/>
                  </a:lnTo>
                  <a:lnTo>
                    <a:pt x="4083" y="377"/>
                  </a:lnTo>
                  <a:lnTo>
                    <a:pt x="4133" y="396"/>
                  </a:lnTo>
                  <a:lnTo>
                    <a:pt x="4183" y="416"/>
                  </a:lnTo>
                  <a:lnTo>
                    <a:pt x="4232" y="436"/>
                  </a:lnTo>
                  <a:lnTo>
                    <a:pt x="4280" y="457"/>
                  </a:lnTo>
                  <a:lnTo>
                    <a:pt x="4329" y="478"/>
                  </a:lnTo>
                  <a:lnTo>
                    <a:pt x="4376" y="500"/>
                  </a:lnTo>
                  <a:lnTo>
                    <a:pt x="4423" y="524"/>
                  </a:lnTo>
                  <a:lnTo>
                    <a:pt x="4471" y="549"/>
                  </a:lnTo>
                  <a:lnTo>
                    <a:pt x="4517" y="574"/>
                  </a:lnTo>
                  <a:lnTo>
                    <a:pt x="4517" y="574"/>
                  </a:lnTo>
                  <a:lnTo>
                    <a:pt x="4557" y="597"/>
                  </a:lnTo>
                  <a:lnTo>
                    <a:pt x="4597" y="621"/>
                  </a:lnTo>
                  <a:lnTo>
                    <a:pt x="4635" y="647"/>
                  </a:lnTo>
                  <a:lnTo>
                    <a:pt x="4674" y="674"/>
                  </a:lnTo>
                  <a:lnTo>
                    <a:pt x="4710" y="703"/>
                  </a:lnTo>
                  <a:lnTo>
                    <a:pt x="4746" y="733"/>
                  </a:lnTo>
                  <a:lnTo>
                    <a:pt x="4780" y="764"/>
                  </a:lnTo>
                  <a:lnTo>
                    <a:pt x="4813" y="796"/>
                  </a:lnTo>
                  <a:lnTo>
                    <a:pt x="4843" y="831"/>
                  </a:lnTo>
                  <a:lnTo>
                    <a:pt x="4873" y="867"/>
                  </a:lnTo>
                  <a:lnTo>
                    <a:pt x="4899" y="905"/>
                  </a:lnTo>
                  <a:lnTo>
                    <a:pt x="4923" y="943"/>
                  </a:lnTo>
                  <a:lnTo>
                    <a:pt x="4934" y="963"/>
                  </a:lnTo>
                  <a:lnTo>
                    <a:pt x="4945" y="984"/>
                  </a:lnTo>
                  <a:lnTo>
                    <a:pt x="4955" y="1005"/>
                  </a:lnTo>
                  <a:lnTo>
                    <a:pt x="4964" y="1027"/>
                  </a:lnTo>
                  <a:lnTo>
                    <a:pt x="4973" y="1048"/>
                  </a:lnTo>
                  <a:lnTo>
                    <a:pt x="4980" y="1070"/>
                  </a:lnTo>
                  <a:lnTo>
                    <a:pt x="4986" y="1093"/>
                  </a:lnTo>
                  <a:lnTo>
                    <a:pt x="4993" y="1115"/>
                  </a:lnTo>
                  <a:lnTo>
                    <a:pt x="4993" y="1115"/>
                  </a:lnTo>
                  <a:lnTo>
                    <a:pt x="4999" y="1140"/>
                  </a:lnTo>
                  <a:lnTo>
                    <a:pt x="5002" y="1165"/>
                  </a:lnTo>
                  <a:lnTo>
                    <a:pt x="5005" y="1190"/>
                  </a:lnTo>
                  <a:lnTo>
                    <a:pt x="5006" y="1215"/>
                  </a:lnTo>
                  <a:lnTo>
                    <a:pt x="5006" y="1238"/>
                  </a:lnTo>
                  <a:lnTo>
                    <a:pt x="5005" y="1263"/>
                  </a:lnTo>
                  <a:lnTo>
                    <a:pt x="5002" y="1287"/>
                  </a:lnTo>
                  <a:lnTo>
                    <a:pt x="4999" y="1310"/>
                  </a:lnTo>
                  <a:lnTo>
                    <a:pt x="4994" y="1334"/>
                  </a:lnTo>
                  <a:lnTo>
                    <a:pt x="4989" y="1356"/>
                  </a:lnTo>
                  <a:lnTo>
                    <a:pt x="4981" y="1380"/>
                  </a:lnTo>
                  <a:lnTo>
                    <a:pt x="4974" y="1402"/>
                  </a:lnTo>
                  <a:lnTo>
                    <a:pt x="4965" y="1425"/>
                  </a:lnTo>
                  <a:lnTo>
                    <a:pt x="4955" y="1447"/>
                  </a:lnTo>
                  <a:lnTo>
                    <a:pt x="4945" y="1468"/>
                  </a:lnTo>
                  <a:lnTo>
                    <a:pt x="4934" y="1491"/>
                  </a:lnTo>
                  <a:lnTo>
                    <a:pt x="4922" y="1512"/>
                  </a:lnTo>
                  <a:lnTo>
                    <a:pt x="4909" y="1532"/>
                  </a:lnTo>
                  <a:lnTo>
                    <a:pt x="4882" y="1573"/>
                  </a:lnTo>
                  <a:lnTo>
                    <a:pt x="4852" y="1613"/>
                  </a:lnTo>
                  <a:lnTo>
                    <a:pt x="4821" y="1650"/>
                  </a:lnTo>
                  <a:lnTo>
                    <a:pt x="4787" y="1686"/>
                  </a:lnTo>
                  <a:lnTo>
                    <a:pt x="4752" y="1720"/>
                  </a:lnTo>
                  <a:lnTo>
                    <a:pt x="4717" y="1753"/>
                  </a:lnTo>
                  <a:lnTo>
                    <a:pt x="4681" y="1783"/>
                  </a:lnTo>
                  <a:lnTo>
                    <a:pt x="4681" y="1783"/>
                  </a:lnTo>
                  <a:lnTo>
                    <a:pt x="4651" y="1807"/>
                  </a:lnTo>
                  <a:lnTo>
                    <a:pt x="4623" y="1828"/>
                  </a:lnTo>
                  <a:lnTo>
                    <a:pt x="4593" y="1850"/>
                  </a:lnTo>
                  <a:lnTo>
                    <a:pt x="4563" y="1870"/>
                  </a:lnTo>
                  <a:lnTo>
                    <a:pt x="4532" y="1891"/>
                  </a:lnTo>
                  <a:lnTo>
                    <a:pt x="4501" y="1910"/>
                  </a:lnTo>
                  <a:lnTo>
                    <a:pt x="4436" y="1947"/>
                  </a:lnTo>
                  <a:lnTo>
                    <a:pt x="4371" y="1984"/>
                  </a:lnTo>
                  <a:lnTo>
                    <a:pt x="4304" y="2016"/>
                  </a:lnTo>
                  <a:lnTo>
                    <a:pt x="4235" y="2047"/>
                  </a:lnTo>
                  <a:lnTo>
                    <a:pt x="4166" y="2074"/>
                  </a:lnTo>
                  <a:lnTo>
                    <a:pt x="4095" y="2102"/>
                  </a:lnTo>
                  <a:lnTo>
                    <a:pt x="4024" y="2127"/>
                  </a:lnTo>
                  <a:lnTo>
                    <a:pt x="3953" y="2149"/>
                  </a:lnTo>
                  <a:lnTo>
                    <a:pt x="3880" y="2170"/>
                  </a:lnTo>
                  <a:lnTo>
                    <a:pt x="3809" y="2189"/>
                  </a:lnTo>
                  <a:lnTo>
                    <a:pt x="3737" y="2208"/>
                  </a:lnTo>
                  <a:lnTo>
                    <a:pt x="3666" y="2224"/>
                  </a:lnTo>
                  <a:lnTo>
                    <a:pt x="3594" y="2239"/>
                  </a:lnTo>
                  <a:lnTo>
                    <a:pt x="3594" y="2239"/>
                  </a:lnTo>
                  <a:lnTo>
                    <a:pt x="3521" y="2252"/>
                  </a:lnTo>
                  <a:lnTo>
                    <a:pt x="3446" y="2265"/>
                  </a:lnTo>
                  <a:lnTo>
                    <a:pt x="3371" y="2276"/>
                  </a:lnTo>
                  <a:lnTo>
                    <a:pt x="3296" y="2286"/>
                  </a:lnTo>
                  <a:lnTo>
                    <a:pt x="3222" y="2293"/>
                  </a:lnTo>
                  <a:lnTo>
                    <a:pt x="3147" y="2300"/>
                  </a:lnTo>
                  <a:lnTo>
                    <a:pt x="3071" y="2306"/>
                  </a:lnTo>
                  <a:lnTo>
                    <a:pt x="2996" y="2310"/>
                  </a:lnTo>
                  <a:lnTo>
                    <a:pt x="2920" y="2312"/>
                  </a:lnTo>
                  <a:lnTo>
                    <a:pt x="2846" y="2313"/>
                  </a:lnTo>
                  <a:lnTo>
                    <a:pt x="2770" y="2313"/>
                  </a:lnTo>
                  <a:lnTo>
                    <a:pt x="2694" y="2312"/>
                  </a:lnTo>
                  <a:lnTo>
                    <a:pt x="2619" y="2311"/>
                  </a:lnTo>
                  <a:lnTo>
                    <a:pt x="2543" y="2308"/>
                  </a:lnTo>
                  <a:lnTo>
                    <a:pt x="2468" y="2305"/>
                  </a:lnTo>
                  <a:lnTo>
                    <a:pt x="2392" y="2300"/>
                  </a:lnTo>
                  <a:lnTo>
                    <a:pt x="2392" y="2300"/>
                  </a:lnTo>
                  <a:lnTo>
                    <a:pt x="2316" y="2293"/>
                  </a:lnTo>
                  <a:lnTo>
                    <a:pt x="2239" y="2287"/>
                  </a:lnTo>
                  <a:lnTo>
                    <a:pt x="2162" y="2280"/>
                  </a:lnTo>
                  <a:lnTo>
                    <a:pt x="2085" y="2271"/>
                  </a:lnTo>
                  <a:lnTo>
                    <a:pt x="2007" y="2262"/>
                  </a:lnTo>
                  <a:lnTo>
                    <a:pt x="1932" y="2251"/>
                  </a:lnTo>
                  <a:lnTo>
                    <a:pt x="1854" y="2240"/>
                  </a:lnTo>
                  <a:lnTo>
                    <a:pt x="1778" y="2227"/>
                  </a:lnTo>
                  <a:lnTo>
                    <a:pt x="1701" y="2215"/>
                  </a:lnTo>
                  <a:lnTo>
                    <a:pt x="1625" y="2200"/>
                  </a:lnTo>
                  <a:lnTo>
                    <a:pt x="1549" y="2185"/>
                  </a:lnTo>
                  <a:lnTo>
                    <a:pt x="1473" y="2169"/>
                  </a:lnTo>
                  <a:lnTo>
                    <a:pt x="1399" y="2153"/>
                  </a:lnTo>
                  <a:lnTo>
                    <a:pt x="1323" y="2134"/>
                  </a:lnTo>
                  <a:lnTo>
                    <a:pt x="1248" y="2115"/>
                  </a:lnTo>
                  <a:lnTo>
                    <a:pt x="1173" y="2096"/>
                  </a:lnTo>
                  <a:lnTo>
                    <a:pt x="1173" y="2096"/>
                  </a:lnTo>
                  <a:lnTo>
                    <a:pt x="1097" y="2074"/>
                  </a:lnTo>
                  <a:lnTo>
                    <a:pt x="1021" y="2051"/>
                  </a:lnTo>
                  <a:lnTo>
                    <a:pt x="945" y="2026"/>
                  </a:lnTo>
                  <a:lnTo>
                    <a:pt x="870" y="2000"/>
                  </a:lnTo>
                  <a:lnTo>
                    <a:pt x="797" y="1972"/>
                  </a:lnTo>
                  <a:lnTo>
                    <a:pt x="722" y="1944"/>
                  </a:lnTo>
                  <a:lnTo>
                    <a:pt x="650" y="1913"/>
                  </a:lnTo>
                  <a:lnTo>
                    <a:pt x="577" y="1880"/>
                  </a:lnTo>
                  <a:lnTo>
                    <a:pt x="577" y="1880"/>
                  </a:lnTo>
                  <a:lnTo>
                    <a:pt x="507" y="1847"/>
                  </a:lnTo>
                  <a:lnTo>
                    <a:pt x="437" y="1812"/>
                  </a:lnTo>
                  <a:lnTo>
                    <a:pt x="369" y="1776"/>
                  </a:lnTo>
                  <a:lnTo>
                    <a:pt x="301" y="1737"/>
                  </a:lnTo>
                  <a:lnTo>
                    <a:pt x="301" y="1737"/>
                  </a:lnTo>
                  <a:lnTo>
                    <a:pt x="279" y="1723"/>
                  </a:lnTo>
                  <a:lnTo>
                    <a:pt x="248" y="1701"/>
                  </a:lnTo>
                  <a:lnTo>
                    <a:pt x="230" y="1689"/>
                  </a:lnTo>
                  <a:lnTo>
                    <a:pt x="213" y="1674"/>
                  </a:lnTo>
                  <a:lnTo>
                    <a:pt x="196" y="1659"/>
                  </a:lnTo>
                  <a:lnTo>
                    <a:pt x="181" y="1643"/>
                  </a:lnTo>
                  <a:lnTo>
                    <a:pt x="166" y="1626"/>
                  </a:lnTo>
                  <a:lnTo>
                    <a:pt x="154" y="1609"/>
                  </a:lnTo>
                  <a:lnTo>
                    <a:pt x="149" y="1602"/>
                  </a:lnTo>
                  <a:lnTo>
                    <a:pt x="146" y="1593"/>
                  </a:lnTo>
                  <a:lnTo>
                    <a:pt x="143" y="1585"/>
                  </a:lnTo>
                  <a:lnTo>
                    <a:pt x="142" y="1577"/>
                  </a:lnTo>
                  <a:lnTo>
                    <a:pt x="142" y="1569"/>
                  </a:lnTo>
                  <a:lnTo>
                    <a:pt x="142" y="1562"/>
                  </a:lnTo>
                  <a:lnTo>
                    <a:pt x="144" y="1554"/>
                  </a:lnTo>
                  <a:lnTo>
                    <a:pt x="148" y="1548"/>
                  </a:lnTo>
                  <a:lnTo>
                    <a:pt x="153" y="1541"/>
                  </a:lnTo>
                  <a:lnTo>
                    <a:pt x="159" y="1534"/>
                  </a:lnTo>
                  <a:lnTo>
                    <a:pt x="167" y="1529"/>
                  </a:lnTo>
                  <a:lnTo>
                    <a:pt x="178" y="1523"/>
                  </a:lnTo>
                  <a:lnTo>
                    <a:pt x="178" y="1523"/>
                  </a:lnTo>
                  <a:lnTo>
                    <a:pt x="187" y="1518"/>
                  </a:lnTo>
                  <a:lnTo>
                    <a:pt x="193" y="1513"/>
                  </a:lnTo>
                  <a:lnTo>
                    <a:pt x="198" y="1507"/>
                  </a:lnTo>
                  <a:lnTo>
                    <a:pt x="200" y="1501"/>
                  </a:lnTo>
                  <a:lnTo>
                    <a:pt x="202" y="1495"/>
                  </a:lnTo>
                  <a:lnTo>
                    <a:pt x="200" y="1488"/>
                  </a:lnTo>
                  <a:lnTo>
                    <a:pt x="198" y="1482"/>
                  </a:lnTo>
                  <a:lnTo>
                    <a:pt x="196" y="1476"/>
                  </a:lnTo>
                  <a:lnTo>
                    <a:pt x="191" y="1471"/>
                  </a:lnTo>
                  <a:lnTo>
                    <a:pt x="186" y="1466"/>
                  </a:lnTo>
                  <a:lnTo>
                    <a:pt x="179" y="1461"/>
                  </a:lnTo>
                  <a:lnTo>
                    <a:pt x="172" y="1457"/>
                  </a:lnTo>
                  <a:lnTo>
                    <a:pt x="164" y="1455"/>
                  </a:lnTo>
                  <a:lnTo>
                    <a:pt x="157" y="1452"/>
                  </a:lnTo>
                  <a:lnTo>
                    <a:pt x="148" y="1452"/>
                  </a:lnTo>
                  <a:lnTo>
                    <a:pt x="141" y="1452"/>
                  </a:lnTo>
                  <a:lnTo>
                    <a:pt x="141" y="1452"/>
                  </a:lnTo>
                  <a:lnTo>
                    <a:pt x="127" y="1456"/>
                  </a:lnTo>
                  <a:lnTo>
                    <a:pt x="113" y="1460"/>
                  </a:lnTo>
                  <a:lnTo>
                    <a:pt x="100" y="1465"/>
                  </a:lnTo>
                  <a:lnTo>
                    <a:pt x="87" y="1471"/>
                  </a:lnTo>
                  <a:lnTo>
                    <a:pt x="76" y="1477"/>
                  </a:lnTo>
                  <a:lnTo>
                    <a:pt x="65" y="1486"/>
                  </a:lnTo>
                  <a:lnTo>
                    <a:pt x="54" y="1495"/>
                  </a:lnTo>
                  <a:lnTo>
                    <a:pt x="45" y="1504"/>
                  </a:lnTo>
                  <a:lnTo>
                    <a:pt x="35" y="1514"/>
                  </a:lnTo>
                  <a:lnTo>
                    <a:pt x="27" y="1526"/>
                  </a:lnTo>
                  <a:lnTo>
                    <a:pt x="20" y="1538"/>
                  </a:lnTo>
                  <a:lnTo>
                    <a:pt x="14" y="1551"/>
                  </a:lnTo>
                  <a:lnTo>
                    <a:pt x="9" y="1563"/>
                  </a:lnTo>
                  <a:lnTo>
                    <a:pt x="5" y="1577"/>
                  </a:lnTo>
                  <a:lnTo>
                    <a:pt x="2" y="1590"/>
                  </a:lnTo>
                  <a:lnTo>
                    <a:pt x="1" y="1605"/>
                  </a:lnTo>
                  <a:lnTo>
                    <a:pt x="1" y="1605"/>
                  </a:lnTo>
                  <a:lnTo>
                    <a:pt x="0" y="1626"/>
                  </a:lnTo>
                  <a:lnTo>
                    <a:pt x="2" y="1648"/>
                  </a:lnTo>
                  <a:lnTo>
                    <a:pt x="6" y="1667"/>
                  </a:lnTo>
                  <a:lnTo>
                    <a:pt x="12" y="1686"/>
                  </a:lnTo>
                  <a:lnTo>
                    <a:pt x="20" y="1704"/>
                  </a:lnTo>
                  <a:lnTo>
                    <a:pt x="30" y="1720"/>
                  </a:lnTo>
                  <a:lnTo>
                    <a:pt x="41" y="1735"/>
                  </a:lnTo>
                  <a:lnTo>
                    <a:pt x="54" y="1750"/>
                  </a:lnTo>
                  <a:lnTo>
                    <a:pt x="66" y="1763"/>
                  </a:lnTo>
                  <a:lnTo>
                    <a:pt x="81" y="1777"/>
                  </a:lnTo>
                  <a:lnTo>
                    <a:pt x="96" y="1789"/>
                  </a:lnTo>
                  <a:lnTo>
                    <a:pt x="112" y="1802"/>
                  </a:lnTo>
                  <a:lnTo>
                    <a:pt x="146" y="1824"/>
                  </a:lnTo>
                  <a:lnTo>
                    <a:pt x="181" y="1847"/>
                  </a:lnTo>
                  <a:lnTo>
                    <a:pt x="181" y="1847"/>
                  </a:lnTo>
                  <a:lnTo>
                    <a:pt x="227" y="1873"/>
                  </a:lnTo>
                  <a:lnTo>
                    <a:pt x="273" y="1899"/>
                  </a:lnTo>
                  <a:lnTo>
                    <a:pt x="320" y="1925"/>
                  </a:lnTo>
                  <a:lnTo>
                    <a:pt x="367" y="1949"/>
                  </a:lnTo>
                  <a:lnTo>
                    <a:pt x="415" y="1972"/>
                  </a:lnTo>
                  <a:lnTo>
                    <a:pt x="463" y="1995"/>
                  </a:lnTo>
                  <a:lnTo>
                    <a:pt x="512" y="2017"/>
                  </a:lnTo>
                  <a:lnTo>
                    <a:pt x="560" y="2038"/>
                  </a:lnTo>
                  <a:lnTo>
                    <a:pt x="610" y="2058"/>
                  </a:lnTo>
                  <a:lnTo>
                    <a:pt x="659" y="2078"/>
                  </a:lnTo>
                  <a:lnTo>
                    <a:pt x="760" y="2115"/>
                  </a:lnTo>
                  <a:lnTo>
                    <a:pt x="859" y="2150"/>
                  </a:lnTo>
                  <a:lnTo>
                    <a:pt x="961" y="2183"/>
                  </a:lnTo>
                  <a:lnTo>
                    <a:pt x="961" y="2183"/>
                  </a:lnTo>
                  <a:lnTo>
                    <a:pt x="1061" y="2214"/>
                  </a:lnTo>
                  <a:lnTo>
                    <a:pt x="1163" y="2241"/>
                  </a:lnTo>
                  <a:lnTo>
                    <a:pt x="1265" y="2269"/>
                  </a:lnTo>
                  <a:lnTo>
                    <a:pt x="1367" y="2292"/>
                  </a:lnTo>
                  <a:lnTo>
                    <a:pt x="1471" y="2315"/>
                  </a:lnTo>
                  <a:lnTo>
                    <a:pt x="1575" y="2336"/>
                  </a:lnTo>
                  <a:lnTo>
                    <a:pt x="1680" y="2353"/>
                  </a:lnTo>
                  <a:lnTo>
                    <a:pt x="1785" y="2371"/>
                  </a:lnTo>
                  <a:lnTo>
                    <a:pt x="1889" y="2386"/>
                  </a:lnTo>
                  <a:lnTo>
                    <a:pt x="1995" y="2399"/>
                  </a:lnTo>
                  <a:lnTo>
                    <a:pt x="2100" y="2410"/>
                  </a:lnTo>
                  <a:lnTo>
                    <a:pt x="2205" y="2420"/>
                  </a:lnTo>
                  <a:lnTo>
                    <a:pt x="2311" y="2428"/>
                  </a:lnTo>
                  <a:lnTo>
                    <a:pt x="2416" y="2434"/>
                  </a:lnTo>
                  <a:lnTo>
                    <a:pt x="2522" y="2439"/>
                  </a:lnTo>
                  <a:lnTo>
                    <a:pt x="2626" y="2443"/>
                  </a:lnTo>
                  <a:lnTo>
                    <a:pt x="2626" y="2443"/>
                  </a:lnTo>
                  <a:lnTo>
                    <a:pt x="2727" y="2444"/>
                  </a:lnTo>
                  <a:lnTo>
                    <a:pt x="2828" y="2443"/>
                  </a:lnTo>
                  <a:lnTo>
                    <a:pt x="2930" y="2440"/>
                  </a:lnTo>
                  <a:lnTo>
                    <a:pt x="3031" y="2435"/>
                  </a:lnTo>
                  <a:lnTo>
                    <a:pt x="3132" y="2428"/>
                  </a:lnTo>
                  <a:lnTo>
                    <a:pt x="3233" y="2418"/>
                  </a:lnTo>
                  <a:lnTo>
                    <a:pt x="3332" y="2405"/>
                  </a:lnTo>
                  <a:lnTo>
                    <a:pt x="3433" y="2390"/>
                  </a:lnTo>
                  <a:lnTo>
                    <a:pt x="3533" y="2373"/>
                  </a:lnTo>
                  <a:lnTo>
                    <a:pt x="3631" y="2353"/>
                  </a:lnTo>
                  <a:lnTo>
                    <a:pt x="3730" y="2330"/>
                  </a:lnTo>
                  <a:lnTo>
                    <a:pt x="3828" y="2305"/>
                  </a:lnTo>
                  <a:lnTo>
                    <a:pt x="3925" y="2276"/>
                  </a:lnTo>
                  <a:lnTo>
                    <a:pt x="3974" y="2261"/>
                  </a:lnTo>
                  <a:lnTo>
                    <a:pt x="4021" y="2245"/>
                  </a:lnTo>
                  <a:lnTo>
                    <a:pt x="4070" y="2227"/>
                  </a:lnTo>
                  <a:lnTo>
                    <a:pt x="4117" y="2210"/>
                  </a:lnTo>
                  <a:lnTo>
                    <a:pt x="4164" y="2193"/>
                  </a:lnTo>
                  <a:lnTo>
                    <a:pt x="4210" y="2174"/>
                  </a:lnTo>
                  <a:lnTo>
                    <a:pt x="4210" y="2174"/>
                  </a:lnTo>
                  <a:lnTo>
                    <a:pt x="4289" y="2140"/>
                  </a:lnTo>
                  <a:lnTo>
                    <a:pt x="4367" y="2103"/>
                  </a:lnTo>
                  <a:lnTo>
                    <a:pt x="4407" y="2083"/>
                  </a:lnTo>
                  <a:lnTo>
                    <a:pt x="4448" y="2063"/>
                  </a:lnTo>
                  <a:lnTo>
                    <a:pt x="4488" y="2041"/>
                  </a:lnTo>
                  <a:lnTo>
                    <a:pt x="4528" y="2018"/>
                  </a:lnTo>
                  <a:lnTo>
                    <a:pt x="4568" y="1995"/>
                  </a:lnTo>
                  <a:lnTo>
                    <a:pt x="4606" y="1971"/>
                  </a:lnTo>
                  <a:lnTo>
                    <a:pt x="4645" y="1945"/>
                  </a:lnTo>
                  <a:lnTo>
                    <a:pt x="4684" y="1919"/>
                  </a:lnTo>
                  <a:lnTo>
                    <a:pt x="4721" y="1891"/>
                  </a:lnTo>
                  <a:lnTo>
                    <a:pt x="4757" y="1863"/>
                  </a:lnTo>
                  <a:lnTo>
                    <a:pt x="4793" y="1834"/>
                  </a:lnTo>
                  <a:lnTo>
                    <a:pt x="4828" y="1803"/>
                  </a:lnTo>
                  <a:lnTo>
                    <a:pt x="4861" y="1772"/>
                  </a:lnTo>
                  <a:lnTo>
                    <a:pt x="4893" y="1741"/>
                  </a:lnTo>
                  <a:lnTo>
                    <a:pt x="4924" y="1707"/>
                  </a:lnTo>
                  <a:lnTo>
                    <a:pt x="4953" y="1672"/>
                  </a:lnTo>
                  <a:lnTo>
                    <a:pt x="4980" y="1638"/>
                  </a:lnTo>
                  <a:lnTo>
                    <a:pt x="5005" y="1602"/>
                  </a:lnTo>
                  <a:lnTo>
                    <a:pt x="5029" y="1564"/>
                  </a:lnTo>
                  <a:lnTo>
                    <a:pt x="5050" y="1526"/>
                  </a:lnTo>
                  <a:lnTo>
                    <a:pt x="5068" y="1487"/>
                  </a:lnTo>
                  <a:lnTo>
                    <a:pt x="5086" y="1447"/>
                  </a:lnTo>
                  <a:lnTo>
                    <a:pt x="5101" y="1405"/>
                  </a:lnTo>
                  <a:lnTo>
                    <a:pt x="5112" y="1364"/>
                  </a:lnTo>
                  <a:lnTo>
                    <a:pt x="5122" y="1320"/>
                  </a:lnTo>
                  <a:lnTo>
                    <a:pt x="5128" y="1276"/>
                  </a:lnTo>
                  <a:lnTo>
                    <a:pt x="5131" y="1253"/>
                  </a:lnTo>
                  <a:lnTo>
                    <a:pt x="5132" y="1231"/>
                  </a:lnTo>
                  <a:lnTo>
                    <a:pt x="5132" y="1207"/>
                  </a:lnTo>
                  <a:lnTo>
                    <a:pt x="5132" y="1183"/>
                  </a:lnTo>
                  <a:lnTo>
                    <a:pt x="5132" y="1183"/>
                  </a:lnTo>
                  <a:lnTo>
                    <a:pt x="5132" y="1161"/>
                  </a:lnTo>
                  <a:lnTo>
                    <a:pt x="5130" y="1139"/>
                  </a:lnTo>
                  <a:lnTo>
                    <a:pt x="5127" y="1116"/>
                  </a:lnTo>
                  <a:lnTo>
                    <a:pt x="5125" y="1094"/>
                  </a:lnTo>
                  <a:lnTo>
                    <a:pt x="5121" y="1071"/>
                  </a:lnTo>
                  <a:lnTo>
                    <a:pt x="5116" y="1050"/>
                  </a:lnTo>
                  <a:lnTo>
                    <a:pt x="5110" y="1029"/>
                  </a:lnTo>
                  <a:lnTo>
                    <a:pt x="5103" y="1008"/>
                  </a:lnTo>
                  <a:lnTo>
                    <a:pt x="5090" y="968"/>
                  </a:lnTo>
                  <a:lnTo>
                    <a:pt x="5072" y="928"/>
                  </a:lnTo>
                  <a:lnTo>
                    <a:pt x="5052" y="890"/>
                  </a:lnTo>
                  <a:lnTo>
                    <a:pt x="5031" y="852"/>
                  </a:lnTo>
                  <a:lnTo>
                    <a:pt x="5006" y="816"/>
                  </a:lnTo>
                  <a:lnTo>
                    <a:pt x="4980" y="781"/>
                  </a:lnTo>
                  <a:lnTo>
                    <a:pt x="4951" y="747"/>
                  </a:lnTo>
                  <a:lnTo>
                    <a:pt x="4922" y="714"/>
                  </a:lnTo>
                  <a:lnTo>
                    <a:pt x="4890" y="683"/>
                  </a:lnTo>
                  <a:lnTo>
                    <a:pt x="4857" y="652"/>
                  </a:lnTo>
                  <a:lnTo>
                    <a:pt x="4822" y="622"/>
                  </a:lnTo>
                  <a:lnTo>
                    <a:pt x="4787" y="594"/>
                  </a:lnTo>
                  <a:lnTo>
                    <a:pt x="4750" y="566"/>
                  </a:lnTo>
                  <a:lnTo>
                    <a:pt x="4711" y="539"/>
                  </a:lnTo>
                  <a:lnTo>
                    <a:pt x="4672" y="514"/>
                  </a:lnTo>
                  <a:lnTo>
                    <a:pt x="4633" y="489"/>
                  </a:lnTo>
                  <a:lnTo>
                    <a:pt x="4593" y="465"/>
                  </a:lnTo>
                  <a:lnTo>
                    <a:pt x="4553" y="442"/>
                  </a:lnTo>
                  <a:lnTo>
                    <a:pt x="4512" y="421"/>
                  </a:lnTo>
                  <a:lnTo>
                    <a:pt x="4471" y="399"/>
                  </a:lnTo>
                  <a:lnTo>
                    <a:pt x="4389" y="360"/>
                  </a:lnTo>
                  <a:lnTo>
                    <a:pt x="4309" y="324"/>
                  </a:lnTo>
                  <a:lnTo>
                    <a:pt x="4230" y="290"/>
                  </a:lnTo>
                  <a:lnTo>
                    <a:pt x="4154" y="260"/>
                  </a:lnTo>
                  <a:lnTo>
                    <a:pt x="4154" y="260"/>
                  </a:lnTo>
                  <a:lnTo>
                    <a:pt x="4106" y="241"/>
                  </a:lnTo>
                  <a:lnTo>
                    <a:pt x="4056" y="224"/>
                  </a:lnTo>
                  <a:lnTo>
                    <a:pt x="4007" y="207"/>
                  </a:lnTo>
                  <a:lnTo>
                    <a:pt x="3958" y="190"/>
                  </a:lnTo>
                  <a:lnTo>
                    <a:pt x="3908" y="175"/>
                  </a:lnTo>
                  <a:lnTo>
                    <a:pt x="3857" y="161"/>
                  </a:lnTo>
                  <a:lnTo>
                    <a:pt x="3807" y="147"/>
                  </a:lnTo>
                  <a:lnTo>
                    <a:pt x="3756" y="133"/>
                  </a:lnTo>
                  <a:lnTo>
                    <a:pt x="3655" y="108"/>
                  </a:lnTo>
                  <a:lnTo>
                    <a:pt x="3553" y="87"/>
                  </a:lnTo>
                  <a:lnTo>
                    <a:pt x="3450" y="67"/>
                  </a:lnTo>
                  <a:lnTo>
                    <a:pt x="3346" y="51"/>
                  </a:lnTo>
                  <a:lnTo>
                    <a:pt x="3243" y="37"/>
                  </a:lnTo>
                  <a:lnTo>
                    <a:pt x="3138" y="26"/>
                  </a:lnTo>
                  <a:lnTo>
                    <a:pt x="3034" y="16"/>
                  </a:lnTo>
                  <a:lnTo>
                    <a:pt x="2930" y="9"/>
                  </a:lnTo>
                  <a:lnTo>
                    <a:pt x="2826" y="4"/>
                  </a:lnTo>
                  <a:lnTo>
                    <a:pt x="2721" y="1"/>
                  </a:lnTo>
                  <a:lnTo>
                    <a:pt x="2616" y="0"/>
                  </a:lnTo>
                  <a:lnTo>
                    <a:pt x="2512" y="1"/>
                  </a:lnTo>
                  <a:lnTo>
                    <a:pt x="2512" y="1"/>
                  </a:lnTo>
                  <a:lnTo>
                    <a:pt x="2406" y="5"/>
                  </a:lnTo>
                  <a:lnTo>
                    <a:pt x="2300" y="10"/>
                  </a:lnTo>
                  <a:lnTo>
                    <a:pt x="2196" y="17"/>
                  </a:lnTo>
                  <a:lnTo>
                    <a:pt x="2090" y="26"/>
                  </a:lnTo>
                  <a:lnTo>
                    <a:pt x="1985" y="37"/>
                  </a:lnTo>
                  <a:lnTo>
                    <a:pt x="1879" y="50"/>
                  </a:lnTo>
                  <a:lnTo>
                    <a:pt x="1775" y="63"/>
                  </a:lnTo>
                  <a:lnTo>
                    <a:pt x="1670" y="80"/>
                  </a:lnTo>
                  <a:lnTo>
                    <a:pt x="1670" y="80"/>
                  </a:lnTo>
                  <a:lnTo>
                    <a:pt x="1567" y="96"/>
                  </a:lnTo>
                  <a:lnTo>
                    <a:pt x="1514" y="106"/>
                  </a:lnTo>
                  <a:lnTo>
                    <a:pt x="1462" y="116"/>
                  </a:lnTo>
                  <a:lnTo>
                    <a:pt x="1411" y="127"/>
                  </a:lnTo>
                  <a:lnTo>
                    <a:pt x="1359" y="139"/>
                  </a:lnTo>
                  <a:lnTo>
                    <a:pt x="1308" y="153"/>
                  </a:lnTo>
                  <a:lnTo>
                    <a:pt x="1257" y="168"/>
                  </a:lnTo>
                  <a:lnTo>
                    <a:pt x="1205" y="183"/>
                  </a:lnTo>
                  <a:lnTo>
                    <a:pt x="1156" y="200"/>
                  </a:lnTo>
                  <a:lnTo>
                    <a:pt x="1106" y="219"/>
                  </a:lnTo>
                  <a:lnTo>
                    <a:pt x="1057" y="239"/>
                  </a:lnTo>
                  <a:lnTo>
                    <a:pt x="1010" y="261"/>
                  </a:lnTo>
                  <a:lnTo>
                    <a:pt x="963" y="285"/>
                  </a:lnTo>
                  <a:lnTo>
                    <a:pt x="917" y="310"/>
                  </a:lnTo>
                  <a:lnTo>
                    <a:pt x="870" y="337"/>
                  </a:lnTo>
                  <a:lnTo>
                    <a:pt x="870" y="337"/>
                  </a:lnTo>
                  <a:lnTo>
                    <a:pt x="832" y="363"/>
                  </a:lnTo>
                  <a:lnTo>
                    <a:pt x="796" y="389"/>
                  </a:lnTo>
                  <a:lnTo>
                    <a:pt x="760" y="417"/>
                  </a:lnTo>
                  <a:lnTo>
                    <a:pt x="725" y="447"/>
                  </a:lnTo>
                  <a:lnTo>
                    <a:pt x="691" y="477"/>
                  </a:lnTo>
                  <a:lnTo>
                    <a:pt x="659" y="508"/>
                  </a:lnTo>
                  <a:lnTo>
                    <a:pt x="629" y="541"/>
                  </a:lnTo>
                  <a:lnTo>
                    <a:pt x="600" y="575"/>
                  </a:lnTo>
                  <a:lnTo>
                    <a:pt x="574" y="611"/>
                  </a:lnTo>
                  <a:lnTo>
                    <a:pt x="550" y="648"/>
                  </a:lnTo>
                  <a:lnTo>
                    <a:pt x="528" y="686"/>
                  </a:lnTo>
                  <a:lnTo>
                    <a:pt x="507" y="725"/>
                  </a:lnTo>
                  <a:lnTo>
                    <a:pt x="489" y="767"/>
                  </a:lnTo>
                  <a:lnTo>
                    <a:pt x="474" y="809"/>
                  </a:lnTo>
                  <a:lnTo>
                    <a:pt x="468" y="831"/>
                  </a:lnTo>
                  <a:lnTo>
                    <a:pt x="462" y="854"/>
                  </a:lnTo>
                  <a:lnTo>
                    <a:pt x="457" y="876"/>
                  </a:lnTo>
                  <a:lnTo>
                    <a:pt x="452" y="898"/>
                  </a:lnTo>
                  <a:lnTo>
                    <a:pt x="452" y="898"/>
                  </a:lnTo>
                  <a:lnTo>
                    <a:pt x="447" y="936"/>
                  </a:lnTo>
                  <a:lnTo>
                    <a:pt x="443" y="973"/>
                  </a:lnTo>
                  <a:lnTo>
                    <a:pt x="442" y="1012"/>
                  </a:lnTo>
                  <a:lnTo>
                    <a:pt x="443" y="1049"/>
                  </a:lnTo>
                  <a:lnTo>
                    <a:pt x="447" y="1088"/>
                  </a:lnTo>
                  <a:lnTo>
                    <a:pt x="452" y="1126"/>
                  </a:lnTo>
                  <a:lnTo>
                    <a:pt x="460" y="1164"/>
                  </a:lnTo>
                  <a:lnTo>
                    <a:pt x="469" y="1201"/>
                  </a:lnTo>
                  <a:lnTo>
                    <a:pt x="481" y="1238"/>
                  </a:lnTo>
                  <a:lnTo>
                    <a:pt x="494" y="1273"/>
                  </a:lnTo>
                  <a:lnTo>
                    <a:pt x="511" y="1308"/>
                  </a:lnTo>
                  <a:lnTo>
                    <a:pt x="528" y="1341"/>
                  </a:lnTo>
                  <a:lnTo>
                    <a:pt x="548" y="1375"/>
                  </a:lnTo>
                  <a:lnTo>
                    <a:pt x="570" y="1405"/>
                  </a:lnTo>
                  <a:lnTo>
                    <a:pt x="594" y="1435"/>
                  </a:lnTo>
                  <a:lnTo>
                    <a:pt x="620" y="1462"/>
                  </a:lnTo>
                  <a:lnTo>
                    <a:pt x="620" y="1462"/>
                  </a:lnTo>
                  <a:lnTo>
                    <a:pt x="638" y="1480"/>
                  </a:lnTo>
                  <a:lnTo>
                    <a:pt x="656" y="1495"/>
                  </a:lnTo>
                  <a:lnTo>
                    <a:pt x="675" y="1509"/>
                  </a:lnTo>
                  <a:lnTo>
                    <a:pt x="694" y="1524"/>
                  </a:lnTo>
                  <a:lnTo>
                    <a:pt x="714" y="1537"/>
                  </a:lnTo>
                  <a:lnTo>
                    <a:pt x="733" y="1549"/>
                  </a:lnTo>
                  <a:lnTo>
                    <a:pt x="755" y="1562"/>
                  </a:lnTo>
                  <a:lnTo>
                    <a:pt x="776" y="1572"/>
                  </a:lnTo>
                  <a:lnTo>
                    <a:pt x="776" y="1572"/>
                  </a:lnTo>
                  <a:lnTo>
                    <a:pt x="780" y="1574"/>
                  </a:lnTo>
                  <a:lnTo>
                    <a:pt x="785" y="1574"/>
                  </a:lnTo>
                  <a:lnTo>
                    <a:pt x="793" y="1574"/>
                  </a:lnTo>
                  <a:lnTo>
                    <a:pt x="802" y="1570"/>
                  </a:lnTo>
                  <a:lnTo>
                    <a:pt x="809" y="1565"/>
                  </a:lnTo>
                  <a:lnTo>
                    <a:pt x="814" y="1559"/>
                  </a:lnTo>
                  <a:lnTo>
                    <a:pt x="816" y="1555"/>
                  </a:lnTo>
                  <a:lnTo>
                    <a:pt x="817" y="1553"/>
                  </a:lnTo>
                  <a:lnTo>
                    <a:pt x="817" y="1549"/>
                  </a:lnTo>
                  <a:lnTo>
                    <a:pt x="814" y="1546"/>
                  </a:lnTo>
                  <a:lnTo>
                    <a:pt x="812" y="1542"/>
                  </a:lnTo>
                  <a:lnTo>
                    <a:pt x="808" y="1538"/>
                  </a:lnTo>
                  <a:lnTo>
                    <a:pt x="808" y="1538"/>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sz="2260" dirty="0"/>
            </a:p>
          </p:txBody>
        </p:sp>
        <p:cxnSp>
          <p:nvCxnSpPr>
            <p:cNvPr id="23" name="Straight Connector 22">
              <a:extLst>
                <a:ext uri="{FF2B5EF4-FFF2-40B4-BE49-F238E27FC236}">
                  <a16:creationId xmlns:a16="http://schemas.microsoft.com/office/drawing/2014/main" id="{172EBD1C-8D30-45CA-97B0-E2A00A3BA311}"/>
                </a:ext>
              </a:extLst>
            </p:cNvPr>
            <p:cNvCxnSpPr>
              <a:cxnSpLocks/>
            </p:cNvCxnSpPr>
            <p:nvPr/>
          </p:nvCxnSpPr>
          <p:spPr>
            <a:xfrm>
              <a:off x="4335735" y="3198179"/>
              <a:ext cx="3703320" cy="0"/>
            </a:xfrm>
            <a:prstGeom prst="line">
              <a:avLst/>
            </a:prstGeom>
            <a:ln w="9525">
              <a:solidFill>
                <a:srgbClr val="55555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4BE8251-812D-4D70-AB76-C1F7D6FA7A2F}"/>
                </a:ext>
              </a:extLst>
            </p:cNvPr>
            <p:cNvCxnSpPr>
              <a:cxnSpLocks/>
            </p:cNvCxnSpPr>
            <p:nvPr/>
          </p:nvCxnSpPr>
          <p:spPr>
            <a:xfrm rot="16200000">
              <a:off x="4359528" y="3204813"/>
              <a:ext cx="3657600" cy="0"/>
            </a:xfrm>
            <a:prstGeom prst="line">
              <a:avLst/>
            </a:prstGeom>
            <a:ln w="9525">
              <a:solidFill>
                <a:srgbClr val="555555"/>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828A93A-ABE6-483C-81D1-39AE990105C0}"/>
              </a:ext>
            </a:extLst>
          </p:cNvPr>
          <p:cNvGrpSpPr/>
          <p:nvPr/>
        </p:nvGrpSpPr>
        <p:grpSpPr>
          <a:xfrm>
            <a:off x="2923308" y="1820846"/>
            <a:ext cx="3083737" cy="4130151"/>
            <a:chOff x="227413" y="1796171"/>
            <a:chExt cx="3083737" cy="4130151"/>
          </a:xfrm>
        </p:grpSpPr>
        <p:pic>
          <p:nvPicPr>
            <p:cNvPr id="26" name="Picture 25">
              <a:extLst>
                <a:ext uri="{FF2B5EF4-FFF2-40B4-BE49-F238E27FC236}">
                  <a16:creationId xmlns:a16="http://schemas.microsoft.com/office/drawing/2014/main" id="{AE7B9349-9F3D-4142-8F10-700EF5374F44}"/>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23892" r="29590" b="7220"/>
            <a:stretch/>
          </p:blipFill>
          <p:spPr>
            <a:xfrm>
              <a:off x="604169" y="2523947"/>
              <a:ext cx="2411407" cy="2407689"/>
            </a:xfrm>
            <a:prstGeom prst="rect">
              <a:avLst/>
            </a:prstGeom>
          </p:spPr>
        </p:pic>
        <p:sp>
          <p:nvSpPr>
            <p:cNvPr id="27" name="TextBox 26">
              <a:extLst>
                <a:ext uri="{FF2B5EF4-FFF2-40B4-BE49-F238E27FC236}">
                  <a16:creationId xmlns:a16="http://schemas.microsoft.com/office/drawing/2014/main" id="{364F88E7-BB2B-431C-B0DE-41FD0B37FDC4}"/>
                </a:ext>
              </a:extLst>
            </p:cNvPr>
            <p:cNvSpPr txBox="1"/>
            <p:nvPr/>
          </p:nvSpPr>
          <p:spPr>
            <a:xfrm>
              <a:off x="227413" y="1796171"/>
              <a:ext cx="3083737" cy="498598"/>
            </a:xfrm>
            <a:prstGeom prst="rect">
              <a:avLst/>
            </a:prstGeom>
            <a:noFill/>
          </p:spPr>
          <p:txBody>
            <a:bodyPr wrap="square" lIns="0" tIns="0" rIns="0" bIns="0" rtlCol="0">
              <a:spAutoFit/>
            </a:bodyPr>
            <a:lstStyle>
              <a:defPPr>
                <a:defRPr lang="en-US"/>
              </a:defPPr>
              <a:lvl1pPr algn="ctr">
                <a:defRPr sz="1800" b="1"/>
              </a:lvl1pPr>
            </a:lstStyle>
            <a:p>
              <a:pPr>
                <a:lnSpc>
                  <a:spcPct val="90000"/>
                </a:lnSpc>
              </a:pPr>
              <a:r>
                <a:rPr lang="en-US" dirty="0"/>
                <a:t>IoT Software </a:t>
              </a:r>
              <a:br>
                <a:rPr lang="en-US" dirty="0"/>
              </a:br>
              <a:r>
                <a:rPr lang="en-US" dirty="0"/>
                <a:t>Platforms</a:t>
              </a:r>
              <a:endParaRPr lang="en-US" sz="1300" b="0" dirty="0"/>
            </a:p>
          </p:txBody>
        </p:sp>
        <p:pic>
          <p:nvPicPr>
            <p:cNvPr id="28" name="Picture 27">
              <a:extLst>
                <a:ext uri="{FF2B5EF4-FFF2-40B4-BE49-F238E27FC236}">
                  <a16:creationId xmlns:a16="http://schemas.microsoft.com/office/drawing/2014/main" id="{7B755DA1-5926-4E88-94D9-6B05F3854ED9}"/>
                </a:ext>
              </a:extLst>
            </p:cNvPr>
            <p:cNvPicPr>
              <a:picLocks noChangeAspect="1"/>
            </p:cNvPicPr>
            <p:nvPr/>
          </p:nvPicPr>
          <p:blipFill>
            <a:blip r:embed="rId6"/>
            <a:stretch>
              <a:fillRect/>
            </a:stretch>
          </p:blipFill>
          <p:spPr>
            <a:xfrm>
              <a:off x="676095" y="4954418"/>
              <a:ext cx="1925118" cy="971904"/>
            </a:xfrm>
            <a:prstGeom prst="rect">
              <a:avLst/>
            </a:prstGeom>
          </p:spPr>
        </p:pic>
      </p:grpSp>
      <p:pic>
        <p:nvPicPr>
          <p:cNvPr id="29" name="Picture 28">
            <a:extLst>
              <a:ext uri="{FF2B5EF4-FFF2-40B4-BE49-F238E27FC236}">
                <a16:creationId xmlns:a16="http://schemas.microsoft.com/office/drawing/2014/main" id="{BF9B2E6B-6303-455B-958A-3B824D62132A}"/>
              </a:ext>
            </a:extLst>
          </p:cNvPr>
          <p:cNvPicPr>
            <a:picLocks noChangeAspect="1"/>
          </p:cNvPicPr>
          <p:nvPr/>
        </p:nvPicPr>
        <p:blipFill>
          <a:blip r:embed="rId7"/>
          <a:stretch>
            <a:fillRect/>
          </a:stretch>
        </p:blipFill>
        <p:spPr>
          <a:xfrm>
            <a:off x="5853590" y="2531727"/>
            <a:ext cx="3118764" cy="2422691"/>
          </a:xfrm>
          <a:prstGeom prst="rect">
            <a:avLst/>
          </a:prstGeom>
        </p:spPr>
      </p:pic>
      <p:pic>
        <p:nvPicPr>
          <p:cNvPr id="25602" name="Picture 2" descr="Image result for gartner logo">
            <a:extLst>
              <a:ext uri="{FF2B5EF4-FFF2-40B4-BE49-F238E27FC236}">
                <a16:creationId xmlns:a16="http://schemas.microsoft.com/office/drawing/2014/main" id="{D0F185B5-8165-4421-9735-A7C90E7E6E7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2598" y="5083619"/>
            <a:ext cx="1600462" cy="504939"/>
          </a:xfrm>
          <a:prstGeom prst="rect">
            <a:avLst/>
          </a:prstGeom>
          <a:noFill/>
          <a:extLst>
            <a:ext uri="{909E8E84-426E-40DD-AFC4-6F175D3DCCD1}">
              <a14:hiddenFill xmlns:a14="http://schemas.microsoft.com/office/drawing/2010/main">
                <a:solidFill>
                  <a:srgbClr val="FFFFFF"/>
                </a:solidFill>
              </a14:hiddenFill>
            </a:ext>
          </a:extLst>
        </p:spPr>
      </p:pic>
      <p:pic>
        <p:nvPicPr>
          <p:cNvPr id="25604" name="Picture 4" descr="Image result for forrester logo">
            <a:extLst>
              <a:ext uri="{FF2B5EF4-FFF2-40B4-BE49-F238E27FC236}">
                <a16:creationId xmlns:a16="http://schemas.microsoft.com/office/drawing/2014/main" id="{7A8BBF82-01FD-4F83-9346-5813AE7F4B8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00064" y="5185489"/>
            <a:ext cx="2389666" cy="38085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E3EF2322-3DC8-4C43-8F90-4649F8FCC3E4}"/>
              </a:ext>
            </a:extLst>
          </p:cNvPr>
          <p:cNvSpPr txBox="1"/>
          <p:nvPr/>
        </p:nvSpPr>
        <p:spPr>
          <a:xfrm>
            <a:off x="10731364" y="2805642"/>
            <a:ext cx="938140" cy="369332"/>
          </a:xfrm>
          <a:prstGeom prst="rect">
            <a:avLst/>
          </a:prstGeom>
          <a:noFill/>
        </p:spPr>
        <p:txBody>
          <a:bodyPr wrap="square" lIns="0" tIns="0" rIns="0" bIns="0" rtlCol="0">
            <a:spAutoFit/>
          </a:bodyPr>
          <a:lstStyle>
            <a:defPPr>
              <a:defRPr lang="en-US"/>
            </a:defPPr>
            <a:lvl1pPr>
              <a:defRPr sz="1800" b="1">
                <a:latin typeface="Century Gothic" panose="020B0502020202020204" pitchFamily="34" charset="0"/>
                <a:ea typeface="TeXGyreAdventor" charset="0"/>
                <a:cs typeface="TeXGyreAdventor" charset="0"/>
              </a:defRPr>
            </a:lvl1pPr>
          </a:lstStyle>
          <a:p>
            <a:pPr defTabSz="1086747">
              <a:defRPr/>
            </a:pPr>
            <a:r>
              <a:rPr lang="en-US" sz="1200" dirty="0"/>
              <a:t>VUFORIA 81%</a:t>
            </a:r>
          </a:p>
        </p:txBody>
      </p:sp>
    </p:spTree>
    <p:extLst>
      <p:ext uri="{BB962C8B-B14F-4D97-AF65-F5344CB8AC3E}">
        <p14:creationId xmlns:p14="http://schemas.microsoft.com/office/powerpoint/2010/main" val="1995239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5700F8E-34C5-43E4-8028-B3A8D8E8AA54}"/>
              </a:ext>
            </a:extLst>
          </p:cNvPr>
          <p:cNvPicPr>
            <a:picLocks noChangeAspect="1"/>
          </p:cNvPicPr>
          <p:nvPr/>
        </p:nvPicPr>
        <p:blipFill rotWithShape="1">
          <a:blip r:embed="rId2"/>
          <a:srcRect t="4807" r="715"/>
          <a:stretch/>
        </p:blipFill>
        <p:spPr>
          <a:xfrm>
            <a:off x="152400" y="304800"/>
            <a:ext cx="5943600" cy="6072321"/>
          </a:xfrm>
          <a:prstGeom prst="rect">
            <a:avLst/>
          </a:prstGeom>
        </p:spPr>
      </p:pic>
      <p:sp>
        <p:nvSpPr>
          <p:cNvPr id="8" name="TextBox 7">
            <a:extLst>
              <a:ext uri="{FF2B5EF4-FFF2-40B4-BE49-F238E27FC236}">
                <a16:creationId xmlns:a16="http://schemas.microsoft.com/office/drawing/2014/main" id="{A0226AEB-87C7-419E-906B-2C576E6F1E0F}"/>
              </a:ext>
            </a:extLst>
          </p:cNvPr>
          <p:cNvSpPr txBox="1"/>
          <p:nvPr/>
        </p:nvSpPr>
        <p:spPr>
          <a:xfrm>
            <a:off x="7162800" y="1828800"/>
            <a:ext cx="4267200" cy="2769989"/>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D4647"/>
                </a:solidFill>
                <a:effectLst/>
                <a:uLnTx/>
                <a:uFillTx/>
                <a:latin typeface="Century Gothic" panose="020F0302020204030204"/>
                <a:ea typeface="+mn-ea"/>
                <a:cs typeface="+mn-cs"/>
              </a:rPr>
              <a:t>PTC earns </a:t>
            </a:r>
            <a:r>
              <a:rPr kumimoji="0" lang="en-US" sz="3600" b="1" i="0" u="none" strike="noStrike" kern="1200" cap="none" spc="0" normalizeH="0" baseline="0" noProof="0" dirty="0">
                <a:ln>
                  <a:noFill/>
                </a:ln>
                <a:solidFill>
                  <a:srgbClr val="3D4647"/>
                </a:solidFill>
                <a:effectLst/>
                <a:uLnTx/>
                <a:uFillTx/>
                <a:latin typeface="Century Gothic" panose="020F0302020204030204"/>
                <a:ea typeface="+mn-ea"/>
                <a:cs typeface="+mn-cs"/>
              </a:rPr>
              <a:t>top position</a:t>
            </a:r>
            <a:r>
              <a:rPr kumimoji="0" lang="en-US" sz="3600" b="0" i="0" u="none" strike="noStrike" kern="1200" cap="none" spc="0" normalizeH="0" baseline="0" noProof="0" dirty="0">
                <a:ln>
                  <a:noFill/>
                </a:ln>
                <a:solidFill>
                  <a:srgbClr val="3D4647"/>
                </a:solidFill>
                <a:effectLst/>
                <a:uLnTx/>
                <a:uFillTx/>
                <a:latin typeface="Century Gothic" panose="020F0302020204030204"/>
                <a:ea typeface="+mn-ea"/>
                <a:cs typeface="+mn-cs"/>
              </a:rPr>
              <a:t> in the first Gartner Magic Quadrant for </a:t>
            </a:r>
            <a:r>
              <a:rPr kumimoji="0" lang="en-US" sz="3600" b="0" i="0" u="none" strike="noStrike" kern="1200" cap="none" spc="0" normalizeH="0" baseline="0" noProof="0" dirty="0" err="1">
                <a:ln>
                  <a:noFill/>
                </a:ln>
                <a:solidFill>
                  <a:srgbClr val="3D4647"/>
                </a:solidFill>
                <a:effectLst/>
                <a:uLnTx/>
                <a:uFillTx/>
                <a:latin typeface="Century Gothic" panose="020F0302020204030204"/>
                <a:ea typeface="+mn-ea"/>
                <a:cs typeface="+mn-cs"/>
              </a:rPr>
              <a:t>IIoT</a:t>
            </a:r>
            <a:r>
              <a:rPr kumimoji="0" lang="en-US" sz="3600" b="0" i="0" u="none" strike="noStrike" kern="1200" cap="none" spc="0" normalizeH="0" baseline="0" noProof="0" dirty="0">
                <a:ln>
                  <a:noFill/>
                </a:ln>
                <a:solidFill>
                  <a:srgbClr val="3D4647"/>
                </a:solidFill>
                <a:effectLst/>
                <a:uLnTx/>
                <a:uFillTx/>
                <a:latin typeface="Century Gothic" panose="020F0302020204030204"/>
                <a:ea typeface="+mn-ea"/>
                <a:cs typeface="+mn-cs"/>
              </a:rPr>
              <a:t> Platforms.</a:t>
            </a:r>
          </a:p>
        </p:txBody>
      </p:sp>
      <p:pic>
        <p:nvPicPr>
          <p:cNvPr id="9" name="Picture 8">
            <a:extLst>
              <a:ext uri="{FF2B5EF4-FFF2-40B4-BE49-F238E27FC236}">
                <a16:creationId xmlns:a16="http://schemas.microsoft.com/office/drawing/2014/main" id="{880673CE-D81A-41BC-941B-1BF9909DCF0D}"/>
              </a:ext>
            </a:extLst>
          </p:cNvPr>
          <p:cNvPicPr>
            <a:picLocks noChangeAspect="1"/>
          </p:cNvPicPr>
          <p:nvPr/>
        </p:nvPicPr>
        <p:blipFill rotWithShape="1">
          <a:blip r:embed="rId3"/>
          <a:srcRect b="-9534"/>
          <a:stretch/>
        </p:blipFill>
        <p:spPr>
          <a:xfrm>
            <a:off x="8564632" y="5943600"/>
            <a:ext cx="2865368" cy="259102"/>
          </a:xfrm>
          <a:prstGeom prst="rect">
            <a:avLst/>
          </a:prstGeom>
        </p:spPr>
      </p:pic>
    </p:spTree>
    <p:extLst>
      <p:ext uri="{BB962C8B-B14F-4D97-AF65-F5344CB8AC3E}">
        <p14:creationId xmlns:p14="http://schemas.microsoft.com/office/powerpoint/2010/main" val="1280385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CCDBD6F-BAE2-42CF-8264-0898C1358B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 y="762000"/>
            <a:ext cx="6858000" cy="5208939"/>
          </a:xfrm>
          <a:prstGeom prst="rect">
            <a:avLst/>
          </a:prstGeom>
        </p:spPr>
      </p:pic>
      <p:sp>
        <p:nvSpPr>
          <p:cNvPr id="6" name="TextBox 5">
            <a:extLst>
              <a:ext uri="{FF2B5EF4-FFF2-40B4-BE49-F238E27FC236}">
                <a16:creationId xmlns:a16="http://schemas.microsoft.com/office/drawing/2014/main" id="{C83A921D-0028-4972-BBDB-BD80F1AE2198}"/>
              </a:ext>
            </a:extLst>
          </p:cNvPr>
          <p:cNvSpPr txBox="1"/>
          <p:nvPr/>
        </p:nvSpPr>
        <p:spPr>
          <a:xfrm>
            <a:off x="419100" y="5970939"/>
            <a:ext cx="6324600" cy="215444"/>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rPr>
              <a:t>Source: </a:t>
            </a:r>
            <a:r>
              <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hlinkClick r:id="rId3"/>
              </a:rPr>
              <a:t>2018 ABI Research Smart Manufacturing Platforms Assessment</a:t>
            </a:r>
            <a:endPar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sp>
        <p:nvSpPr>
          <p:cNvPr id="7" name="TextBox 6">
            <a:extLst>
              <a:ext uri="{FF2B5EF4-FFF2-40B4-BE49-F238E27FC236}">
                <a16:creationId xmlns:a16="http://schemas.microsoft.com/office/drawing/2014/main" id="{B5BA67D8-9447-47E2-99D7-83792507366A}"/>
              </a:ext>
            </a:extLst>
          </p:cNvPr>
          <p:cNvSpPr txBox="1"/>
          <p:nvPr/>
        </p:nvSpPr>
        <p:spPr>
          <a:xfrm>
            <a:off x="7467600" y="1889141"/>
            <a:ext cx="4267200" cy="1969770"/>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err="1">
                <a:ln>
                  <a:noFill/>
                </a:ln>
                <a:solidFill>
                  <a:srgbClr val="3D4647"/>
                </a:solidFill>
                <a:effectLst/>
                <a:uLnTx/>
                <a:uFillTx/>
                <a:latin typeface="Century Gothic" panose="020F0302020204030204"/>
                <a:ea typeface="+mn-ea"/>
                <a:cs typeface="+mn-cs"/>
              </a:rPr>
              <a:t>ThingWorx</a:t>
            </a:r>
            <a:r>
              <a:rPr kumimoji="0" lang="en-US" sz="3200" b="0" i="0" u="none" strike="noStrike" kern="1200" cap="none" spc="0" normalizeH="0" baseline="0" noProof="0" dirty="0">
                <a:ln>
                  <a:noFill/>
                </a:ln>
                <a:solidFill>
                  <a:srgbClr val="3D4647"/>
                </a:solidFill>
                <a:effectLst/>
                <a:uLnTx/>
                <a:uFillTx/>
                <a:latin typeface="Century Gothic" panose="020F0302020204030204"/>
                <a:ea typeface="+mn-ea"/>
                <a:cs typeface="+mn-cs"/>
              </a:rPr>
              <a:t> is ranked as the </a:t>
            </a:r>
            <a:r>
              <a:rPr kumimoji="0" lang="en-US" sz="3200" b="1" i="0" u="none" strike="noStrike" kern="1200" cap="none" spc="0" normalizeH="0" baseline="0" noProof="0" dirty="0">
                <a:ln>
                  <a:noFill/>
                </a:ln>
                <a:solidFill>
                  <a:srgbClr val="3D4647"/>
                </a:solidFill>
                <a:effectLst/>
                <a:uLnTx/>
                <a:uFillTx/>
                <a:latin typeface="Century Gothic" panose="020F0302020204030204"/>
                <a:ea typeface="+mn-ea"/>
                <a:cs typeface="+mn-cs"/>
              </a:rPr>
              <a:t>top smart manufacturing platform</a:t>
            </a:r>
            <a:endParaRPr kumimoji="0" lang="en-US" sz="32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053615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5" name="Rectangle 3"/>
          <p:cNvSpPr>
            <a:spLocks noGrp="1" noChangeArrowheads="1"/>
          </p:cNvSpPr>
          <p:nvPr>
            <p:ph type="title"/>
          </p:nvPr>
        </p:nvSpPr>
        <p:spPr/>
        <p:txBody>
          <a:bodyPr/>
          <a:lstStyle/>
          <a:p>
            <a:r>
              <a:rPr lang="en-US" dirty="0"/>
              <a:t>Breadth of Platform Customers</a:t>
            </a:r>
          </a:p>
        </p:txBody>
      </p:sp>
      <p:sp>
        <p:nvSpPr>
          <p:cNvPr id="61" name="Rectangle 60"/>
          <p:cNvSpPr/>
          <p:nvPr/>
        </p:nvSpPr>
        <p:spPr>
          <a:xfrm>
            <a:off x="-288964" y="985344"/>
            <a:ext cx="2271835" cy="541098"/>
          </a:xfrm>
          <a:prstGeom prst="rect">
            <a:avLst/>
          </a:prstGeom>
          <a:noFill/>
          <a:ln w="19050" cap="flat" cmpd="sng" algn="ctr">
            <a:noFill/>
            <a:prstDash val="solid"/>
          </a:ln>
          <a:effectLst/>
        </p:spPr>
        <p:txBody>
          <a:bodyPr rtlCol="0" anchor="ctr"/>
          <a:lstStyle/>
          <a:p>
            <a:pPr marL="0" marR="0" lvl="0" indent="0" algn="ctr" defTabSz="1084058" eaLnBrk="1" fontAlgn="auto" latinLnBrk="0" hangingPunct="1">
              <a:lnSpc>
                <a:spcPct val="90000"/>
              </a:lnSpc>
              <a:spcBef>
                <a:spcPts val="0"/>
              </a:spcBef>
              <a:spcAft>
                <a:spcPts val="0"/>
              </a:spcAft>
              <a:buClrTx/>
              <a:buSzTx/>
              <a:buFontTx/>
              <a:buNone/>
              <a:tabLst/>
              <a:defRPr/>
            </a:pPr>
            <a:r>
              <a:rPr kumimoji="0" lang="en-US" sz="1596" b="0" i="0" u="none" strike="noStrike" kern="0" cap="none" spc="0" normalizeH="0" baseline="0" noProof="0" dirty="0">
                <a:ln>
                  <a:noFill/>
                </a:ln>
                <a:solidFill>
                  <a:srgbClr val="3D4647"/>
                </a:solidFill>
                <a:effectLst/>
                <a:uLnTx/>
                <a:uFillTx/>
                <a:latin typeface="Century Gothic" panose="020F0302020204030204"/>
              </a:rPr>
              <a:t>Electronics</a:t>
            </a:r>
            <a:br>
              <a:rPr kumimoji="0" lang="en-US" sz="1596" b="0" i="0" u="none" strike="noStrike" kern="0" cap="none" spc="0" normalizeH="0" baseline="0" noProof="0" dirty="0">
                <a:ln>
                  <a:noFill/>
                </a:ln>
                <a:solidFill>
                  <a:srgbClr val="3D4647"/>
                </a:solidFill>
                <a:effectLst/>
                <a:uLnTx/>
                <a:uFillTx/>
                <a:latin typeface="Century Gothic" panose="020F0302020204030204"/>
              </a:rPr>
            </a:br>
            <a:r>
              <a:rPr kumimoji="0" lang="en-US" sz="1596" b="0" i="0" u="none" strike="noStrike" kern="0" cap="none" spc="0" normalizeH="0" baseline="0" noProof="0" dirty="0">
                <a:ln>
                  <a:noFill/>
                </a:ln>
                <a:solidFill>
                  <a:srgbClr val="3D4647"/>
                </a:solidFill>
                <a:effectLst/>
                <a:uLnTx/>
                <a:uFillTx/>
                <a:latin typeface="Century Gothic" panose="020F0302020204030204"/>
              </a:rPr>
              <a:t>&amp; High Tech</a:t>
            </a:r>
          </a:p>
        </p:txBody>
      </p:sp>
      <p:sp>
        <p:nvSpPr>
          <p:cNvPr id="62" name="Rectangle 61"/>
          <p:cNvSpPr/>
          <p:nvPr/>
        </p:nvSpPr>
        <p:spPr>
          <a:xfrm>
            <a:off x="6332546" y="985344"/>
            <a:ext cx="2271835" cy="541098"/>
          </a:xfrm>
          <a:prstGeom prst="rect">
            <a:avLst/>
          </a:prstGeom>
          <a:noFill/>
          <a:ln w="19050" cap="flat" cmpd="sng" algn="ctr">
            <a:noFill/>
            <a:prstDash val="solid"/>
          </a:ln>
          <a:effectLst/>
        </p:spPr>
        <p:txBody>
          <a:bodyPr rtlCol="0" anchor="ctr"/>
          <a:lstStyle/>
          <a:p>
            <a:pPr marL="0" marR="0" lvl="0" indent="0" algn="ctr" defTabSz="1084058" eaLnBrk="1" fontAlgn="auto" latinLnBrk="0" hangingPunct="1">
              <a:lnSpc>
                <a:spcPct val="90000"/>
              </a:lnSpc>
              <a:spcBef>
                <a:spcPts val="0"/>
              </a:spcBef>
              <a:spcAft>
                <a:spcPts val="0"/>
              </a:spcAft>
              <a:buClrTx/>
              <a:buSzTx/>
              <a:buFontTx/>
              <a:buNone/>
              <a:tabLst/>
              <a:defRPr/>
            </a:pPr>
            <a:r>
              <a:rPr kumimoji="0" lang="en-US" sz="1596" b="0" i="0" u="none" strike="noStrike" kern="0" cap="none" spc="0" normalizeH="0" baseline="0" noProof="0" dirty="0">
                <a:ln>
                  <a:noFill/>
                </a:ln>
                <a:solidFill>
                  <a:srgbClr val="3D4647"/>
                </a:solidFill>
                <a:effectLst/>
                <a:uLnTx/>
                <a:uFillTx/>
                <a:latin typeface="Century Gothic" panose="020F0302020204030204"/>
              </a:rPr>
              <a:t>Commercial</a:t>
            </a:r>
            <a:br>
              <a:rPr kumimoji="0" lang="en-US" sz="1596" b="0" i="0" u="none" strike="noStrike" kern="0" cap="none" spc="0" normalizeH="0" baseline="0" noProof="0" dirty="0">
                <a:ln>
                  <a:noFill/>
                </a:ln>
                <a:solidFill>
                  <a:srgbClr val="3D4647"/>
                </a:solidFill>
                <a:effectLst/>
                <a:uLnTx/>
                <a:uFillTx/>
                <a:latin typeface="Century Gothic" panose="020F0302020204030204"/>
              </a:rPr>
            </a:br>
            <a:r>
              <a:rPr kumimoji="0" lang="en-US" sz="1596" b="0" i="0" u="none" strike="noStrike" kern="0" cap="none" spc="0" normalizeH="0" baseline="0" noProof="0" dirty="0">
                <a:ln>
                  <a:noFill/>
                </a:ln>
                <a:solidFill>
                  <a:srgbClr val="3D4647"/>
                </a:solidFill>
                <a:effectLst/>
                <a:uLnTx/>
                <a:uFillTx/>
                <a:latin typeface="Century Gothic" panose="020F0302020204030204"/>
              </a:rPr>
              <a:t>Equipment</a:t>
            </a:r>
          </a:p>
        </p:txBody>
      </p:sp>
      <p:pic>
        <p:nvPicPr>
          <p:cNvPr id="64" name="Picture 2" descr="egenera_logo2">
            <a:hlinkClick r:id="" action="ppaction://noaction"/>
          </p:cNvPr>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433642" y="1585723"/>
            <a:ext cx="826625" cy="8551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65" name="Picture 12" descr="attr_102628_132">
            <a:hlinkClick r:id="" action="ppaction://noaction"/>
          </p:cNvPr>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421289" y="3810121"/>
            <a:ext cx="851329" cy="334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14" descr="quantumLogo">
            <a:hlinkClick r:id="" action="ppaction://noaction"/>
          </p:cNvPr>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148599" y="6338435"/>
            <a:ext cx="1396711" cy="2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29" descr="isilon_logo_222"/>
          <p:cNvPicPr>
            <a:picLocks noChangeAspect="1" noChangeArrowheads="1"/>
          </p:cNvPicPr>
          <p:nvPr/>
        </p:nvPicPr>
        <p:blipFill>
          <a:blip r:embed="rId6">
            <a:extLst>
              <a:ext uri="{28A0092B-C50C-407E-A947-70E740481C1C}">
                <a14:useLocalDpi xmlns:a14="http://schemas.microsoft.com/office/drawing/2010/main"/>
              </a:ext>
            </a:extLst>
          </a:blip>
          <a:stretch>
            <a:fillRect/>
          </a:stretch>
        </p:blipFill>
        <p:spPr bwMode="auto">
          <a:xfrm>
            <a:off x="162850" y="2658693"/>
            <a:ext cx="1368207" cy="875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7" descr="KodakVersamark2">
            <a:hlinkClick r:id="" action="ppaction://noaction"/>
          </p:cNvPr>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auto">
          <a:xfrm>
            <a:off x="6927024" y="4150172"/>
            <a:ext cx="1082879" cy="312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2" name="Group 8"/>
          <p:cNvGrpSpPr>
            <a:grpSpLocks noChangeAspect="1"/>
          </p:cNvGrpSpPr>
          <p:nvPr/>
        </p:nvGrpSpPr>
        <p:grpSpPr bwMode="auto">
          <a:xfrm>
            <a:off x="6691185" y="1730549"/>
            <a:ext cx="1554555" cy="254307"/>
            <a:chOff x="1130" y="3038"/>
            <a:chExt cx="1036" cy="225"/>
          </a:xfrm>
        </p:grpSpPr>
        <p:pic>
          <p:nvPicPr>
            <p:cNvPr id="73" name="Picture 9" descr="FUJIFILM Medical Systems &#10;    U.S.A., Inc."/>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130" y="3038"/>
              <a:ext cx="1036"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 name="Rectangle 10"/>
            <p:cNvSpPr>
              <a:spLocks noChangeAspect="1" noChangeArrowheads="1"/>
            </p:cNvSpPr>
            <p:nvPr/>
          </p:nvSpPr>
          <p:spPr bwMode="auto">
            <a:xfrm>
              <a:off x="1165" y="3187"/>
              <a:ext cx="947" cy="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tIns="0" bIns="0"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marR="0" lvl="0" indent="0" defTabSz="1084058" eaLnBrk="1" fontAlgn="auto" latinLnBrk="0" hangingPunct="1">
                <a:lnSpc>
                  <a:spcPct val="100000"/>
                </a:lnSpc>
                <a:spcBef>
                  <a:spcPts val="0"/>
                </a:spcBef>
                <a:spcAft>
                  <a:spcPts val="0"/>
                </a:spcAft>
                <a:buClrTx/>
                <a:buSzTx/>
                <a:buFontTx/>
                <a:buNone/>
                <a:tabLst/>
                <a:defRPr/>
              </a:pPr>
              <a:endParaRPr kumimoji="0" lang="en-US" altLang="en-US" sz="2195" b="0" i="0" u="none" strike="noStrike" kern="0" cap="none" spc="0" normalizeH="0" baseline="0" noProof="0" dirty="0">
                <a:ln>
                  <a:noFill/>
                </a:ln>
                <a:solidFill>
                  <a:srgbClr val="3D4647"/>
                </a:solidFill>
                <a:effectLst/>
                <a:uLnTx/>
                <a:uFillTx/>
                <a:latin typeface="Franklin Gothic Book" panose="020B0503020102020204" pitchFamily="34" charset="0"/>
                <a:ea typeface="ＭＳ Ｐゴシック" pitchFamily="34" charset="-128"/>
              </a:endParaRPr>
            </a:p>
          </p:txBody>
        </p:sp>
      </p:grpSp>
      <p:pic>
        <p:nvPicPr>
          <p:cNvPr id="75" name="Picture 16" descr="Diebold_logo">
            <a:hlinkClick r:id="" action="ppaction://noaction"/>
          </p:cNvPr>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4879325" y="3161900"/>
            <a:ext cx="1976790" cy="705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32" descr="Sealed-Air-Logo"/>
          <p:cNvPicPr>
            <a:picLocks noChangeAspect="1" noChangeArrowheads="1"/>
          </p:cNvPicPr>
          <p:nvPr/>
        </p:nvPicPr>
        <p:blipFill>
          <a:blip r:embed="rId10">
            <a:extLst>
              <a:ext uri="{28A0092B-C50C-407E-A947-70E740481C1C}">
                <a14:useLocalDpi xmlns:a14="http://schemas.microsoft.com/office/drawing/2010/main"/>
              </a:ext>
            </a:extLst>
          </a:blip>
          <a:stretch>
            <a:fillRect/>
          </a:stretch>
        </p:blipFill>
        <p:spPr bwMode="auto">
          <a:xfrm>
            <a:off x="5062874" y="5103024"/>
            <a:ext cx="1572647" cy="755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33" descr="NCR-logo_Pantone"/>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6841111" y="6230793"/>
            <a:ext cx="1254705" cy="461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58" descr="IngersollRand_logo80"/>
          <p:cNvPicPr>
            <a:picLocks noChangeAspect="1" noChangeArrowheads="1"/>
          </p:cNvPicPr>
          <p:nvPr/>
        </p:nvPicPr>
        <p:blipFill>
          <a:blip r:embed="rId12">
            <a:extLst>
              <a:ext uri="{28A0092B-C50C-407E-A947-70E740481C1C}">
                <a14:useLocalDpi xmlns:a14="http://schemas.microsoft.com/office/drawing/2010/main"/>
              </a:ext>
            </a:extLst>
          </a:blip>
          <a:stretch>
            <a:fillRect/>
          </a:stretch>
        </p:blipFill>
        <p:spPr bwMode="auto">
          <a:xfrm>
            <a:off x="3490860" y="1680737"/>
            <a:ext cx="1388957" cy="328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50" descr="brand2">
            <a:hlinkClick r:id="rId13"/>
          </p:cNvPr>
          <p:cNvPicPr>
            <a:picLocks noChangeAspect="1" noChangeArrowheads="1"/>
          </p:cNvPicPr>
          <p:nvPr/>
        </p:nvPicPr>
        <p:blipFill>
          <a:blip r:embed="rId14">
            <a:extLst>
              <a:ext uri="{28A0092B-C50C-407E-A947-70E740481C1C}">
                <a14:useLocalDpi xmlns:a14="http://schemas.microsoft.com/office/drawing/2010/main"/>
              </a:ext>
            </a:extLst>
          </a:blip>
          <a:stretch>
            <a:fillRect/>
          </a:stretch>
        </p:blipFill>
        <p:spPr bwMode="auto">
          <a:xfrm>
            <a:off x="3511610" y="6184201"/>
            <a:ext cx="2026977" cy="273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28" descr="MT_Logo"/>
          <p:cNvPicPr>
            <a:picLocks noChangeAspect="1" noChangeArrowheads="1"/>
          </p:cNvPicPr>
          <p:nvPr/>
        </p:nvPicPr>
        <p:blipFill>
          <a:blip r:embed="rId15" cstate="screen">
            <a:extLst>
              <a:ext uri="{28A0092B-C50C-407E-A947-70E740481C1C}">
                <a14:useLocalDpi xmlns:a14="http://schemas.microsoft.com/office/drawing/2010/main"/>
              </a:ext>
            </a:extLst>
          </a:blip>
          <a:stretch>
            <a:fillRect/>
          </a:stretch>
        </p:blipFill>
        <p:spPr bwMode="auto">
          <a:xfrm>
            <a:off x="6955958" y="2155057"/>
            <a:ext cx="1025006" cy="592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8" descr="ecoATM-logo.jpg"/>
          <p:cNvPicPr>
            <a:picLocks noChangeAspect="1"/>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7057161" y="3407644"/>
            <a:ext cx="822600" cy="432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Rectangle 82"/>
          <p:cNvSpPr/>
          <p:nvPr/>
        </p:nvSpPr>
        <p:spPr>
          <a:xfrm>
            <a:off x="10133120" y="985344"/>
            <a:ext cx="2271835" cy="541098"/>
          </a:xfrm>
          <a:prstGeom prst="rect">
            <a:avLst/>
          </a:prstGeom>
          <a:noFill/>
          <a:ln w="19050" cap="flat" cmpd="sng" algn="ctr">
            <a:noFill/>
            <a:prstDash val="solid"/>
          </a:ln>
          <a:effectLst/>
        </p:spPr>
        <p:txBody>
          <a:bodyPr rtlCol="0" anchor="ctr"/>
          <a:lstStyle/>
          <a:p>
            <a:pPr marL="0" marR="0" lvl="0" indent="0" algn="ctr" defTabSz="1084058" eaLnBrk="1" fontAlgn="auto" latinLnBrk="0" hangingPunct="1">
              <a:lnSpc>
                <a:spcPct val="90000"/>
              </a:lnSpc>
              <a:spcBef>
                <a:spcPts val="0"/>
              </a:spcBef>
              <a:spcAft>
                <a:spcPts val="0"/>
              </a:spcAft>
              <a:buClrTx/>
              <a:buSzTx/>
              <a:buFontTx/>
              <a:buNone/>
              <a:tabLst/>
              <a:defRPr/>
            </a:pPr>
            <a:r>
              <a:rPr kumimoji="0" lang="en-US" sz="1596" b="0" i="0" u="none" strike="noStrike" kern="0" cap="none" spc="0" normalizeH="0" baseline="0" noProof="0" dirty="0">
                <a:ln>
                  <a:noFill/>
                </a:ln>
                <a:solidFill>
                  <a:srgbClr val="3D4647"/>
                </a:solidFill>
                <a:effectLst/>
                <a:uLnTx/>
                <a:uFillTx/>
                <a:latin typeface="Century Gothic" panose="020F0302020204030204"/>
              </a:rPr>
              <a:t>Medical</a:t>
            </a:r>
            <a:br>
              <a:rPr kumimoji="0" lang="en-US" sz="1596" b="0" i="0" u="none" strike="noStrike" kern="0" cap="none" spc="0" normalizeH="0" baseline="0" noProof="0" dirty="0">
                <a:ln>
                  <a:noFill/>
                </a:ln>
                <a:solidFill>
                  <a:srgbClr val="3D4647"/>
                </a:solidFill>
                <a:effectLst/>
                <a:uLnTx/>
                <a:uFillTx/>
                <a:latin typeface="Century Gothic" panose="020F0302020204030204"/>
              </a:rPr>
            </a:br>
            <a:r>
              <a:rPr kumimoji="0" lang="en-US" sz="1596" b="0" i="0" u="none" strike="noStrike" kern="0" cap="none" spc="0" normalizeH="0" baseline="0" noProof="0" dirty="0">
                <a:ln>
                  <a:noFill/>
                </a:ln>
                <a:solidFill>
                  <a:srgbClr val="3D4647"/>
                </a:solidFill>
                <a:effectLst/>
                <a:uLnTx/>
                <a:uFillTx/>
                <a:latin typeface="Century Gothic" panose="020F0302020204030204"/>
              </a:rPr>
              <a:t>Devices</a:t>
            </a:r>
          </a:p>
        </p:txBody>
      </p:sp>
      <p:pic>
        <p:nvPicPr>
          <p:cNvPr id="84" name="Picture 5" descr=" "/>
          <p:cNvPicPr>
            <a:picLocks noChangeAspect="1" noChangeArrowheads="1"/>
          </p:cNvPicPr>
          <p:nvPr/>
        </p:nvPicPr>
        <p:blipFill>
          <a:blip r:embed="rId17" cstate="print"/>
          <a:stretch>
            <a:fillRect/>
          </a:stretch>
        </p:blipFill>
        <p:spPr bwMode="auto">
          <a:xfrm>
            <a:off x="10816750" y="1655525"/>
            <a:ext cx="1045185" cy="306090"/>
          </a:xfrm>
          <a:prstGeom prst="rect">
            <a:avLst/>
          </a:prstGeom>
          <a:noFill/>
          <a:ln w="9525">
            <a:noFill/>
            <a:miter lim="800000"/>
            <a:headEnd/>
            <a:tailEnd/>
          </a:ln>
        </p:spPr>
      </p:pic>
      <p:pic>
        <p:nvPicPr>
          <p:cNvPr id="85" name="Picture 41"/>
          <p:cNvPicPr>
            <a:picLocks noChangeAspect="1" noChangeArrowheads="1"/>
          </p:cNvPicPr>
          <p:nvPr/>
        </p:nvPicPr>
        <p:blipFill rotWithShape="1">
          <a:blip r:embed="rId18" cstate="screen">
            <a:extLst>
              <a:ext uri="{28A0092B-C50C-407E-A947-70E740481C1C}">
                <a14:useLocalDpi xmlns:a14="http://schemas.microsoft.com/office/drawing/2010/main"/>
              </a:ext>
            </a:extLst>
          </a:blip>
          <a:stretch/>
        </p:blipFill>
        <p:spPr bwMode="auto">
          <a:xfrm>
            <a:off x="10655180" y="4535236"/>
            <a:ext cx="1368325" cy="346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6" name="Picture 43"/>
          <p:cNvPicPr>
            <a:picLocks noChangeAspect="1" noChangeArrowheads="1"/>
          </p:cNvPicPr>
          <p:nvPr/>
        </p:nvPicPr>
        <p:blipFill>
          <a:blip r:embed="rId19" cstate="screen">
            <a:extLst>
              <a:ext uri="{28A0092B-C50C-407E-A947-70E740481C1C}">
                <a14:useLocalDpi xmlns:a14="http://schemas.microsoft.com/office/drawing/2010/main"/>
              </a:ext>
            </a:extLst>
          </a:blip>
          <a:stretch>
            <a:fillRect/>
          </a:stretch>
        </p:blipFill>
        <p:spPr bwMode="auto">
          <a:xfrm>
            <a:off x="8793948" y="1693371"/>
            <a:ext cx="1198863" cy="370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 name="Picture 86"/>
          <p:cNvPicPr>
            <a:picLocks noChangeAspect="1"/>
          </p:cNvPicPr>
          <p:nvPr/>
        </p:nvPicPr>
        <p:blipFill rotWithShape="1">
          <a:blip r:embed="rId20" cstate="screen">
            <a:extLst>
              <a:ext uri="{28A0092B-C50C-407E-A947-70E740481C1C}">
                <a14:useLocalDpi xmlns:a14="http://schemas.microsoft.com/office/drawing/2010/main"/>
              </a:ext>
            </a:extLst>
          </a:blip>
          <a:stretch/>
        </p:blipFill>
        <p:spPr>
          <a:xfrm>
            <a:off x="10871111" y="6346078"/>
            <a:ext cx="936461" cy="194589"/>
          </a:xfrm>
          <a:prstGeom prst="rect">
            <a:avLst/>
          </a:prstGeom>
        </p:spPr>
      </p:pic>
      <p:pic>
        <p:nvPicPr>
          <p:cNvPr id="88" name="Picture 36" descr="logo_welchAllyn"/>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10643553" y="3461972"/>
            <a:ext cx="1391577" cy="596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90"/>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0577776" y="2438489"/>
            <a:ext cx="1523133" cy="546608"/>
          </a:xfrm>
          <a:prstGeom prst="rect">
            <a:avLst/>
          </a:prstGeom>
        </p:spPr>
      </p:pic>
      <p:pic>
        <p:nvPicPr>
          <p:cNvPr id="96" name="Picture 95"/>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0648298" y="5358752"/>
            <a:ext cx="1382089" cy="510450"/>
          </a:xfrm>
          <a:prstGeom prst="rect">
            <a:avLst/>
          </a:prstGeom>
        </p:spPr>
      </p:pic>
      <p:sp>
        <p:nvSpPr>
          <p:cNvPr id="118" name="Rectangle 117"/>
          <p:cNvSpPr/>
          <p:nvPr/>
        </p:nvSpPr>
        <p:spPr>
          <a:xfrm>
            <a:off x="8384856" y="985344"/>
            <a:ext cx="2271835" cy="541098"/>
          </a:xfrm>
          <a:prstGeom prst="rect">
            <a:avLst/>
          </a:prstGeom>
          <a:noFill/>
          <a:ln w="19050" cap="flat" cmpd="sng" algn="ctr">
            <a:noFill/>
            <a:prstDash val="solid"/>
          </a:ln>
          <a:effectLst/>
        </p:spPr>
        <p:txBody>
          <a:bodyPr rtlCol="0" anchor="ctr"/>
          <a:lstStyle/>
          <a:p>
            <a:pPr marL="0" marR="0" lvl="0" indent="0" algn="ctr" defTabSz="1084058" eaLnBrk="1" fontAlgn="auto" latinLnBrk="0" hangingPunct="1">
              <a:lnSpc>
                <a:spcPct val="90000"/>
              </a:lnSpc>
              <a:spcBef>
                <a:spcPts val="0"/>
              </a:spcBef>
              <a:spcAft>
                <a:spcPts val="0"/>
              </a:spcAft>
              <a:buClrTx/>
              <a:buSzTx/>
              <a:buFontTx/>
              <a:buNone/>
              <a:tabLst/>
              <a:defRPr/>
            </a:pPr>
            <a:r>
              <a:rPr kumimoji="0" lang="en-US" sz="1596" b="0" i="0" u="none" strike="noStrike" kern="0" cap="none" spc="0" normalizeH="0" baseline="0" noProof="0" dirty="0">
                <a:ln>
                  <a:noFill/>
                </a:ln>
                <a:solidFill>
                  <a:srgbClr val="3D4647"/>
                </a:solidFill>
                <a:effectLst/>
                <a:uLnTx/>
                <a:uFillTx/>
                <a:latin typeface="Century Gothic" panose="020F0302020204030204"/>
              </a:rPr>
              <a:t>Life Sciences</a:t>
            </a:r>
          </a:p>
        </p:txBody>
      </p:sp>
      <p:pic>
        <p:nvPicPr>
          <p:cNvPr id="127" name="Picture 15" descr="ab_logo"/>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8642766" y="2819628"/>
            <a:ext cx="1501227" cy="44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 name="Picture 16" descr="agilentlogo5"/>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8358103" y="6030917"/>
            <a:ext cx="2070553" cy="364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 name="Picture 19" descr="Leica"/>
          <p:cNvPicPr>
            <a:picLocks noChangeAspect="1" noChangeArrowheads="1"/>
          </p:cNvPicPr>
          <p:nvPr/>
        </p:nvPicPr>
        <p:blipFill>
          <a:blip r:embed="rId26" cstate="screen">
            <a:extLst>
              <a:ext uri="{28A0092B-C50C-407E-A947-70E740481C1C}">
                <a14:useLocalDpi xmlns:a14="http://schemas.microsoft.com/office/drawing/2010/main"/>
              </a:ext>
            </a:extLst>
          </a:blip>
          <a:stretch>
            <a:fillRect/>
          </a:stretch>
        </p:blipFill>
        <p:spPr bwMode="auto">
          <a:xfrm>
            <a:off x="9055887" y="3829378"/>
            <a:ext cx="674982" cy="44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 name="Picture 20" descr="Ventana_logo"/>
          <p:cNvPicPr>
            <a:picLocks noChangeAspect="1" noChangeArrowheads="1"/>
          </p:cNvPicPr>
          <p:nvPr/>
        </p:nvPicPr>
        <p:blipFill>
          <a:blip r:embed="rId27">
            <a:extLst>
              <a:ext uri="{28A0092B-C50C-407E-A947-70E740481C1C}">
                <a14:useLocalDpi xmlns:a14="http://schemas.microsoft.com/office/drawing/2010/main"/>
              </a:ext>
            </a:extLst>
          </a:blip>
          <a:stretch>
            <a:fillRect/>
          </a:stretch>
        </p:blipFill>
        <p:spPr bwMode="auto">
          <a:xfrm>
            <a:off x="8605114" y="4326842"/>
            <a:ext cx="1576533" cy="394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 name="Picture 38" descr="waters_logo"/>
          <p:cNvPicPr>
            <a:picLocks noChangeAspect="1" noChangeArrowheads="1"/>
          </p:cNvPicPr>
          <p:nvPr/>
        </p:nvPicPr>
        <p:blipFill>
          <a:blip r:embed="rId28" cstate="screen">
            <a:extLst>
              <a:ext uri="{28A0092B-C50C-407E-A947-70E740481C1C}">
                <a14:useLocalDpi xmlns:a14="http://schemas.microsoft.com/office/drawing/2010/main"/>
              </a:ext>
            </a:extLst>
          </a:blip>
          <a:stretch>
            <a:fillRect/>
          </a:stretch>
        </p:blipFill>
        <p:spPr bwMode="auto">
          <a:xfrm>
            <a:off x="8733619" y="5004451"/>
            <a:ext cx="1319521" cy="299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9" name="Picture 47" descr="logo"/>
          <p:cNvPicPr>
            <a:picLocks noChangeAspect="1" noChangeArrowheads="1"/>
          </p:cNvPicPr>
          <p:nvPr/>
        </p:nvPicPr>
        <p:blipFill>
          <a:blip r:embed="rId29" cstate="screen">
            <a:extLst>
              <a:ext uri="{28A0092B-C50C-407E-A947-70E740481C1C}">
                <a14:useLocalDpi xmlns:a14="http://schemas.microsoft.com/office/drawing/2010/main"/>
              </a:ext>
            </a:extLst>
          </a:blip>
          <a:stretch>
            <a:fillRect/>
          </a:stretch>
        </p:blipFill>
        <p:spPr bwMode="auto">
          <a:xfrm>
            <a:off x="8543434" y="3319752"/>
            <a:ext cx="1699893" cy="456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 name="Picture 7"/>
          <p:cNvPicPr>
            <a:picLocks noChangeAspect="1" noChangeArrowheads="1"/>
          </p:cNvPicPr>
          <p:nvPr/>
        </p:nvPicPr>
        <p:blipFill>
          <a:blip r:embed="rId30" cstate="screen">
            <a:extLst>
              <a:ext uri="{28A0092B-C50C-407E-A947-70E740481C1C}">
                <a14:useLocalDpi xmlns:a14="http://schemas.microsoft.com/office/drawing/2010/main"/>
              </a:ext>
            </a:extLst>
          </a:blip>
          <a:stretch>
            <a:fillRect/>
          </a:stretch>
        </p:blipFill>
        <p:spPr bwMode="auto">
          <a:xfrm>
            <a:off x="8652963" y="2117877"/>
            <a:ext cx="1480832" cy="6481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5" name="Picture 144"/>
          <p:cNvPicPr/>
          <p:nvPr/>
        </p:nvPicPr>
        <p:blipFill>
          <a:blip r:embed="rId31"/>
          <a:stretch>
            <a:fillRect/>
          </a:stretch>
        </p:blipFill>
        <p:spPr>
          <a:xfrm>
            <a:off x="3511610" y="4200121"/>
            <a:ext cx="1719808" cy="364855"/>
          </a:xfrm>
          <a:prstGeom prst="rect">
            <a:avLst/>
          </a:prstGeom>
        </p:spPr>
      </p:pic>
      <p:pic>
        <p:nvPicPr>
          <p:cNvPr id="147" name="Picture 146" descr="all-traffic-logo.png"/>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5520781" y="4142345"/>
            <a:ext cx="835192" cy="685286"/>
          </a:xfrm>
          <a:prstGeom prst="rect">
            <a:avLst/>
          </a:prstGeom>
        </p:spPr>
      </p:pic>
      <p:pic>
        <p:nvPicPr>
          <p:cNvPr id="148" name="Picture 147"/>
          <p:cNvPicPr>
            <a:picLocks noChangeAspect="1"/>
          </p:cNvPicPr>
          <p:nvPr/>
        </p:nvPicPr>
        <p:blipFill>
          <a:blip r:embed="rId33"/>
          <a:stretch>
            <a:fillRect/>
          </a:stretch>
        </p:blipFill>
        <p:spPr>
          <a:xfrm>
            <a:off x="5672339" y="6133990"/>
            <a:ext cx="757770" cy="355823"/>
          </a:xfrm>
          <a:prstGeom prst="rect">
            <a:avLst/>
          </a:prstGeom>
        </p:spPr>
      </p:pic>
      <p:pic>
        <p:nvPicPr>
          <p:cNvPr id="149" name="Picture 42" descr="McKesson"/>
          <p:cNvPicPr>
            <a:picLocks noChangeAspect="1" noChangeArrowheads="1"/>
          </p:cNvPicPr>
          <p:nvPr/>
        </p:nvPicPr>
        <p:blipFill>
          <a:blip r:embed="rId34" cstate="screen">
            <a:extLst>
              <a:ext uri="{28A0092B-C50C-407E-A947-70E740481C1C}">
                <a14:useLocalDpi xmlns:a14="http://schemas.microsoft.com/office/drawing/2010/main"/>
              </a:ext>
            </a:extLst>
          </a:blip>
          <a:stretch>
            <a:fillRect/>
          </a:stretch>
        </p:blipFill>
        <p:spPr bwMode="auto">
          <a:xfrm>
            <a:off x="8766990" y="4774532"/>
            <a:ext cx="1252778" cy="176362"/>
          </a:xfrm>
          <a:prstGeom prst="rect">
            <a:avLst/>
          </a:prstGeom>
          <a:noFill/>
          <a:ln w="9525">
            <a:noFill/>
            <a:miter lim="800000"/>
            <a:headEnd/>
            <a:tailEnd/>
          </a:ln>
        </p:spPr>
      </p:pic>
      <p:pic>
        <p:nvPicPr>
          <p:cNvPr id="150" name="Picture 149" descr="konica_minolta_graphic_logo"/>
          <p:cNvPicPr>
            <a:picLocks noChangeAspect="1" noChangeArrowheads="1"/>
          </p:cNvPicPr>
          <p:nvPr/>
        </p:nvPicPr>
        <p:blipFill>
          <a:blip r:embed="rId35">
            <a:extLst>
              <a:ext uri="{28A0092B-C50C-407E-A947-70E740481C1C}">
                <a14:useLocalDpi xmlns:a14="http://schemas.microsoft.com/office/drawing/2010/main"/>
              </a:ext>
            </a:extLst>
          </a:blip>
          <a:stretch>
            <a:fillRect/>
          </a:stretch>
        </p:blipFill>
        <p:spPr bwMode="auto">
          <a:xfrm>
            <a:off x="6734266" y="2965129"/>
            <a:ext cx="1468395" cy="195785"/>
          </a:xfrm>
          <a:prstGeom prst="rect">
            <a:avLst/>
          </a:prstGeom>
          <a:noFill/>
          <a:ln w="9525">
            <a:noFill/>
            <a:miter lim="800000"/>
            <a:headEnd/>
            <a:tailEnd/>
          </a:ln>
        </p:spPr>
      </p:pic>
      <p:pic>
        <p:nvPicPr>
          <p:cNvPr id="151" name="Picture 2" descr="Barco"/>
          <p:cNvPicPr>
            <a:picLocks noChangeAspect="1" noChangeArrowheads="1"/>
          </p:cNvPicPr>
          <p:nvPr/>
        </p:nvPicPr>
        <p:blipFill>
          <a:blip r:embed="rId36" cstate="screen">
            <a:extLst>
              <a:ext uri="{28A0092B-C50C-407E-A947-70E740481C1C}">
                <a14:useLocalDpi xmlns:a14="http://schemas.microsoft.com/office/drawing/2010/main"/>
              </a:ext>
            </a:extLst>
          </a:blip>
          <a:stretch>
            <a:fillRect/>
          </a:stretch>
        </p:blipFill>
        <p:spPr bwMode="auto">
          <a:xfrm>
            <a:off x="6947008" y="5677607"/>
            <a:ext cx="1042909" cy="212044"/>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35" descr="talaris_logo">
            <a:hlinkClick r:id="rId37"/>
          </p:cNvPr>
          <p:cNvPicPr>
            <a:picLocks noChangeAspect="1" noChangeArrowheads="1"/>
          </p:cNvPicPr>
          <p:nvPr/>
        </p:nvPicPr>
        <p:blipFill>
          <a:blip r:embed="rId38">
            <a:extLst>
              <a:ext uri="{28A0092B-C50C-407E-A947-70E740481C1C}">
                <a14:useLocalDpi xmlns:a14="http://schemas.microsoft.com/office/drawing/2010/main"/>
              </a:ext>
            </a:extLst>
          </a:blip>
          <a:stretch>
            <a:fillRect/>
          </a:stretch>
        </p:blipFill>
        <p:spPr bwMode="auto">
          <a:xfrm>
            <a:off x="3832986" y="2362749"/>
            <a:ext cx="1025201" cy="41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6" name="Straight Connector 55"/>
          <p:cNvCxnSpPr/>
          <p:nvPr/>
        </p:nvCxnSpPr>
        <p:spPr>
          <a:xfrm>
            <a:off x="3435598" y="992635"/>
            <a:ext cx="0" cy="5675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660104" y="992635"/>
            <a:ext cx="0" cy="5675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8407272" y="992635"/>
            <a:ext cx="0" cy="5675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0428655" y="992635"/>
            <a:ext cx="0" cy="5675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4" name="Picture 35"/>
          <p:cNvPicPr>
            <a:picLocks noChangeAspect="1" noChangeArrowheads="1"/>
          </p:cNvPicPr>
          <p:nvPr/>
        </p:nvPicPr>
        <p:blipFill>
          <a:blip r:embed="rId39" cstate="screen">
            <a:extLst>
              <a:ext uri="{28A0092B-C50C-407E-A947-70E740481C1C}">
                <a14:useLocalDpi xmlns:a14="http://schemas.microsoft.com/office/drawing/2010/main"/>
              </a:ext>
            </a:extLst>
          </a:blip>
          <a:stretch>
            <a:fillRect/>
          </a:stretch>
        </p:blipFill>
        <p:spPr bwMode="auto">
          <a:xfrm>
            <a:off x="6950622" y="4858476"/>
            <a:ext cx="1025003" cy="529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5" name="Straight Connector 54"/>
          <p:cNvCxnSpPr/>
          <p:nvPr/>
        </p:nvCxnSpPr>
        <p:spPr>
          <a:xfrm>
            <a:off x="1611322" y="992635"/>
            <a:ext cx="0" cy="5675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1683850" y="985344"/>
            <a:ext cx="1695595" cy="391346"/>
          </a:xfrm>
          <a:prstGeom prst="rect">
            <a:avLst/>
          </a:prstGeom>
          <a:noFill/>
          <a:ln w="19050" cap="flat" cmpd="sng" algn="ctr">
            <a:noFill/>
            <a:prstDash val="solid"/>
          </a:ln>
          <a:effectLst/>
        </p:spPr>
        <p:txBody>
          <a:bodyPr rtlCol="0" anchor="ctr"/>
          <a:lstStyle/>
          <a:p>
            <a:pPr marL="0" marR="0" lvl="0" indent="0" algn="ctr" defTabSz="1084058" eaLnBrk="1" fontAlgn="auto" latinLnBrk="0" hangingPunct="1">
              <a:lnSpc>
                <a:spcPct val="90000"/>
              </a:lnSpc>
              <a:spcBef>
                <a:spcPts val="0"/>
              </a:spcBef>
              <a:spcAft>
                <a:spcPts val="0"/>
              </a:spcAft>
              <a:buClrTx/>
              <a:buSzTx/>
              <a:buFontTx/>
              <a:buNone/>
              <a:tabLst/>
              <a:defRPr/>
            </a:pPr>
            <a:r>
              <a:rPr kumimoji="0" lang="en-US" sz="1596" b="0" i="0" u="none" strike="noStrike" kern="0" cap="none" spc="0" normalizeH="0" baseline="0" noProof="0" dirty="0">
                <a:ln>
                  <a:noFill/>
                </a:ln>
                <a:solidFill>
                  <a:srgbClr val="3D4647"/>
                </a:solidFill>
                <a:effectLst/>
                <a:uLnTx/>
                <a:uFillTx/>
                <a:latin typeface="Century Gothic" panose="020F0302020204030204"/>
              </a:rPr>
              <a:t>Transportation</a:t>
            </a:r>
          </a:p>
        </p:txBody>
      </p:sp>
      <p:pic>
        <p:nvPicPr>
          <p:cNvPr id="68" name="Picture 29" descr="toyota"/>
          <p:cNvPicPr>
            <a:picLocks noChangeAspect="1" noChangeArrowheads="1"/>
          </p:cNvPicPr>
          <p:nvPr/>
        </p:nvPicPr>
        <p:blipFill>
          <a:blip r:embed="rId40" cstate="screen">
            <a:extLst>
              <a:ext uri="{28A0092B-C50C-407E-A947-70E740481C1C}">
                <a14:useLocalDpi xmlns:a14="http://schemas.microsoft.com/office/drawing/2010/main"/>
              </a:ext>
            </a:extLst>
          </a:blip>
          <a:stretch>
            <a:fillRect/>
          </a:stretch>
        </p:blipFill>
        <p:spPr bwMode="auto">
          <a:xfrm>
            <a:off x="2027168" y="1731907"/>
            <a:ext cx="1008958" cy="215024"/>
          </a:xfrm>
          <a:prstGeom prst="rect">
            <a:avLst/>
          </a:prstGeom>
          <a:noFill/>
          <a:ln w="9525">
            <a:noFill/>
            <a:miter lim="800000"/>
            <a:headEnd/>
            <a:tailEnd/>
          </a:ln>
        </p:spPr>
      </p:pic>
      <p:pic>
        <p:nvPicPr>
          <p:cNvPr id="90" name="Picture 78"/>
          <p:cNvPicPr>
            <a:picLocks noChangeAspect="1" noChangeArrowheads="1"/>
          </p:cNvPicPr>
          <p:nvPr/>
        </p:nvPicPr>
        <p:blipFill>
          <a:blip r:embed="rId41" cstate="screen">
            <a:extLst>
              <a:ext uri="{28A0092B-C50C-407E-A947-70E740481C1C}">
                <a14:useLocalDpi xmlns:a14="http://schemas.microsoft.com/office/drawing/2010/main"/>
              </a:ext>
            </a:extLst>
          </a:blip>
          <a:stretch>
            <a:fillRect/>
          </a:stretch>
        </p:blipFill>
        <p:spPr bwMode="auto">
          <a:xfrm>
            <a:off x="2269536" y="2185592"/>
            <a:ext cx="524222" cy="492126"/>
          </a:xfrm>
          <a:prstGeom prst="rect">
            <a:avLst/>
          </a:prstGeom>
          <a:noFill/>
          <a:ln w="9525">
            <a:noFill/>
            <a:miter lim="800000"/>
            <a:headEnd/>
            <a:tailEnd/>
          </a:ln>
        </p:spPr>
      </p:pic>
      <p:pic>
        <p:nvPicPr>
          <p:cNvPr id="92" name="Picture 2" descr="D:\Users\dhodge\Desktop\20131219_thumbnail_airbus_group_large logo.jpg"/>
          <p:cNvPicPr>
            <a:picLocks noChangeAspect="1" noChangeArrowheads="1"/>
          </p:cNvPicPr>
          <p:nvPr/>
        </p:nvPicPr>
        <p:blipFill rotWithShape="1">
          <a:blip r:embed="rId42" cstate="screen">
            <a:extLst>
              <a:ext uri="{28A0092B-C50C-407E-A947-70E740481C1C}">
                <a14:useLocalDpi xmlns:a14="http://schemas.microsoft.com/office/drawing/2010/main"/>
              </a:ext>
            </a:extLst>
          </a:blip>
          <a:stretch/>
        </p:blipFill>
        <p:spPr bwMode="auto">
          <a:xfrm>
            <a:off x="2189052" y="2916378"/>
            <a:ext cx="685191" cy="23655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enault Logo Vector Download"/>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2075578" y="3391593"/>
            <a:ext cx="912138" cy="91213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car-logos.com/uploads/allimg/150731/1-150I1201KOc.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976144" y="4542392"/>
            <a:ext cx="1111007" cy="364855"/>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http://newsroom.lincolnelectric.com/images/9026/media_gallery/LincolnLogoRev.pn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5259874" y="1680736"/>
            <a:ext cx="1352342" cy="46519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5134477" y="2421317"/>
            <a:ext cx="1014771" cy="465190"/>
          </a:xfrm>
          <a:prstGeom prst="rect">
            <a:avLst/>
          </a:prstGeom>
        </p:spPr>
      </p:pic>
      <p:pic>
        <p:nvPicPr>
          <p:cNvPr id="1042" name="Picture 18" descr="KUKA Industrial Robots"/>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60194" y="4420345"/>
            <a:ext cx="1064161" cy="182428"/>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Keysight Technologies"/>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51863" y="4878549"/>
            <a:ext cx="1546986" cy="547283"/>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Header Logo"/>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3844655" y="3133968"/>
            <a:ext cx="712608" cy="712608"/>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back to homepage"/>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895051" y="5145906"/>
            <a:ext cx="1273192" cy="39906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http://www.huawei.com/us/ucmf/groups/public/documents/webasset/hw_000353.jpg"/>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52098" y="5701606"/>
            <a:ext cx="1491725" cy="361056"/>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www.amstedrail.com/sites/all/themes/amsted_rail/AmstedRail_logo.png"/>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703709" y="5783630"/>
            <a:ext cx="1655878" cy="456069"/>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https://upload.wikimedia.org/wikipedia/commons/thumb/0/0f/Pepsi_logo_2014.svg/2000px-Pepsi_logo_2014.svg.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3875977" y="4918519"/>
            <a:ext cx="671925" cy="91213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41" descr="sakura"/>
          <p:cNvPicPr>
            <a:picLocks noChangeAspect="1" noChangeArrowheads="1"/>
          </p:cNvPicPr>
          <p:nvPr/>
        </p:nvPicPr>
        <p:blipFill>
          <a:blip r:embed="rId54">
            <a:extLst>
              <a:ext uri="{28A0092B-C50C-407E-A947-70E740481C1C}">
                <a14:useLocalDpi xmlns:a14="http://schemas.microsoft.com/office/drawing/2010/main"/>
              </a:ext>
            </a:extLst>
          </a:blip>
          <a:stretch>
            <a:fillRect/>
          </a:stretch>
        </p:blipFill>
        <p:spPr bwMode="auto">
          <a:xfrm>
            <a:off x="9105625" y="5357100"/>
            <a:ext cx="575509" cy="590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 name="Rectangle 106"/>
          <p:cNvSpPr/>
          <p:nvPr/>
        </p:nvSpPr>
        <p:spPr>
          <a:xfrm>
            <a:off x="4248383" y="985344"/>
            <a:ext cx="1695595" cy="391346"/>
          </a:xfrm>
          <a:prstGeom prst="rect">
            <a:avLst/>
          </a:prstGeom>
          <a:noFill/>
          <a:ln w="19050" cap="flat" cmpd="sng" algn="ctr">
            <a:noFill/>
            <a:prstDash val="solid"/>
          </a:ln>
          <a:effectLst/>
        </p:spPr>
        <p:txBody>
          <a:bodyPr rtlCol="0" anchor="ctr"/>
          <a:lstStyle/>
          <a:p>
            <a:pPr marL="0" marR="0" lvl="0" indent="0" algn="ctr" defTabSz="1084058" eaLnBrk="1" fontAlgn="auto" latinLnBrk="0" hangingPunct="1">
              <a:lnSpc>
                <a:spcPct val="90000"/>
              </a:lnSpc>
              <a:spcBef>
                <a:spcPts val="0"/>
              </a:spcBef>
              <a:spcAft>
                <a:spcPts val="0"/>
              </a:spcAft>
              <a:buClrTx/>
              <a:buSzTx/>
              <a:buFontTx/>
              <a:buNone/>
              <a:tabLst/>
              <a:defRPr/>
            </a:pPr>
            <a:r>
              <a:rPr kumimoji="0" lang="en-US" sz="1596" b="0" i="0" u="none" strike="noStrike" kern="0" cap="none" spc="0" normalizeH="0" baseline="0" noProof="0" dirty="0">
                <a:ln>
                  <a:noFill/>
                </a:ln>
                <a:solidFill>
                  <a:srgbClr val="3D4647"/>
                </a:solidFill>
                <a:effectLst/>
                <a:uLnTx/>
                <a:uFillTx/>
                <a:latin typeface="Century Gothic" panose="020F0302020204030204"/>
              </a:rPr>
              <a:t>Industrial</a:t>
            </a:r>
          </a:p>
        </p:txBody>
      </p:sp>
    </p:spTree>
    <p:extLst>
      <p:ext uri="{BB962C8B-B14F-4D97-AF65-F5344CB8AC3E}">
        <p14:creationId xmlns:p14="http://schemas.microsoft.com/office/powerpoint/2010/main" val="2391939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2" name="Picture 38" descr="http://connectnigeria.com/articles/wp-content/uploads/2013/04/Etisalat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69794" y="2962215"/>
            <a:ext cx="1431906" cy="66506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0" descr="http://cdn.macrumors.com/article-new/2011/11/ntt_docomo_logo.jpg?retin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46615" y="3731194"/>
            <a:ext cx="1213260" cy="242652"/>
          </a:xfrm>
          <a:prstGeom prst="rect">
            <a:avLst/>
          </a:prstGeom>
          <a:noFill/>
          <a:extLst>
            <a:ext uri="{909E8E84-426E-40DD-AFC4-6F175D3DCCD1}">
              <a14:hiddenFill xmlns:a14="http://schemas.microsoft.com/office/drawing/2010/main">
                <a:solidFill>
                  <a:srgbClr val="FFFFFF"/>
                </a:solidFill>
              </a14:hiddenFill>
            </a:ext>
          </a:extLst>
        </p:spPr>
      </p:pic>
      <p:sp>
        <p:nvSpPr>
          <p:cNvPr id="15365" name="Rectangle 3"/>
          <p:cNvSpPr>
            <a:spLocks noGrp="1" noChangeArrowheads="1"/>
          </p:cNvSpPr>
          <p:nvPr>
            <p:ph type="title"/>
          </p:nvPr>
        </p:nvSpPr>
        <p:spPr/>
        <p:txBody>
          <a:bodyPr/>
          <a:lstStyle/>
          <a:p>
            <a:r>
              <a:rPr lang="en-US" dirty="0"/>
              <a:t>Breadth of our partner ecosystem</a:t>
            </a:r>
          </a:p>
        </p:txBody>
      </p:sp>
      <p:sp>
        <p:nvSpPr>
          <p:cNvPr id="57" name="Rectangle 56"/>
          <p:cNvSpPr/>
          <p:nvPr/>
        </p:nvSpPr>
        <p:spPr>
          <a:xfrm>
            <a:off x="2533734" y="1018128"/>
            <a:ext cx="2271835" cy="541098"/>
          </a:xfrm>
          <a:prstGeom prst="rect">
            <a:avLst/>
          </a:prstGeom>
          <a:noFill/>
          <a:ln w="19050" cap="flat" cmpd="sng" algn="ctr">
            <a:noFill/>
            <a:prstDash val="solid"/>
          </a:ln>
          <a:effectLst/>
        </p:spPr>
        <p:txBody>
          <a:bodyPr rtlCol="0" anchor="ctr"/>
          <a:lstStyle/>
          <a:p>
            <a:pPr marL="0" marR="0" lvl="0" indent="0" algn="ctr" defTabSz="1084058" eaLnBrk="1" fontAlgn="auto" latinLnBrk="0" hangingPunct="1">
              <a:lnSpc>
                <a:spcPct val="90000"/>
              </a:lnSpc>
              <a:spcBef>
                <a:spcPts val="0"/>
              </a:spcBef>
              <a:spcAft>
                <a:spcPts val="0"/>
              </a:spcAft>
              <a:buClrTx/>
              <a:buSzTx/>
              <a:buFontTx/>
              <a:buNone/>
              <a:tabLst/>
              <a:defRPr/>
            </a:pPr>
            <a:r>
              <a:rPr kumimoji="0" lang="en-US" sz="1397" b="0" i="0" u="none" strike="noStrike" kern="0" cap="none" spc="0" normalizeH="0" baseline="0" noProof="0" dirty="0">
                <a:ln>
                  <a:noFill/>
                </a:ln>
                <a:solidFill>
                  <a:srgbClr val="3D4647"/>
                </a:solidFill>
                <a:effectLst/>
                <a:uLnTx/>
                <a:uFillTx/>
                <a:latin typeface="Century Gothic" panose="020F0302020204030204"/>
              </a:rPr>
              <a:t>Communication </a:t>
            </a:r>
            <a:br>
              <a:rPr kumimoji="0" lang="en-US" sz="1397" b="0" i="0" u="none" strike="noStrike" kern="0" cap="none" spc="0" normalizeH="0" baseline="0" noProof="0" dirty="0">
                <a:ln>
                  <a:noFill/>
                </a:ln>
                <a:solidFill>
                  <a:srgbClr val="3D4647"/>
                </a:solidFill>
                <a:effectLst/>
                <a:uLnTx/>
                <a:uFillTx/>
                <a:latin typeface="Century Gothic" panose="020F0302020204030204"/>
              </a:rPr>
            </a:br>
            <a:r>
              <a:rPr kumimoji="0" lang="en-US" sz="1397" b="0" i="0" u="none" strike="noStrike" kern="0" cap="none" spc="0" normalizeH="0" baseline="0" noProof="0" dirty="0">
                <a:ln>
                  <a:noFill/>
                </a:ln>
                <a:solidFill>
                  <a:srgbClr val="3D4647"/>
                </a:solidFill>
                <a:effectLst/>
                <a:uLnTx/>
                <a:uFillTx/>
                <a:latin typeface="Century Gothic" panose="020F0302020204030204"/>
              </a:rPr>
              <a:t>Service Providers</a:t>
            </a:r>
          </a:p>
        </p:txBody>
      </p:sp>
      <p:sp>
        <p:nvSpPr>
          <p:cNvPr id="61" name="Rectangle 60"/>
          <p:cNvSpPr/>
          <p:nvPr/>
        </p:nvSpPr>
        <p:spPr>
          <a:xfrm>
            <a:off x="107385" y="1018128"/>
            <a:ext cx="2271835" cy="541098"/>
          </a:xfrm>
          <a:prstGeom prst="rect">
            <a:avLst/>
          </a:prstGeom>
          <a:noFill/>
          <a:ln w="19050" cap="flat" cmpd="sng" algn="ctr">
            <a:noFill/>
            <a:prstDash val="solid"/>
          </a:ln>
          <a:effectLst/>
        </p:spPr>
        <p:txBody>
          <a:bodyPr rtlCol="0" anchor="ctr"/>
          <a:lstStyle/>
          <a:p>
            <a:pPr marL="0" marR="0" lvl="0" indent="0" algn="ctr" defTabSz="1084058" eaLnBrk="1" fontAlgn="auto" latinLnBrk="0" hangingPunct="1">
              <a:lnSpc>
                <a:spcPct val="90000"/>
              </a:lnSpc>
              <a:spcBef>
                <a:spcPts val="0"/>
              </a:spcBef>
              <a:spcAft>
                <a:spcPts val="0"/>
              </a:spcAft>
              <a:buClrTx/>
              <a:buSzTx/>
              <a:buFontTx/>
              <a:buNone/>
              <a:tabLst/>
              <a:defRPr/>
            </a:pPr>
            <a:r>
              <a:rPr kumimoji="0" lang="en-US" sz="1397" b="0" i="0" u="none" strike="noStrike" kern="0" cap="none" spc="0" normalizeH="0" baseline="0" noProof="0" dirty="0">
                <a:ln>
                  <a:noFill/>
                </a:ln>
                <a:solidFill>
                  <a:srgbClr val="3D4647"/>
                </a:solidFill>
                <a:effectLst/>
                <a:uLnTx/>
                <a:uFillTx/>
                <a:latin typeface="Century Gothic" panose="020F0302020204030204"/>
              </a:rPr>
              <a:t>Edge Communication </a:t>
            </a:r>
            <a:br>
              <a:rPr kumimoji="0" lang="en-US" sz="1397" b="0" i="0" u="none" strike="noStrike" kern="0" cap="none" spc="0" normalizeH="0" baseline="0" noProof="0" dirty="0">
                <a:ln>
                  <a:noFill/>
                </a:ln>
                <a:solidFill>
                  <a:srgbClr val="3D4647"/>
                </a:solidFill>
                <a:effectLst/>
                <a:uLnTx/>
                <a:uFillTx/>
                <a:latin typeface="Century Gothic" panose="020F0302020204030204"/>
              </a:rPr>
            </a:br>
            <a:r>
              <a:rPr kumimoji="0" lang="en-US" sz="1397" b="0" i="0" u="none" strike="noStrike" kern="0" cap="none" spc="0" normalizeH="0" baseline="0" noProof="0" dirty="0">
                <a:ln>
                  <a:noFill/>
                </a:ln>
                <a:solidFill>
                  <a:srgbClr val="3D4647"/>
                </a:solidFill>
                <a:effectLst/>
                <a:uLnTx/>
                <a:uFillTx/>
                <a:latin typeface="Century Gothic" panose="020F0302020204030204"/>
              </a:rPr>
              <a:t>&amp; Embedded Devices</a:t>
            </a:r>
          </a:p>
        </p:txBody>
      </p:sp>
      <p:sp>
        <p:nvSpPr>
          <p:cNvPr id="62" name="Rectangle 61"/>
          <p:cNvSpPr/>
          <p:nvPr/>
        </p:nvSpPr>
        <p:spPr>
          <a:xfrm>
            <a:off x="4960084" y="1018128"/>
            <a:ext cx="2271835" cy="541098"/>
          </a:xfrm>
          <a:prstGeom prst="rect">
            <a:avLst/>
          </a:prstGeom>
          <a:noFill/>
          <a:ln w="19050" cap="flat" cmpd="sng" algn="ctr">
            <a:noFill/>
            <a:prstDash val="solid"/>
          </a:ln>
          <a:effectLst/>
        </p:spPr>
        <p:txBody>
          <a:bodyPr rtlCol="0" anchor="ctr"/>
          <a:lstStyle/>
          <a:p>
            <a:pPr marL="0" marR="0" lvl="0" indent="0" algn="ctr" defTabSz="1084058" eaLnBrk="1" fontAlgn="auto" latinLnBrk="0" hangingPunct="1">
              <a:lnSpc>
                <a:spcPct val="90000"/>
              </a:lnSpc>
              <a:spcBef>
                <a:spcPts val="0"/>
              </a:spcBef>
              <a:spcAft>
                <a:spcPts val="0"/>
              </a:spcAft>
              <a:buClrTx/>
              <a:buSzTx/>
              <a:buFontTx/>
              <a:buNone/>
              <a:tabLst/>
              <a:defRPr/>
            </a:pPr>
            <a:r>
              <a:rPr kumimoji="0" lang="en-US" sz="1397" b="0" i="0" u="none" strike="noStrike" kern="0" cap="none" spc="0" normalizeH="0" baseline="0" noProof="0" dirty="0">
                <a:ln>
                  <a:noFill/>
                </a:ln>
                <a:solidFill>
                  <a:srgbClr val="3D4647"/>
                </a:solidFill>
                <a:effectLst/>
                <a:uLnTx/>
                <a:uFillTx/>
                <a:latin typeface="Century Gothic" panose="020F0302020204030204"/>
              </a:rPr>
              <a:t>System Integrators</a:t>
            </a:r>
            <a:br>
              <a:rPr kumimoji="0" lang="en-US" sz="1397" b="0" i="0" u="none" strike="noStrike" kern="0" cap="none" spc="0" normalizeH="0" baseline="0" noProof="0" dirty="0">
                <a:ln>
                  <a:noFill/>
                </a:ln>
                <a:solidFill>
                  <a:srgbClr val="3D4647"/>
                </a:solidFill>
                <a:effectLst/>
                <a:uLnTx/>
                <a:uFillTx/>
                <a:latin typeface="Century Gothic" panose="020F0302020204030204"/>
              </a:rPr>
            </a:br>
            <a:r>
              <a:rPr kumimoji="0" lang="en-US" sz="1397" b="0" i="0" u="none" strike="noStrike" kern="0" cap="none" spc="0" normalizeH="0" baseline="0" noProof="0" dirty="0">
                <a:ln>
                  <a:noFill/>
                </a:ln>
                <a:solidFill>
                  <a:srgbClr val="3D4647"/>
                </a:solidFill>
                <a:effectLst/>
                <a:uLnTx/>
                <a:uFillTx/>
                <a:latin typeface="Century Gothic" panose="020F0302020204030204"/>
              </a:rPr>
              <a:t>&amp; VARs</a:t>
            </a:r>
          </a:p>
        </p:txBody>
      </p:sp>
      <p:sp>
        <p:nvSpPr>
          <p:cNvPr id="83" name="Rectangle 82"/>
          <p:cNvSpPr/>
          <p:nvPr/>
        </p:nvSpPr>
        <p:spPr>
          <a:xfrm>
            <a:off x="9812783" y="1018128"/>
            <a:ext cx="2271835" cy="541098"/>
          </a:xfrm>
          <a:prstGeom prst="rect">
            <a:avLst/>
          </a:prstGeom>
          <a:noFill/>
          <a:ln w="19050" cap="flat" cmpd="sng" algn="ctr">
            <a:noFill/>
            <a:prstDash val="solid"/>
          </a:ln>
          <a:effectLst/>
        </p:spPr>
        <p:txBody>
          <a:bodyPr rtlCol="0" anchor="ctr"/>
          <a:lstStyle/>
          <a:p>
            <a:pPr marL="0" marR="0" lvl="0" indent="0" algn="ctr" defTabSz="1084058" eaLnBrk="1" fontAlgn="auto" latinLnBrk="0" hangingPunct="1">
              <a:lnSpc>
                <a:spcPct val="90000"/>
              </a:lnSpc>
              <a:spcBef>
                <a:spcPts val="0"/>
              </a:spcBef>
              <a:spcAft>
                <a:spcPts val="0"/>
              </a:spcAft>
              <a:buClrTx/>
              <a:buSzTx/>
              <a:buFontTx/>
              <a:buNone/>
              <a:tabLst/>
              <a:defRPr/>
            </a:pPr>
            <a:r>
              <a:rPr kumimoji="0" lang="en-US" sz="1397" b="0" i="0" u="none" strike="noStrike" kern="0" cap="none" spc="0" normalizeH="0" baseline="0" noProof="0" dirty="0">
                <a:ln>
                  <a:noFill/>
                </a:ln>
                <a:solidFill>
                  <a:srgbClr val="3D4647"/>
                </a:solidFill>
                <a:effectLst/>
                <a:uLnTx/>
                <a:uFillTx/>
                <a:latin typeface="Century Gothic" panose="020F0302020204030204"/>
              </a:rPr>
              <a:t>Solution</a:t>
            </a:r>
            <a:br>
              <a:rPr kumimoji="0" lang="en-US" sz="1397" b="0" i="0" u="none" strike="noStrike" kern="0" cap="none" spc="0" normalizeH="0" baseline="0" noProof="0" dirty="0">
                <a:ln>
                  <a:noFill/>
                </a:ln>
                <a:solidFill>
                  <a:srgbClr val="3D4647"/>
                </a:solidFill>
                <a:effectLst/>
                <a:uLnTx/>
                <a:uFillTx/>
                <a:latin typeface="Century Gothic" panose="020F0302020204030204"/>
              </a:rPr>
            </a:br>
            <a:r>
              <a:rPr kumimoji="0" lang="en-US" sz="1397" b="0" i="0" u="none" strike="noStrike" kern="0" cap="none" spc="0" normalizeH="0" baseline="0" noProof="0" dirty="0">
                <a:ln>
                  <a:noFill/>
                </a:ln>
                <a:solidFill>
                  <a:srgbClr val="3D4647"/>
                </a:solidFill>
                <a:effectLst/>
                <a:uLnTx/>
                <a:uFillTx/>
                <a:latin typeface="Century Gothic" panose="020F0302020204030204"/>
              </a:rPr>
              <a:t>Providers</a:t>
            </a:r>
          </a:p>
        </p:txBody>
      </p:sp>
      <p:sp>
        <p:nvSpPr>
          <p:cNvPr id="118" name="Rectangle 117"/>
          <p:cNvSpPr/>
          <p:nvPr/>
        </p:nvSpPr>
        <p:spPr>
          <a:xfrm>
            <a:off x="7386433" y="1018128"/>
            <a:ext cx="2271835" cy="541098"/>
          </a:xfrm>
          <a:prstGeom prst="rect">
            <a:avLst/>
          </a:prstGeom>
          <a:noFill/>
          <a:ln w="19050" cap="flat" cmpd="sng" algn="ctr">
            <a:noFill/>
            <a:prstDash val="solid"/>
          </a:ln>
          <a:effectLst/>
        </p:spPr>
        <p:txBody>
          <a:bodyPr rtlCol="0" anchor="ctr"/>
          <a:lstStyle/>
          <a:p>
            <a:pPr marL="0" marR="0" lvl="0" indent="0" algn="ctr" defTabSz="1084058" eaLnBrk="1" fontAlgn="auto" latinLnBrk="0" hangingPunct="1">
              <a:lnSpc>
                <a:spcPct val="90000"/>
              </a:lnSpc>
              <a:spcBef>
                <a:spcPts val="0"/>
              </a:spcBef>
              <a:spcAft>
                <a:spcPts val="0"/>
              </a:spcAft>
              <a:buClrTx/>
              <a:buSzTx/>
              <a:buFontTx/>
              <a:buNone/>
              <a:tabLst/>
              <a:defRPr/>
            </a:pPr>
            <a:r>
              <a:rPr kumimoji="0" lang="en-US" sz="1397" b="0" i="0" u="none" strike="noStrike" kern="0" cap="none" spc="0" normalizeH="0" baseline="0" noProof="0" dirty="0">
                <a:ln>
                  <a:noFill/>
                </a:ln>
                <a:solidFill>
                  <a:srgbClr val="3D4647"/>
                </a:solidFill>
                <a:effectLst/>
                <a:uLnTx/>
                <a:uFillTx/>
                <a:latin typeface="Century Gothic" panose="020F0302020204030204"/>
              </a:rPr>
              <a:t>Business Systems </a:t>
            </a:r>
            <a:br>
              <a:rPr kumimoji="0" lang="en-US" sz="1397" b="0" i="0" u="none" strike="noStrike" kern="0" cap="none" spc="0" normalizeH="0" baseline="0" noProof="0" dirty="0">
                <a:ln>
                  <a:noFill/>
                </a:ln>
                <a:solidFill>
                  <a:srgbClr val="3D4647"/>
                </a:solidFill>
                <a:effectLst/>
                <a:uLnTx/>
                <a:uFillTx/>
                <a:latin typeface="Century Gothic" panose="020F0302020204030204"/>
              </a:rPr>
            </a:br>
            <a:r>
              <a:rPr kumimoji="0" lang="en-US" sz="1397" b="0" i="0" u="none" strike="noStrike" kern="0" cap="none" spc="0" normalizeH="0" baseline="0" noProof="0" dirty="0">
                <a:ln>
                  <a:noFill/>
                </a:ln>
                <a:solidFill>
                  <a:srgbClr val="3D4647"/>
                </a:solidFill>
                <a:effectLst/>
                <a:uLnTx/>
                <a:uFillTx/>
                <a:latin typeface="Century Gothic" panose="020F0302020204030204"/>
              </a:rPr>
              <a:t>&amp; Analytics</a:t>
            </a:r>
          </a:p>
        </p:txBody>
      </p:sp>
      <p:cxnSp>
        <p:nvCxnSpPr>
          <p:cNvPr id="56" name="Straight Connector 55"/>
          <p:cNvCxnSpPr/>
          <p:nvPr/>
        </p:nvCxnSpPr>
        <p:spPr>
          <a:xfrm>
            <a:off x="2456474" y="992635"/>
            <a:ext cx="0" cy="5675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882824" y="992794"/>
            <a:ext cx="0" cy="5675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7309173" y="995186"/>
            <a:ext cx="0" cy="5675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9735523" y="996245"/>
            <a:ext cx="0" cy="567573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59060" y="3348264"/>
            <a:ext cx="2142159" cy="404103"/>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54232" y="1649602"/>
            <a:ext cx="588934" cy="588934"/>
          </a:xfrm>
          <a:prstGeom prst="rect">
            <a:avLst/>
          </a:prstGeom>
        </p:spPr>
      </p:pic>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93377" y="2598252"/>
            <a:ext cx="1273525" cy="298482"/>
          </a:xfrm>
          <a:prstGeom prst="rect">
            <a:avLst/>
          </a:prstGeom>
        </p:spPr>
      </p:pic>
      <p:pic>
        <p:nvPicPr>
          <p:cNvPr id="22" name="Picture 14" descr="http://b-i.forbesimg.com/benkepes/files/2014/01/350px-Logo_SAP.gif"/>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8215823" y="5214891"/>
            <a:ext cx="1108811" cy="44352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10236091" y="3895017"/>
            <a:ext cx="1425215" cy="7221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10193779" y="4989904"/>
            <a:ext cx="1472723" cy="7221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8071734" y="1649602"/>
            <a:ext cx="1074896" cy="4084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7962557" y="2394857"/>
            <a:ext cx="1074896" cy="544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rotWithShape="1">
          <a:blip r:embed="rId13">
            <a:extLst>
              <a:ext uri="{28A0092B-C50C-407E-A947-70E740481C1C}">
                <a14:useLocalDpi xmlns:a14="http://schemas.microsoft.com/office/drawing/2010/main" val="0"/>
              </a:ext>
            </a:extLst>
          </a:blip>
          <a:stretch/>
        </p:blipFill>
        <p:spPr bwMode="auto">
          <a:xfrm>
            <a:off x="8188086" y="4368298"/>
            <a:ext cx="786721" cy="398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8071734" y="6008453"/>
            <a:ext cx="1074896" cy="544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5403298" y="1668971"/>
            <a:ext cx="1472723" cy="3990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5" name="Picture 11"/>
          <p:cNvPicPr>
            <a:picLocks noChangeAspect="1" noChangeArrowheads="1"/>
          </p:cNvPicPr>
          <p:nvPr/>
        </p:nvPicPr>
        <p:blipFill>
          <a:blip r:embed="rId16">
            <a:extLst>
              <a:ext uri="{28A0092B-C50C-407E-A947-70E740481C1C}">
                <a14:useLocalDpi xmlns:a14="http://schemas.microsoft.com/office/drawing/2010/main" val="0"/>
              </a:ext>
            </a:extLst>
          </a:blip>
          <a:stretch>
            <a:fillRect/>
          </a:stretch>
        </p:blipFill>
        <p:spPr bwMode="auto">
          <a:xfrm>
            <a:off x="5661407" y="4002180"/>
            <a:ext cx="786721" cy="7281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6" name="Picture 12"/>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auto">
          <a:xfrm>
            <a:off x="5375473" y="4692815"/>
            <a:ext cx="1472723" cy="5415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7" name="Picture 13"/>
          <p:cNvPicPr>
            <a:picLocks noChangeAspect="1" noChangeArrowheads="1"/>
          </p:cNvPicPr>
          <p:nvPr/>
        </p:nvPicPr>
        <p:blipFill>
          <a:blip r:embed="rId18">
            <a:extLst>
              <a:ext uri="{28A0092B-C50C-407E-A947-70E740481C1C}">
                <a14:useLocalDpi xmlns:a14="http://schemas.microsoft.com/office/drawing/2010/main" val="0"/>
              </a:ext>
            </a:extLst>
          </a:blip>
          <a:stretch>
            <a:fillRect/>
          </a:stretch>
        </p:blipFill>
        <p:spPr bwMode="auto">
          <a:xfrm>
            <a:off x="5690902" y="5401312"/>
            <a:ext cx="841858" cy="4127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0" name="Picture 16"/>
          <p:cNvPicPr>
            <a:picLocks noChangeAspect="1" noChangeArrowheads="1"/>
          </p:cNvPicPr>
          <p:nvPr/>
        </p:nvPicPr>
        <p:blipFill>
          <a:blip r:embed="rId19">
            <a:extLst>
              <a:ext uri="{28A0092B-C50C-407E-A947-70E740481C1C}">
                <a14:useLocalDpi xmlns:a14="http://schemas.microsoft.com/office/drawing/2010/main" val="0"/>
              </a:ext>
            </a:extLst>
          </a:blip>
          <a:stretch>
            <a:fillRect/>
          </a:stretch>
        </p:blipFill>
        <p:spPr bwMode="auto">
          <a:xfrm>
            <a:off x="5375473" y="5881337"/>
            <a:ext cx="1472723" cy="7221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3" name="Picture 19"/>
          <p:cNvPicPr>
            <a:picLocks noChangeAspect="1" noChangeArrowheads="1"/>
          </p:cNvPicPr>
          <p:nvPr/>
        </p:nvPicPr>
        <p:blipFill>
          <a:blip r:embed="rId20">
            <a:extLst>
              <a:ext uri="{28A0092B-C50C-407E-A947-70E740481C1C}">
                <a14:useLocalDpi xmlns:a14="http://schemas.microsoft.com/office/drawing/2010/main" val="0"/>
              </a:ext>
            </a:extLst>
          </a:blip>
          <a:stretch>
            <a:fillRect/>
          </a:stretch>
        </p:blipFill>
        <p:spPr bwMode="auto">
          <a:xfrm>
            <a:off x="2956816" y="4725202"/>
            <a:ext cx="1425215" cy="494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5" name="Picture 21"/>
          <p:cNvPicPr>
            <a:picLocks noChangeAspect="1" noChangeArrowheads="1"/>
          </p:cNvPicPr>
          <p:nvPr/>
        </p:nvPicPr>
        <p:blipFill>
          <a:blip r:embed="rId21">
            <a:extLst>
              <a:ext uri="{28A0092B-C50C-407E-A947-70E740481C1C}">
                <a14:useLocalDpi xmlns:a14="http://schemas.microsoft.com/office/drawing/2010/main" val="0"/>
              </a:ext>
            </a:extLst>
          </a:blip>
          <a:stretch>
            <a:fillRect/>
          </a:stretch>
        </p:blipFill>
        <p:spPr bwMode="auto">
          <a:xfrm>
            <a:off x="2973446" y="5905956"/>
            <a:ext cx="1425215" cy="7221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8" name="Picture 24"/>
          <p:cNvPicPr>
            <a:picLocks noChangeAspect="1" noChangeArrowheads="1"/>
          </p:cNvPicPr>
          <p:nvPr/>
        </p:nvPicPr>
        <p:blipFill>
          <a:blip r:embed="rId22">
            <a:extLst>
              <a:ext uri="{28A0092B-C50C-407E-A947-70E740481C1C}">
                <a14:useLocalDpi xmlns:a14="http://schemas.microsoft.com/office/drawing/2010/main" val="0"/>
              </a:ext>
            </a:extLst>
          </a:blip>
          <a:stretch>
            <a:fillRect/>
          </a:stretch>
        </p:blipFill>
        <p:spPr bwMode="auto">
          <a:xfrm>
            <a:off x="2940639" y="5183847"/>
            <a:ext cx="1425215" cy="7221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1" name="Picture 27"/>
          <p:cNvPicPr>
            <a:picLocks noChangeAspect="1" noChangeArrowheads="1"/>
          </p:cNvPicPr>
          <p:nvPr/>
        </p:nvPicPr>
        <p:blipFill>
          <a:blip r:embed="rId23">
            <a:extLst>
              <a:ext uri="{28A0092B-C50C-407E-A947-70E740481C1C}">
                <a14:useLocalDpi xmlns:a14="http://schemas.microsoft.com/office/drawing/2010/main" val="0"/>
              </a:ext>
            </a:extLst>
          </a:blip>
          <a:stretch>
            <a:fillRect/>
          </a:stretch>
        </p:blipFill>
        <p:spPr bwMode="auto">
          <a:xfrm>
            <a:off x="815581" y="3152993"/>
            <a:ext cx="1170079" cy="5928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2" name="Picture 28"/>
          <p:cNvPicPr>
            <a:picLocks noChangeAspect="1" noChangeArrowheads="1"/>
          </p:cNvPicPr>
          <p:nvPr/>
        </p:nvPicPr>
        <p:blipFill>
          <a:blip r:embed="rId24">
            <a:extLst>
              <a:ext uri="{28A0092B-C50C-407E-A947-70E740481C1C}">
                <a14:useLocalDpi xmlns:a14="http://schemas.microsoft.com/office/drawing/2010/main" val="0"/>
              </a:ext>
            </a:extLst>
          </a:blip>
          <a:stretch>
            <a:fillRect/>
          </a:stretch>
        </p:blipFill>
        <p:spPr bwMode="auto">
          <a:xfrm>
            <a:off x="770524" y="3834729"/>
            <a:ext cx="1260192" cy="6384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3" name="Picture 29"/>
          <p:cNvPicPr>
            <a:picLocks noChangeAspect="1" noChangeArrowheads="1"/>
          </p:cNvPicPr>
          <p:nvPr/>
        </p:nvPicPr>
        <p:blipFill>
          <a:blip r:embed="rId25">
            <a:extLst>
              <a:ext uri="{28A0092B-C50C-407E-A947-70E740481C1C}">
                <a14:useLocalDpi xmlns:a14="http://schemas.microsoft.com/office/drawing/2010/main" val="0"/>
              </a:ext>
            </a:extLst>
          </a:blip>
          <a:stretch>
            <a:fillRect/>
          </a:stretch>
        </p:blipFill>
        <p:spPr bwMode="auto">
          <a:xfrm>
            <a:off x="815581" y="4966286"/>
            <a:ext cx="1170079" cy="5928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4" name="Picture 30"/>
          <p:cNvPicPr>
            <a:picLocks noChangeAspect="1" noChangeArrowheads="1"/>
          </p:cNvPicPr>
          <p:nvPr/>
        </p:nvPicPr>
        <p:blipFill>
          <a:blip r:embed="rId26">
            <a:extLst>
              <a:ext uri="{28A0092B-C50C-407E-A947-70E740481C1C}">
                <a14:useLocalDpi xmlns:a14="http://schemas.microsoft.com/office/drawing/2010/main" val="0"/>
              </a:ext>
            </a:extLst>
          </a:blip>
          <a:stretch>
            <a:fillRect/>
          </a:stretch>
        </p:blipFill>
        <p:spPr bwMode="auto">
          <a:xfrm>
            <a:off x="815581" y="5534008"/>
            <a:ext cx="1170079" cy="5928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5" name="Picture 31"/>
          <p:cNvPicPr>
            <a:picLocks noChangeAspect="1" noChangeArrowheads="1"/>
          </p:cNvPicPr>
          <p:nvPr/>
        </p:nvPicPr>
        <p:blipFill>
          <a:blip r:embed="rId27">
            <a:extLst>
              <a:ext uri="{28A0092B-C50C-407E-A947-70E740481C1C}">
                <a14:useLocalDpi xmlns:a14="http://schemas.microsoft.com/office/drawing/2010/main" val="0"/>
              </a:ext>
            </a:extLst>
          </a:blip>
          <a:stretch>
            <a:fillRect/>
          </a:stretch>
        </p:blipFill>
        <p:spPr bwMode="auto">
          <a:xfrm>
            <a:off x="815581" y="6040341"/>
            <a:ext cx="1170079" cy="5928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8" name="Picture 34"/>
          <p:cNvPicPr>
            <a:picLocks noChangeAspect="1" noChangeArrowheads="1"/>
          </p:cNvPicPr>
          <p:nvPr/>
        </p:nvPicPr>
        <p:blipFill>
          <a:blip r:embed="rId28">
            <a:extLst>
              <a:ext uri="{28A0092B-C50C-407E-A947-70E740481C1C}">
                <a14:useLocalDpi xmlns:a14="http://schemas.microsoft.com/office/drawing/2010/main" val="0"/>
              </a:ext>
            </a:extLst>
          </a:blip>
          <a:stretch>
            <a:fillRect/>
          </a:stretch>
        </p:blipFill>
        <p:spPr bwMode="auto">
          <a:xfrm>
            <a:off x="3047775" y="4028252"/>
            <a:ext cx="1101864" cy="6759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AutoShape 2" descr="Image result for HPE logo"/>
          <p:cNvSpPr>
            <a:spLocks noChangeAspect="1" noChangeArrowheads="1"/>
          </p:cNvSpPr>
          <p:nvPr/>
        </p:nvSpPr>
        <p:spPr bwMode="auto">
          <a:xfrm>
            <a:off x="170271" y="-135622"/>
            <a:ext cx="304046" cy="3040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214" tIns="45607" rIns="91214" bIns="45607" numCol="1" anchor="t" anchorCtr="0" compatLnSpc="1">
            <a:prstTxWarp prst="textNoShape">
              <a:avLst/>
            </a:prstTxWarp>
          </a:bodyPr>
          <a:lstStyle/>
          <a:p>
            <a:pPr marL="0" marR="0" lvl="0" indent="0" defTabSz="1084058" eaLnBrk="1" fontAlgn="auto" latinLnBrk="0" hangingPunct="1">
              <a:lnSpc>
                <a:spcPct val="100000"/>
              </a:lnSpc>
              <a:spcBef>
                <a:spcPts val="0"/>
              </a:spcBef>
              <a:spcAft>
                <a:spcPts val="0"/>
              </a:spcAft>
              <a:buClrTx/>
              <a:buSzTx/>
              <a:buFontTx/>
              <a:buNone/>
              <a:tabLst/>
              <a:defRPr/>
            </a:pPr>
            <a:endParaRPr kumimoji="0" lang="en-US" sz="2195" b="0" i="0" u="none" strike="noStrike" kern="0" cap="none" spc="0" normalizeH="0" baseline="0" noProof="0">
              <a:ln>
                <a:noFill/>
              </a:ln>
              <a:solidFill>
                <a:srgbClr val="3D4647"/>
              </a:solidFill>
              <a:effectLst/>
              <a:uLnTx/>
              <a:uFillTx/>
              <a:latin typeface="Century Gothic" panose="020F0302020204030204"/>
            </a:endParaRPr>
          </a:p>
        </p:txBody>
      </p:sp>
      <p:pic>
        <p:nvPicPr>
          <p:cNvPr id="3" name="Picture 4" descr="http://www.brandchannel.com/wp-content/uploads/2015/11/hp-enterprise-logo.jp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97548" y="2214372"/>
            <a:ext cx="1406144" cy="937429"/>
          </a:xfrm>
          <a:prstGeom prst="rect">
            <a:avLst/>
          </a:prstGeom>
          <a:noFill/>
          <a:extLst>
            <a:ext uri="{909E8E84-426E-40DD-AFC4-6F175D3DCCD1}">
              <a14:hiddenFill xmlns:a14="http://schemas.microsoft.com/office/drawing/2010/main">
                <a:solidFill>
                  <a:srgbClr val="FFFFFF"/>
                </a:solidFill>
              </a14:hiddenFill>
            </a:ext>
          </a:extLst>
        </p:spPr>
      </p:pic>
      <p:pic>
        <p:nvPicPr>
          <p:cNvPr id="1049" name="Picture 25"/>
          <p:cNvPicPr>
            <a:picLocks noChangeAspect="1" noChangeArrowheads="1"/>
          </p:cNvPicPr>
          <p:nvPr/>
        </p:nvPicPr>
        <p:blipFill>
          <a:blip r:embed="rId30">
            <a:extLst>
              <a:ext uri="{28A0092B-C50C-407E-A947-70E740481C1C}">
                <a14:useLocalDpi xmlns:a14="http://schemas.microsoft.com/office/drawing/2010/main" val="0"/>
              </a:ext>
            </a:extLst>
          </a:blip>
          <a:stretch>
            <a:fillRect/>
          </a:stretch>
        </p:blipFill>
        <p:spPr bwMode="auto">
          <a:xfrm>
            <a:off x="815581" y="1649602"/>
            <a:ext cx="1170079" cy="546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6" descr="http://static.s-sfr.fr/media/sfr_logo2014_exe_rvb.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317522" y="2267516"/>
            <a:ext cx="633910" cy="63391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http://www.ir.telecom.pt/NR/rdonlyres/4BCC6959-B7C9-4D1A-883C-315E7FAC4C42/1433837/PoliLetra_PT_vertical.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3099336" y="1708550"/>
            <a:ext cx="1140172" cy="4070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4" descr="http://www.elp.com/content/dam/btr/SiteImages/accenture-logo.jp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5292843" y="2655093"/>
            <a:ext cx="1574865" cy="8756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8" descr="http://copelandcoaching.com/wp-content/uploads/2014/11/McKesson-logo.jp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5389131" y="3550315"/>
            <a:ext cx="1436584" cy="25103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2" descr="http://www.kazegames.com/wp-content/uploads/2016/05/aws_logo.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7792633" y="3179957"/>
            <a:ext cx="1532898" cy="67554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4" descr="https://www.thingworx.com/wp-content/uploads/logo_partner_nsw.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9470761" y="5402649"/>
            <a:ext cx="2957798" cy="1639467"/>
          </a:xfrm>
          <a:prstGeom prst="rect">
            <a:avLst/>
          </a:prstGeom>
          <a:noFill/>
          <a:extLst>
            <a:ext uri="{909E8E84-426E-40DD-AFC4-6F175D3DCCD1}">
              <a14:hiddenFill xmlns:a14="http://schemas.microsoft.com/office/drawing/2010/main">
                <a:solidFill>
                  <a:srgbClr val="FFFFFF"/>
                </a:solidFill>
              </a14:hiddenFill>
            </a:ext>
          </a:extLst>
        </p:spPr>
      </p:pic>
      <p:sp>
        <p:nvSpPr>
          <p:cNvPr id="14" name="AutoShape 26" descr="Image result for DeviceLynk"/>
          <p:cNvSpPr>
            <a:spLocks noChangeAspect="1" noChangeArrowheads="1"/>
          </p:cNvSpPr>
          <p:nvPr/>
        </p:nvSpPr>
        <p:spPr bwMode="auto">
          <a:xfrm>
            <a:off x="322294" y="16402"/>
            <a:ext cx="304046" cy="3040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214" tIns="45607" rIns="91214" bIns="45607" numCol="1" anchor="t" anchorCtr="0" compatLnSpc="1">
            <a:prstTxWarp prst="textNoShape">
              <a:avLst/>
            </a:prstTxWarp>
          </a:bodyPr>
          <a:lstStyle/>
          <a:p>
            <a:pPr marL="0" marR="0" lvl="0" indent="0" defTabSz="1084058" eaLnBrk="1" fontAlgn="auto" latinLnBrk="0" hangingPunct="1">
              <a:lnSpc>
                <a:spcPct val="100000"/>
              </a:lnSpc>
              <a:spcBef>
                <a:spcPts val="0"/>
              </a:spcBef>
              <a:spcAft>
                <a:spcPts val="0"/>
              </a:spcAft>
              <a:buClrTx/>
              <a:buSzTx/>
              <a:buFontTx/>
              <a:buNone/>
              <a:tabLst/>
              <a:defRPr/>
            </a:pPr>
            <a:endParaRPr kumimoji="0" lang="en-US" sz="2195" b="0" i="0" u="none" strike="noStrike" kern="0" cap="none" spc="0" normalizeH="0" baseline="0" noProof="0">
              <a:ln>
                <a:noFill/>
              </a:ln>
              <a:solidFill>
                <a:srgbClr val="3D4647"/>
              </a:solidFill>
              <a:effectLst/>
              <a:uLnTx/>
              <a:uFillTx/>
              <a:latin typeface="Century Gothic" panose="020F0302020204030204"/>
            </a:endParaRPr>
          </a:p>
        </p:txBody>
      </p:sp>
      <p:pic>
        <p:nvPicPr>
          <p:cNvPr id="23" name="Picture 34" descr="https://upload.wikimedia.org/wikipedia/commons/thumb/3/34/Tech_Mahindra_New_Logo.svg/200px-Tech_Mahindra_New_Logo.svg.png"/>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5509876" y="2283511"/>
            <a:ext cx="1385484" cy="39486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22262" y="4579661"/>
            <a:ext cx="1556715" cy="253878"/>
          </a:xfrm>
          <a:prstGeom prst="rect">
            <a:avLst/>
          </a:prstGeom>
        </p:spPr>
      </p:pic>
    </p:spTree>
    <p:extLst>
      <p:ext uri="{BB962C8B-B14F-4D97-AF65-F5344CB8AC3E}">
        <p14:creationId xmlns:p14="http://schemas.microsoft.com/office/powerpoint/2010/main" val="971491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fontScale="85000" lnSpcReduction="20000"/>
          </a:bodyPr>
          <a:lstStyle/>
          <a:p>
            <a:r>
              <a:rPr lang="fr-FR" dirty="0"/>
              <a:t>2</a:t>
            </a:r>
          </a:p>
        </p:txBody>
      </p:sp>
      <p:sp>
        <p:nvSpPr>
          <p:cNvPr id="4" name="Title 3"/>
          <p:cNvSpPr>
            <a:spLocks noGrp="1"/>
          </p:cNvSpPr>
          <p:nvPr>
            <p:ph type="ctrTitle"/>
          </p:nvPr>
        </p:nvSpPr>
        <p:spPr>
          <a:xfrm>
            <a:off x="2517817" y="2974746"/>
            <a:ext cx="9319456" cy="1034129"/>
          </a:xfrm>
        </p:spPr>
        <p:txBody>
          <a:bodyPr/>
          <a:lstStyle/>
          <a:p>
            <a:r>
              <a:rPr lang="en-US" dirty="0"/>
              <a:t>Value proposition in </a:t>
            </a:r>
            <a:r>
              <a:rPr lang="en-US" dirty="0" err="1"/>
              <a:t>iot</a:t>
            </a:r>
            <a:r>
              <a:rPr lang="en-US" dirty="0"/>
              <a:t> with </a:t>
            </a:r>
            <a:r>
              <a:rPr lang="en-US" dirty="0" err="1"/>
              <a:t>thingworx</a:t>
            </a:r>
            <a:endParaRPr lang="en-US" dirty="0"/>
          </a:p>
        </p:txBody>
      </p:sp>
    </p:spTree>
    <p:extLst>
      <p:ext uri="{BB962C8B-B14F-4D97-AF65-F5344CB8AC3E}">
        <p14:creationId xmlns:p14="http://schemas.microsoft.com/office/powerpoint/2010/main" val="12914088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973506"/>
            <a:ext cx="12161520" cy="5722823"/>
          </a:xfrm>
          <a:prstGeom prst="rect">
            <a:avLst/>
          </a:prstGeom>
        </p:spPr>
      </p:pic>
      <p:sp>
        <p:nvSpPr>
          <p:cNvPr id="5" name="TextBox 4"/>
          <p:cNvSpPr txBox="1"/>
          <p:nvPr/>
        </p:nvSpPr>
        <p:spPr>
          <a:xfrm>
            <a:off x="875489" y="3372653"/>
            <a:ext cx="846386" cy="261610"/>
          </a:xfrm>
          <a:prstGeom prst="rect">
            <a:avLst/>
          </a:prstGeom>
          <a:noFill/>
        </p:spPr>
        <p:txBody>
          <a:bodyPr wrap="non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FFFFFF"/>
                </a:solidFill>
                <a:effectLst/>
                <a:uLnTx/>
                <a:uFillTx/>
                <a:latin typeface="Century Gothic" panose="020F0302020204030204"/>
                <a:ea typeface="+mn-ea"/>
                <a:cs typeface="+mn-cs"/>
              </a:rPr>
              <a:t>SOURCE</a:t>
            </a:r>
          </a:p>
        </p:txBody>
      </p:sp>
      <p:sp>
        <p:nvSpPr>
          <p:cNvPr id="6" name="TextBox 5"/>
          <p:cNvSpPr txBox="1"/>
          <p:nvPr/>
        </p:nvSpPr>
        <p:spPr>
          <a:xfrm>
            <a:off x="2129924" y="3372653"/>
            <a:ext cx="1641475" cy="261610"/>
          </a:xfrm>
          <a:prstGeom prst="rect">
            <a:avLst/>
          </a:prstGeom>
          <a:noFill/>
        </p:spPr>
        <p:txBody>
          <a:bodyPr wrap="non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FFFFFF"/>
                </a:solidFill>
                <a:effectLst/>
                <a:uLnTx/>
                <a:uFillTx/>
                <a:latin typeface="Century Gothic" panose="020F0302020204030204"/>
                <a:ea typeface="+mn-ea"/>
                <a:cs typeface="+mn-cs"/>
              </a:rPr>
              <a:t>CONTEXTUALIZE</a:t>
            </a:r>
          </a:p>
        </p:txBody>
      </p:sp>
      <p:sp>
        <p:nvSpPr>
          <p:cNvPr id="8" name="TextBox 7"/>
          <p:cNvSpPr txBox="1"/>
          <p:nvPr/>
        </p:nvSpPr>
        <p:spPr>
          <a:xfrm>
            <a:off x="4227954" y="3372653"/>
            <a:ext cx="1162178" cy="261610"/>
          </a:xfrm>
          <a:prstGeom prst="rect">
            <a:avLst/>
          </a:prstGeom>
          <a:noFill/>
        </p:spPr>
        <p:txBody>
          <a:bodyPr wrap="non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FFFFFF"/>
                </a:solidFill>
                <a:effectLst/>
                <a:uLnTx/>
                <a:uFillTx/>
                <a:latin typeface="Century Gothic" panose="020F0302020204030204"/>
                <a:ea typeface="+mn-ea"/>
                <a:cs typeface="+mn-cs"/>
              </a:rPr>
              <a:t>SYNTHESIZE</a:t>
            </a:r>
          </a:p>
        </p:txBody>
      </p:sp>
      <p:sp>
        <p:nvSpPr>
          <p:cNvPr id="9" name="TextBox 8"/>
          <p:cNvSpPr txBox="1"/>
          <p:nvPr/>
        </p:nvSpPr>
        <p:spPr>
          <a:xfrm>
            <a:off x="5816459" y="3372653"/>
            <a:ext cx="1441100" cy="261610"/>
          </a:xfrm>
          <a:prstGeom prst="rect">
            <a:avLst/>
          </a:prstGeom>
          <a:noFill/>
        </p:spPr>
        <p:txBody>
          <a:bodyPr wrap="non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FFFFFF"/>
                </a:solidFill>
                <a:effectLst/>
                <a:uLnTx/>
                <a:uFillTx/>
                <a:latin typeface="Century Gothic" panose="020F0302020204030204"/>
                <a:ea typeface="+mn-ea"/>
                <a:cs typeface="+mn-cs"/>
              </a:rPr>
              <a:t>ORCHESTRATE</a:t>
            </a:r>
          </a:p>
        </p:txBody>
      </p:sp>
      <p:sp>
        <p:nvSpPr>
          <p:cNvPr id="10" name="TextBox 9"/>
          <p:cNvSpPr txBox="1"/>
          <p:nvPr/>
        </p:nvSpPr>
        <p:spPr>
          <a:xfrm>
            <a:off x="7632287" y="3372653"/>
            <a:ext cx="916918" cy="261610"/>
          </a:xfrm>
          <a:prstGeom prst="rect">
            <a:avLst/>
          </a:prstGeom>
          <a:noFill/>
        </p:spPr>
        <p:txBody>
          <a:bodyPr wrap="non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FFFFFF"/>
                </a:solidFill>
                <a:effectLst/>
                <a:uLnTx/>
                <a:uFillTx/>
                <a:latin typeface="Century Gothic" panose="020F0302020204030204"/>
                <a:ea typeface="+mn-ea"/>
                <a:cs typeface="+mn-cs"/>
              </a:rPr>
              <a:t>ENGAGE</a:t>
            </a:r>
          </a:p>
        </p:txBody>
      </p:sp>
      <p:grpSp>
        <p:nvGrpSpPr>
          <p:cNvPr id="11" name="Group 10"/>
          <p:cNvGrpSpPr/>
          <p:nvPr/>
        </p:nvGrpSpPr>
        <p:grpSpPr>
          <a:xfrm>
            <a:off x="603115" y="3344454"/>
            <a:ext cx="8175991" cy="320040"/>
            <a:chOff x="603115" y="3295814"/>
            <a:chExt cx="8175991" cy="356920"/>
          </a:xfrm>
        </p:grpSpPr>
        <p:cxnSp>
          <p:nvCxnSpPr>
            <p:cNvPr id="12" name="Straight Connector 11"/>
            <p:cNvCxnSpPr/>
            <p:nvPr/>
          </p:nvCxnSpPr>
          <p:spPr>
            <a:xfrm flipH="1">
              <a:off x="603115" y="3295814"/>
              <a:ext cx="107004" cy="3569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1855737" y="3295814"/>
              <a:ext cx="107004" cy="3569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3917011" y="3295814"/>
              <a:ext cx="107004" cy="3569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5559018" y="3295814"/>
              <a:ext cx="107004" cy="3569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420542" y="3295814"/>
              <a:ext cx="107004" cy="3569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8672102" y="3295814"/>
              <a:ext cx="107004" cy="3569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FF2B5EF4-FFF2-40B4-BE49-F238E27FC236}">
                <a16:creationId xmlns:a16="http://schemas.microsoft.com/office/drawing/2014/main" id="{4EFBCC1D-2CCE-4F0C-85B8-E4839E210DF2}"/>
              </a:ext>
            </a:extLst>
          </p:cNvPr>
          <p:cNvSpPr/>
          <p:nvPr/>
        </p:nvSpPr>
        <p:spPr>
          <a:xfrm>
            <a:off x="229074" y="49521"/>
            <a:ext cx="10659887" cy="522131"/>
          </a:xfrm>
          <a:prstGeom prst="rect">
            <a:avLst/>
          </a:prstGeom>
        </p:spPr>
        <p:txBody>
          <a:bodyPr wrap="squar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2793" b="0" i="0" u="none" strike="noStrike" kern="1200" cap="all" spc="0" normalizeH="0" baseline="0" noProof="0" dirty="0">
                <a:ln>
                  <a:noFill/>
                </a:ln>
                <a:solidFill>
                  <a:srgbClr val="6CC04A"/>
                </a:solidFill>
                <a:effectLst/>
                <a:uLnTx/>
                <a:uFillTx/>
                <a:latin typeface="Century Gothic" panose="020F0302020204030204"/>
                <a:ea typeface="+mn-ea"/>
                <a:cs typeface="+mn-cs"/>
              </a:rPr>
              <a:t>Industrial innovation platform capabilities</a:t>
            </a:r>
            <a:endParaRPr kumimoji="0" lang="en-SG" sz="22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728900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6672" y="1592"/>
          <a:ext cx="1587" cy="1587"/>
        </p:xfrm>
        <a:graphic>
          <a:graphicData uri="http://schemas.openxmlformats.org/presentationml/2006/ole">
            <mc:AlternateContent xmlns:mc="http://schemas.openxmlformats.org/markup-compatibility/2006">
              <mc:Choice xmlns:v="urn:schemas-microsoft-com:vml" Requires="v">
                <p:oleObj spid="_x0000_s59413"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6672" y="159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tabLst>
                <a:tab pos="4129088" algn="l"/>
              </a:tabLst>
            </a:pPr>
            <a:r>
              <a:rPr lang="en-US" dirty="0"/>
              <a:t>PTC </a:t>
            </a:r>
            <a:r>
              <a:rPr lang="en-US" dirty="0" err="1"/>
              <a:t>thingworx</a:t>
            </a:r>
            <a:r>
              <a:rPr lang="en-US" dirty="0"/>
              <a:t> INDUSTRIAL IOT PLATFORM</a:t>
            </a:r>
          </a:p>
        </p:txBody>
      </p:sp>
      <p:sp>
        <p:nvSpPr>
          <p:cNvPr id="50" name="Rounded Rectangle 49"/>
          <p:cNvSpPr/>
          <p:nvPr/>
        </p:nvSpPr>
        <p:spPr>
          <a:xfrm>
            <a:off x="1688531" y="2053231"/>
            <a:ext cx="8829451" cy="2838349"/>
          </a:xfrm>
          <a:prstGeom prst="round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09D139"/>
                </a:solidFill>
              </a:rPr>
              <a:t>ThingWorx</a:t>
            </a:r>
            <a:r>
              <a:rPr lang="en-US" b="1" dirty="0">
                <a:solidFill>
                  <a:srgbClr val="FFFFFF"/>
                </a:solidFill>
              </a:rPr>
              <a:t> Foundation</a:t>
            </a:r>
          </a:p>
        </p:txBody>
      </p:sp>
      <p:grpSp>
        <p:nvGrpSpPr>
          <p:cNvPr id="7" name="Group 6">
            <a:extLst>
              <a:ext uri="{FF2B5EF4-FFF2-40B4-BE49-F238E27FC236}">
                <a16:creationId xmlns:a16="http://schemas.microsoft.com/office/drawing/2014/main" id="{11B2CBEA-574F-4EA9-9881-3660E3C72E08}"/>
              </a:ext>
            </a:extLst>
          </p:cNvPr>
          <p:cNvGrpSpPr/>
          <p:nvPr/>
        </p:nvGrpSpPr>
        <p:grpSpPr>
          <a:xfrm>
            <a:off x="1891209" y="4061058"/>
            <a:ext cx="8407701" cy="652834"/>
            <a:chOff x="1891209" y="4061058"/>
            <a:chExt cx="8407701" cy="652834"/>
          </a:xfrm>
        </p:grpSpPr>
        <p:sp>
          <p:nvSpPr>
            <p:cNvPr id="106" name="Rounded Rectangle 105"/>
            <p:cNvSpPr/>
            <p:nvPr/>
          </p:nvSpPr>
          <p:spPr>
            <a:xfrm>
              <a:off x="1891209" y="4061058"/>
              <a:ext cx="8407701" cy="652834"/>
            </a:xfrm>
            <a:prstGeom prst="roundRect">
              <a:avLst/>
            </a:prstGeom>
            <a:solidFill>
              <a:schemeClr val="bg1">
                <a:lumMod val="6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Communication Services</a:t>
              </a:r>
            </a:p>
          </p:txBody>
        </p:sp>
        <p:sp>
          <p:nvSpPr>
            <p:cNvPr id="108" name="Rounded Rectangle 107"/>
            <p:cNvSpPr/>
            <p:nvPr/>
          </p:nvSpPr>
          <p:spPr>
            <a:xfrm>
              <a:off x="4374461" y="4229088"/>
              <a:ext cx="1370480" cy="3229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D4647"/>
                  </a:solidFill>
                </a:rPr>
                <a:t>EMS</a:t>
              </a:r>
            </a:p>
          </p:txBody>
        </p:sp>
        <p:sp>
          <p:nvSpPr>
            <p:cNvPr id="109" name="Rounded Rectangle 108"/>
            <p:cNvSpPr/>
            <p:nvPr/>
          </p:nvSpPr>
          <p:spPr>
            <a:xfrm>
              <a:off x="5785761" y="4232172"/>
              <a:ext cx="1371600" cy="3229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D4647"/>
                  </a:solidFill>
                </a:rPr>
                <a:t>SDKs</a:t>
              </a:r>
            </a:p>
          </p:txBody>
        </p:sp>
        <p:sp>
          <p:nvSpPr>
            <p:cNvPr id="110" name="Rounded Rectangle 109"/>
            <p:cNvSpPr/>
            <p:nvPr/>
          </p:nvSpPr>
          <p:spPr>
            <a:xfrm>
              <a:off x="7198181" y="4235257"/>
              <a:ext cx="1371600" cy="32294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rgbClr val="3D4647"/>
                  </a:solidFill>
                </a:rPr>
                <a:t>KepServerEX</a:t>
              </a:r>
              <a:endParaRPr lang="en-US" sz="1400" b="1" dirty="0">
                <a:solidFill>
                  <a:srgbClr val="3D4647"/>
                </a:solidFill>
              </a:endParaRPr>
            </a:p>
          </p:txBody>
        </p:sp>
        <p:sp>
          <p:nvSpPr>
            <p:cNvPr id="112" name="Rounded Rectangle 111"/>
            <p:cNvSpPr/>
            <p:nvPr/>
          </p:nvSpPr>
          <p:spPr>
            <a:xfrm>
              <a:off x="8610602" y="4226004"/>
              <a:ext cx="1371600" cy="3229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D4647"/>
                  </a:solidFill>
                </a:rPr>
                <a:t>Extensions</a:t>
              </a:r>
            </a:p>
          </p:txBody>
        </p:sp>
      </p:grpSp>
      <p:grpSp>
        <p:nvGrpSpPr>
          <p:cNvPr id="6" name="Group 5">
            <a:extLst>
              <a:ext uri="{FF2B5EF4-FFF2-40B4-BE49-F238E27FC236}">
                <a16:creationId xmlns:a16="http://schemas.microsoft.com/office/drawing/2014/main" id="{C7417CE9-2ABB-4D8B-9776-76F0FD6DDDC4}"/>
              </a:ext>
            </a:extLst>
          </p:cNvPr>
          <p:cNvGrpSpPr/>
          <p:nvPr/>
        </p:nvGrpSpPr>
        <p:grpSpPr>
          <a:xfrm>
            <a:off x="1891209" y="3339995"/>
            <a:ext cx="8407701" cy="652834"/>
            <a:chOff x="1891209" y="3339995"/>
            <a:chExt cx="8407701" cy="652834"/>
          </a:xfrm>
        </p:grpSpPr>
        <p:sp>
          <p:nvSpPr>
            <p:cNvPr id="111" name="Rounded Rectangle 110"/>
            <p:cNvSpPr/>
            <p:nvPr/>
          </p:nvSpPr>
          <p:spPr>
            <a:xfrm>
              <a:off x="1891209" y="3339995"/>
              <a:ext cx="8407701" cy="652834"/>
            </a:xfrm>
            <a:prstGeom prst="roundRect">
              <a:avLst/>
            </a:prstGeom>
            <a:solidFill>
              <a:schemeClr val="bg1">
                <a:lumMod val="6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Platform Services</a:t>
              </a:r>
            </a:p>
          </p:txBody>
        </p:sp>
        <p:sp>
          <p:nvSpPr>
            <p:cNvPr id="113" name="Rounded Rectangle 112"/>
            <p:cNvSpPr/>
            <p:nvPr/>
          </p:nvSpPr>
          <p:spPr>
            <a:xfrm>
              <a:off x="4374461" y="3528835"/>
              <a:ext cx="1751663" cy="3229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D4647"/>
                  </a:solidFill>
                </a:rPr>
                <a:t>Security</a:t>
              </a:r>
            </a:p>
          </p:txBody>
        </p:sp>
        <p:sp>
          <p:nvSpPr>
            <p:cNvPr id="114" name="Rounded Rectangle 113"/>
            <p:cNvSpPr/>
            <p:nvPr/>
          </p:nvSpPr>
          <p:spPr>
            <a:xfrm>
              <a:off x="6299556" y="3538724"/>
              <a:ext cx="1755648" cy="3229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D4647"/>
                  </a:solidFill>
                </a:rPr>
                <a:t>Logic</a:t>
              </a:r>
            </a:p>
          </p:txBody>
        </p:sp>
        <p:sp>
          <p:nvSpPr>
            <p:cNvPr id="115" name="Rounded Rectangle 114"/>
            <p:cNvSpPr/>
            <p:nvPr/>
          </p:nvSpPr>
          <p:spPr>
            <a:xfrm>
              <a:off x="8229375" y="3528835"/>
              <a:ext cx="1754910" cy="3229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D4647"/>
                  </a:solidFill>
                </a:rPr>
                <a:t>Storage</a:t>
              </a:r>
            </a:p>
          </p:txBody>
        </p:sp>
      </p:grpSp>
      <p:grpSp>
        <p:nvGrpSpPr>
          <p:cNvPr id="5" name="Group 4">
            <a:extLst>
              <a:ext uri="{FF2B5EF4-FFF2-40B4-BE49-F238E27FC236}">
                <a16:creationId xmlns:a16="http://schemas.microsoft.com/office/drawing/2014/main" id="{7725089E-FF5E-4CE7-987F-CBC7AECFADD0}"/>
              </a:ext>
            </a:extLst>
          </p:cNvPr>
          <p:cNvGrpSpPr/>
          <p:nvPr/>
        </p:nvGrpSpPr>
        <p:grpSpPr>
          <a:xfrm>
            <a:off x="1871188" y="2627383"/>
            <a:ext cx="8407700" cy="652834"/>
            <a:chOff x="1871188" y="2627383"/>
            <a:chExt cx="8407700" cy="652834"/>
          </a:xfrm>
        </p:grpSpPr>
        <p:sp>
          <p:nvSpPr>
            <p:cNvPr id="116" name="Rounded Rectangle 115"/>
            <p:cNvSpPr/>
            <p:nvPr/>
          </p:nvSpPr>
          <p:spPr>
            <a:xfrm>
              <a:off x="1871188" y="2627383"/>
              <a:ext cx="8407700" cy="652834"/>
            </a:xfrm>
            <a:prstGeom prst="roundRect">
              <a:avLst/>
            </a:prstGeom>
            <a:solidFill>
              <a:schemeClr val="bg1">
                <a:lumMod val="6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Enablement Services</a:t>
              </a:r>
            </a:p>
          </p:txBody>
        </p:sp>
        <p:sp>
          <p:nvSpPr>
            <p:cNvPr id="117" name="Rounded Rectangle 116"/>
            <p:cNvSpPr/>
            <p:nvPr/>
          </p:nvSpPr>
          <p:spPr>
            <a:xfrm>
              <a:off x="4374461" y="2821331"/>
              <a:ext cx="1751663" cy="3229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D4647"/>
                  </a:solidFill>
                </a:rPr>
                <a:t>Composer</a:t>
              </a:r>
            </a:p>
          </p:txBody>
        </p:sp>
        <p:sp>
          <p:nvSpPr>
            <p:cNvPr id="118" name="Rounded Rectangle 117"/>
            <p:cNvSpPr/>
            <p:nvPr/>
          </p:nvSpPr>
          <p:spPr>
            <a:xfrm>
              <a:off x="6279537" y="2818058"/>
              <a:ext cx="1755648" cy="3229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D4647"/>
                  </a:solidFill>
                </a:rPr>
                <a:t>Mashup Builder</a:t>
              </a:r>
            </a:p>
          </p:txBody>
        </p:sp>
        <p:sp>
          <p:nvSpPr>
            <p:cNvPr id="119" name="Rounded Rectangle 118"/>
            <p:cNvSpPr/>
            <p:nvPr/>
          </p:nvSpPr>
          <p:spPr>
            <a:xfrm>
              <a:off x="8208620" y="2821331"/>
              <a:ext cx="1755648" cy="3229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D4647"/>
                  </a:solidFill>
                </a:rPr>
                <a:t>REST API</a:t>
              </a:r>
            </a:p>
          </p:txBody>
        </p:sp>
      </p:grpSp>
      <p:sp>
        <p:nvSpPr>
          <p:cNvPr id="120" name="Rounded Rectangle 119"/>
          <p:cNvSpPr/>
          <p:nvPr/>
        </p:nvSpPr>
        <p:spPr>
          <a:xfrm>
            <a:off x="9128093" y="990604"/>
            <a:ext cx="1389888" cy="985045"/>
          </a:xfrm>
          <a:prstGeom prst="roundRect">
            <a:avLst/>
          </a:prstGeom>
          <a:solidFill>
            <a:srgbClr val="00B0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solidFill>
                  <a:srgbClr val="FFFFFF"/>
                </a:solidFill>
              </a:rPr>
              <a:t>ThingWorx</a:t>
            </a:r>
            <a:r>
              <a:rPr lang="en-US" sz="1600" b="1" dirty="0">
                <a:solidFill>
                  <a:srgbClr val="FFFFFF"/>
                </a:solidFill>
              </a:rPr>
              <a:t> Utilities</a:t>
            </a:r>
          </a:p>
        </p:txBody>
      </p:sp>
      <p:grpSp>
        <p:nvGrpSpPr>
          <p:cNvPr id="9" name="Group 8">
            <a:extLst>
              <a:ext uri="{FF2B5EF4-FFF2-40B4-BE49-F238E27FC236}">
                <a16:creationId xmlns:a16="http://schemas.microsoft.com/office/drawing/2014/main" id="{A7019D41-726E-4763-9888-5715070E5B42}"/>
              </a:ext>
            </a:extLst>
          </p:cNvPr>
          <p:cNvGrpSpPr/>
          <p:nvPr/>
        </p:nvGrpSpPr>
        <p:grpSpPr>
          <a:xfrm>
            <a:off x="10616631" y="2047499"/>
            <a:ext cx="1389888" cy="2838350"/>
            <a:chOff x="10616631" y="2047499"/>
            <a:chExt cx="1389888" cy="2838350"/>
          </a:xfrm>
        </p:grpSpPr>
        <p:sp>
          <p:nvSpPr>
            <p:cNvPr id="122" name="Rounded Rectangle 121"/>
            <p:cNvSpPr/>
            <p:nvPr/>
          </p:nvSpPr>
          <p:spPr>
            <a:xfrm>
              <a:off x="10616631" y="2047499"/>
              <a:ext cx="1389888" cy="2838350"/>
            </a:xfrm>
            <a:prstGeom prst="roundRect">
              <a:avLst/>
            </a:prstGeom>
            <a:solidFill>
              <a:srgbClr val="09D13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dirty="0" err="1">
                  <a:solidFill>
                    <a:srgbClr val="FFFFFF"/>
                  </a:solidFill>
                </a:rPr>
                <a:t>Thingworx</a:t>
              </a:r>
              <a:r>
                <a:rPr lang="en-US" sz="1600" b="1" dirty="0">
                  <a:solidFill>
                    <a:srgbClr val="FFFFFF"/>
                  </a:solidFill>
                </a:rPr>
                <a:t> </a:t>
              </a:r>
              <a:r>
                <a:rPr lang="en-US" sz="1400" b="1" dirty="0">
                  <a:solidFill>
                    <a:srgbClr val="FFFFFF"/>
                  </a:solidFill>
                </a:rPr>
                <a:t>Augmented Reality</a:t>
              </a:r>
            </a:p>
            <a:p>
              <a:pPr algn="ctr"/>
              <a:endParaRPr lang="en-US" sz="1600" b="1" dirty="0">
                <a:solidFill>
                  <a:srgbClr val="FFFFFF"/>
                </a:solidFill>
              </a:endParaRPr>
            </a:p>
          </p:txBody>
        </p:sp>
        <p:sp>
          <p:nvSpPr>
            <p:cNvPr id="123" name="Rounded Rectangle 122"/>
            <p:cNvSpPr/>
            <p:nvPr/>
          </p:nvSpPr>
          <p:spPr>
            <a:xfrm>
              <a:off x="10779008" y="3142104"/>
              <a:ext cx="1065138" cy="502920"/>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rPr>
                <a:t>Studio</a:t>
              </a:r>
            </a:p>
          </p:txBody>
        </p:sp>
        <p:sp>
          <p:nvSpPr>
            <p:cNvPr id="124" name="Rounded Rectangle 123"/>
            <p:cNvSpPr/>
            <p:nvPr/>
          </p:nvSpPr>
          <p:spPr>
            <a:xfrm>
              <a:off x="10786842" y="3718168"/>
              <a:ext cx="1065138" cy="502920"/>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rPr>
                <a:t>View</a:t>
              </a:r>
            </a:p>
          </p:txBody>
        </p:sp>
        <p:sp>
          <p:nvSpPr>
            <p:cNvPr id="125" name="Rounded Rectangle 124"/>
            <p:cNvSpPr/>
            <p:nvPr/>
          </p:nvSpPr>
          <p:spPr>
            <a:xfrm>
              <a:off x="10779008" y="4294232"/>
              <a:ext cx="1065138" cy="502920"/>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rPr>
                <a:t>Experience</a:t>
              </a:r>
            </a:p>
          </p:txBody>
        </p:sp>
      </p:grpSp>
      <p:grpSp>
        <p:nvGrpSpPr>
          <p:cNvPr id="8" name="Group 7">
            <a:extLst>
              <a:ext uri="{FF2B5EF4-FFF2-40B4-BE49-F238E27FC236}">
                <a16:creationId xmlns:a16="http://schemas.microsoft.com/office/drawing/2014/main" id="{2EC73A90-3EEA-4972-8AC1-6C06452C4684}"/>
              </a:ext>
            </a:extLst>
          </p:cNvPr>
          <p:cNvGrpSpPr/>
          <p:nvPr/>
        </p:nvGrpSpPr>
        <p:grpSpPr>
          <a:xfrm>
            <a:off x="194551" y="2053231"/>
            <a:ext cx="1388983" cy="2838349"/>
            <a:chOff x="194551" y="2053231"/>
            <a:chExt cx="1388983" cy="2838349"/>
          </a:xfrm>
        </p:grpSpPr>
        <p:sp>
          <p:nvSpPr>
            <p:cNvPr id="107" name="Rounded Rectangle 106"/>
            <p:cNvSpPr/>
            <p:nvPr/>
          </p:nvSpPr>
          <p:spPr>
            <a:xfrm>
              <a:off x="194551" y="2053231"/>
              <a:ext cx="1388983" cy="2838349"/>
            </a:xfrm>
            <a:prstGeom prst="roundRect">
              <a:avLst/>
            </a:prstGeom>
            <a:solidFill>
              <a:srgbClr val="B73D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rgbClr val="FFFFFF"/>
                  </a:solidFill>
                </a:rPr>
                <a:t>ThingWorx </a:t>
              </a:r>
            </a:p>
            <a:p>
              <a:pPr algn="ctr"/>
              <a:r>
                <a:rPr lang="en-US" sz="1600" b="1" dirty="0">
                  <a:solidFill>
                    <a:srgbClr val="FFFFFF"/>
                  </a:solidFill>
                </a:rPr>
                <a:t>Analytics</a:t>
              </a:r>
            </a:p>
          </p:txBody>
        </p:sp>
        <p:sp>
          <p:nvSpPr>
            <p:cNvPr id="126" name="Rounded Rectangle 125"/>
            <p:cNvSpPr/>
            <p:nvPr/>
          </p:nvSpPr>
          <p:spPr>
            <a:xfrm>
              <a:off x="355577" y="3452382"/>
              <a:ext cx="1065138" cy="498957"/>
            </a:xfrm>
            <a:prstGeom prst="roundRect">
              <a:avLst/>
            </a:prstGeom>
            <a:solidFill>
              <a:srgbClr val="B274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rPr>
                <a:t>Predictor</a:t>
              </a:r>
            </a:p>
          </p:txBody>
        </p:sp>
        <p:sp>
          <p:nvSpPr>
            <p:cNvPr id="127" name="Rounded Rectangle 126"/>
            <p:cNvSpPr/>
            <p:nvPr/>
          </p:nvSpPr>
          <p:spPr>
            <a:xfrm>
              <a:off x="355577" y="2862755"/>
              <a:ext cx="1065138" cy="498957"/>
            </a:xfrm>
            <a:prstGeom prst="roundRect">
              <a:avLst/>
            </a:prstGeom>
            <a:solidFill>
              <a:srgbClr val="B274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rPr>
                <a:t>Watcher</a:t>
              </a:r>
            </a:p>
          </p:txBody>
        </p:sp>
        <p:sp>
          <p:nvSpPr>
            <p:cNvPr id="128" name="Rounded Rectangle 127"/>
            <p:cNvSpPr/>
            <p:nvPr/>
          </p:nvSpPr>
          <p:spPr>
            <a:xfrm>
              <a:off x="355577" y="4042015"/>
              <a:ext cx="1065138" cy="498957"/>
            </a:xfrm>
            <a:prstGeom prst="roundRect">
              <a:avLst/>
            </a:prstGeom>
            <a:solidFill>
              <a:srgbClr val="B274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rPr>
                <a:t>Optimizer</a:t>
              </a:r>
            </a:p>
          </p:txBody>
        </p:sp>
      </p:grpSp>
      <p:grpSp>
        <p:nvGrpSpPr>
          <p:cNvPr id="10" name="Group 9">
            <a:extLst>
              <a:ext uri="{FF2B5EF4-FFF2-40B4-BE49-F238E27FC236}">
                <a16:creationId xmlns:a16="http://schemas.microsoft.com/office/drawing/2014/main" id="{B49C5259-3AC7-4AD2-A93A-977027CE623B}"/>
              </a:ext>
            </a:extLst>
          </p:cNvPr>
          <p:cNvGrpSpPr/>
          <p:nvPr/>
        </p:nvGrpSpPr>
        <p:grpSpPr>
          <a:xfrm>
            <a:off x="238078" y="995898"/>
            <a:ext cx="8829451" cy="979751"/>
            <a:chOff x="1688529" y="995898"/>
            <a:chExt cx="7328312" cy="979751"/>
          </a:xfrm>
        </p:grpSpPr>
        <p:sp>
          <p:nvSpPr>
            <p:cNvPr id="121" name="Rounded Rectangle 120"/>
            <p:cNvSpPr/>
            <p:nvPr/>
          </p:nvSpPr>
          <p:spPr>
            <a:xfrm>
              <a:off x="1688529" y="995898"/>
              <a:ext cx="7328312" cy="979751"/>
            </a:xfrm>
            <a:prstGeom prst="round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3D4647"/>
                  </a:solidFill>
                </a:rPr>
                <a:t>Applications</a:t>
              </a:r>
            </a:p>
          </p:txBody>
        </p:sp>
        <p:sp>
          <p:nvSpPr>
            <p:cNvPr id="129" name="Rounded Rectangle 128"/>
            <p:cNvSpPr/>
            <p:nvPr/>
          </p:nvSpPr>
          <p:spPr>
            <a:xfrm>
              <a:off x="1891206" y="1448123"/>
              <a:ext cx="2269006" cy="368495"/>
            </a:xfrm>
            <a:prstGeom prst="round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rgbClr val="FFFFFF"/>
                  </a:solidFill>
                </a:rPr>
                <a:t>Engineering</a:t>
              </a:r>
            </a:p>
          </p:txBody>
        </p:sp>
        <p:sp>
          <p:nvSpPr>
            <p:cNvPr id="130" name="Rounded Rectangle 129"/>
            <p:cNvSpPr/>
            <p:nvPr/>
          </p:nvSpPr>
          <p:spPr>
            <a:xfrm>
              <a:off x="4232223" y="1447328"/>
              <a:ext cx="2277251" cy="371446"/>
            </a:xfrm>
            <a:prstGeom prst="round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b="1" dirty="0">
                  <a:solidFill>
                    <a:srgbClr val="FFFFFF"/>
                  </a:solidFill>
                </a:rPr>
                <a:t>Manufacturing &amp; Supply Chain</a:t>
              </a:r>
            </a:p>
          </p:txBody>
        </p:sp>
        <p:sp>
          <p:nvSpPr>
            <p:cNvPr id="131" name="Rounded Rectangle 130"/>
            <p:cNvSpPr/>
            <p:nvPr/>
          </p:nvSpPr>
          <p:spPr>
            <a:xfrm>
              <a:off x="6587742" y="1448123"/>
              <a:ext cx="2246103" cy="368495"/>
            </a:xfrm>
            <a:prstGeom prst="round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rgbClr val="FFFFFF"/>
                  </a:solidFill>
                </a:rPr>
                <a:t>Services</a:t>
              </a:r>
            </a:p>
          </p:txBody>
        </p:sp>
      </p:grpSp>
      <p:grpSp>
        <p:nvGrpSpPr>
          <p:cNvPr id="61" name="Group 60"/>
          <p:cNvGrpSpPr/>
          <p:nvPr/>
        </p:nvGrpSpPr>
        <p:grpSpPr>
          <a:xfrm>
            <a:off x="306966" y="4953000"/>
            <a:ext cx="11618660" cy="1539370"/>
            <a:chOff x="306966" y="4953000"/>
            <a:chExt cx="11618660" cy="1539370"/>
          </a:xfrm>
        </p:grpSpPr>
        <p:sp>
          <p:nvSpPr>
            <p:cNvPr id="62" name="Rectangle 61"/>
            <p:cNvSpPr/>
            <p:nvPr/>
          </p:nvSpPr>
          <p:spPr>
            <a:xfrm>
              <a:off x="306966" y="5124009"/>
              <a:ext cx="11618660" cy="1368361"/>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ERP</a:t>
              </a:r>
            </a:p>
          </p:txBody>
        </p:sp>
        <p:pic>
          <p:nvPicPr>
            <p:cNvPr id="69" name="Picture 68"/>
            <p:cNvPicPr>
              <a:picLocks noChangeAspect="1"/>
            </p:cNvPicPr>
            <p:nvPr/>
          </p:nvPicPr>
          <p:blipFill>
            <a:blip r:embed="rId7" cstate="print">
              <a:lum bright="70000" contrast="-70000"/>
              <a:extLst>
                <a:ext uri="{28A0092B-C50C-407E-A947-70E740481C1C}">
                  <a14:useLocalDpi xmlns:a14="http://schemas.microsoft.com/office/drawing/2010/main" val="0"/>
                </a:ext>
              </a:extLst>
            </a:blip>
            <a:stretch>
              <a:fillRect/>
            </a:stretch>
          </p:blipFill>
          <p:spPr>
            <a:xfrm>
              <a:off x="2500688" y="5537462"/>
              <a:ext cx="271849" cy="436330"/>
            </a:xfrm>
            <a:prstGeom prst="rect">
              <a:avLst/>
            </a:prstGeom>
          </p:spPr>
        </p:pic>
        <p:sp>
          <p:nvSpPr>
            <p:cNvPr id="70" name="TextBox 69"/>
            <p:cNvSpPr txBox="1"/>
            <p:nvPr/>
          </p:nvSpPr>
          <p:spPr>
            <a:xfrm>
              <a:off x="2510020" y="6032956"/>
              <a:ext cx="309380" cy="215444"/>
            </a:xfrm>
            <a:prstGeom prst="rect">
              <a:avLst/>
            </a:prstGeom>
            <a:noFill/>
          </p:spPr>
          <p:txBody>
            <a:bodyPr wrap="none" lIns="0" tIns="0" rIns="0" bIns="0" rtlCol="0">
              <a:spAutoFit/>
            </a:bodyPr>
            <a:lstStyle/>
            <a:p>
              <a:pPr algn="ctr"/>
              <a:r>
                <a:rPr lang="en-US" sz="1400" dirty="0">
                  <a:solidFill>
                    <a:srgbClr val="3D4647"/>
                  </a:solidFill>
                </a:rPr>
                <a:t>ERP</a:t>
              </a:r>
            </a:p>
          </p:txBody>
        </p:sp>
        <p:sp>
          <p:nvSpPr>
            <p:cNvPr id="71" name="TextBox 70"/>
            <p:cNvSpPr txBox="1"/>
            <p:nvPr/>
          </p:nvSpPr>
          <p:spPr>
            <a:xfrm>
              <a:off x="3308947" y="6032956"/>
              <a:ext cx="351058" cy="215444"/>
            </a:xfrm>
            <a:prstGeom prst="rect">
              <a:avLst/>
            </a:prstGeom>
            <a:noFill/>
          </p:spPr>
          <p:txBody>
            <a:bodyPr wrap="none" lIns="0" tIns="0" rIns="0" bIns="0" rtlCol="0">
              <a:spAutoFit/>
            </a:bodyPr>
            <a:lstStyle/>
            <a:p>
              <a:pPr algn="ctr"/>
              <a:r>
                <a:rPr lang="en-US" sz="1400" dirty="0">
                  <a:solidFill>
                    <a:srgbClr val="3D4647"/>
                  </a:solidFill>
                </a:rPr>
                <a:t>MES</a:t>
              </a:r>
            </a:p>
          </p:txBody>
        </p:sp>
        <p:sp>
          <p:nvSpPr>
            <p:cNvPr id="72" name="TextBox 71"/>
            <p:cNvSpPr txBox="1"/>
            <p:nvPr/>
          </p:nvSpPr>
          <p:spPr>
            <a:xfrm>
              <a:off x="4074517" y="6032956"/>
              <a:ext cx="634790" cy="215444"/>
            </a:xfrm>
            <a:prstGeom prst="rect">
              <a:avLst/>
            </a:prstGeom>
            <a:noFill/>
          </p:spPr>
          <p:txBody>
            <a:bodyPr wrap="none" lIns="0" tIns="0" rIns="0" bIns="0" rtlCol="0">
              <a:spAutoFit/>
            </a:bodyPr>
            <a:lstStyle/>
            <a:p>
              <a:pPr algn="ctr"/>
              <a:r>
                <a:rPr lang="en-US" sz="1400" dirty="0">
                  <a:solidFill>
                    <a:srgbClr val="3D4647"/>
                  </a:solidFill>
                </a:rPr>
                <a:t>SCADA</a:t>
              </a:r>
            </a:p>
          </p:txBody>
        </p:sp>
        <p:pic>
          <p:nvPicPr>
            <p:cNvPr id="73" name="Picture 72"/>
            <p:cNvPicPr>
              <a:picLocks noChangeAspect="1"/>
            </p:cNvPicPr>
            <p:nvPr/>
          </p:nvPicPr>
          <p:blipFill>
            <a:blip r:embed="rId8">
              <a:lum bright="70000" contrast="-70000"/>
              <a:extLst>
                <a:ext uri="{28A0092B-C50C-407E-A947-70E740481C1C}">
                  <a14:useLocalDpi xmlns:a14="http://schemas.microsoft.com/office/drawing/2010/main" val="0"/>
                </a:ext>
              </a:extLst>
            </a:blip>
            <a:stretch>
              <a:fillRect/>
            </a:stretch>
          </p:blipFill>
          <p:spPr>
            <a:xfrm>
              <a:off x="3257058" y="5539997"/>
              <a:ext cx="412304" cy="431260"/>
            </a:xfrm>
            <a:prstGeom prst="rect">
              <a:avLst/>
            </a:prstGeom>
          </p:spPr>
        </p:pic>
        <p:pic>
          <p:nvPicPr>
            <p:cNvPr id="74" name="Picture 73"/>
            <p:cNvPicPr>
              <a:picLocks noChangeAspect="1"/>
            </p:cNvPicPr>
            <p:nvPr/>
          </p:nvPicPr>
          <p:blipFill>
            <a:blip r:embed="rId9">
              <a:lum bright="70000" contrast="-70000"/>
              <a:extLst>
                <a:ext uri="{28A0092B-C50C-407E-A947-70E740481C1C}">
                  <a14:useLocalDpi xmlns:a14="http://schemas.microsoft.com/office/drawing/2010/main" val="0"/>
                </a:ext>
              </a:extLst>
            </a:blip>
            <a:stretch>
              <a:fillRect/>
            </a:stretch>
          </p:blipFill>
          <p:spPr>
            <a:xfrm>
              <a:off x="4153882" y="5532724"/>
              <a:ext cx="458792" cy="445807"/>
            </a:xfrm>
            <a:prstGeom prst="rect">
              <a:avLst/>
            </a:prstGeom>
          </p:spPr>
        </p:pic>
        <p:sp>
          <p:nvSpPr>
            <p:cNvPr id="75" name="TextBox 74"/>
            <p:cNvSpPr txBox="1"/>
            <p:nvPr/>
          </p:nvSpPr>
          <p:spPr>
            <a:xfrm>
              <a:off x="5160313" y="6032956"/>
              <a:ext cx="416782" cy="215444"/>
            </a:xfrm>
            <a:prstGeom prst="rect">
              <a:avLst/>
            </a:prstGeom>
            <a:noFill/>
          </p:spPr>
          <p:txBody>
            <a:bodyPr wrap="none" lIns="0" tIns="0" rIns="0" bIns="0" rtlCol="0">
              <a:spAutoFit/>
            </a:bodyPr>
            <a:lstStyle/>
            <a:p>
              <a:pPr algn="ctr"/>
              <a:r>
                <a:rPr lang="en-US" sz="1400" dirty="0">
                  <a:solidFill>
                    <a:srgbClr val="3D4647"/>
                  </a:solidFill>
                </a:rPr>
                <a:t>Fleet</a:t>
              </a:r>
            </a:p>
          </p:txBody>
        </p:sp>
        <p:sp>
          <p:nvSpPr>
            <p:cNvPr id="76" name="TextBox 75"/>
            <p:cNvSpPr txBox="1"/>
            <p:nvPr/>
          </p:nvSpPr>
          <p:spPr>
            <a:xfrm>
              <a:off x="1469226" y="6032956"/>
              <a:ext cx="647614" cy="215444"/>
            </a:xfrm>
            <a:prstGeom prst="rect">
              <a:avLst/>
            </a:prstGeom>
            <a:noFill/>
          </p:spPr>
          <p:txBody>
            <a:bodyPr wrap="none" lIns="0" tIns="0" rIns="0" bIns="0" rtlCol="0">
              <a:spAutoFit/>
            </a:bodyPr>
            <a:lstStyle/>
            <a:p>
              <a:pPr algn="ctr"/>
              <a:r>
                <a:rPr lang="en-US" sz="1400" dirty="0">
                  <a:solidFill>
                    <a:srgbClr val="3D4647"/>
                  </a:solidFill>
                </a:rPr>
                <a:t>Vendor</a:t>
              </a:r>
            </a:p>
          </p:txBody>
        </p:sp>
        <p:sp>
          <p:nvSpPr>
            <p:cNvPr id="77" name="TextBox 76"/>
            <p:cNvSpPr txBox="1"/>
            <p:nvPr/>
          </p:nvSpPr>
          <p:spPr>
            <a:xfrm>
              <a:off x="590793" y="6032956"/>
              <a:ext cx="411972" cy="215444"/>
            </a:xfrm>
            <a:prstGeom prst="rect">
              <a:avLst/>
            </a:prstGeom>
            <a:noFill/>
          </p:spPr>
          <p:txBody>
            <a:bodyPr wrap="none" lIns="0" tIns="0" rIns="0" bIns="0" rtlCol="0">
              <a:spAutoFit/>
            </a:bodyPr>
            <a:lstStyle/>
            <a:p>
              <a:pPr algn="ctr"/>
              <a:r>
                <a:rPr lang="en-US" sz="1400" dirty="0">
                  <a:solidFill>
                    <a:srgbClr val="3D4647"/>
                  </a:solidFill>
                </a:rPr>
                <a:t>Web</a:t>
              </a:r>
            </a:p>
          </p:txBody>
        </p:sp>
        <p:pic>
          <p:nvPicPr>
            <p:cNvPr id="78" name="Picture 77"/>
            <p:cNvPicPr>
              <a:picLocks noChangeAspect="1"/>
            </p:cNvPicPr>
            <p:nvPr/>
          </p:nvPicPr>
          <p:blipFill>
            <a:blip r:embed="rId10">
              <a:lum bright="70000" contrast="-70000"/>
              <a:extLst>
                <a:ext uri="{28A0092B-C50C-407E-A947-70E740481C1C}">
                  <a14:useLocalDpi xmlns:a14="http://schemas.microsoft.com/office/drawing/2010/main" val="0"/>
                </a:ext>
              </a:extLst>
            </a:blip>
            <a:stretch>
              <a:fillRect/>
            </a:stretch>
          </p:blipFill>
          <p:spPr>
            <a:xfrm>
              <a:off x="1568332" y="5438468"/>
              <a:ext cx="430824" cy="571780"/>
            </a:xfrm>
            <a:prstGeom prst="rect">
              <a:avLst/>
            </a:prstGeom>
          </p:spPr>
        </p:pic>
        <p:pic>
          <p:nvPicPr>
            <p:cNvPr id="79" name="Picture 78"/>
            <p:cNvPicPr>
              <a:picLocks noChangeAspect="1"/>
            </p:cNvPicPr>
            <p:nvPr/>
          </p:nvPicPr>
          <p:blipFill>
            <a:blip r:embed="rId11">
              <a:lum bright="70000" contrast="-70000"/>
              <a:extLst>
                <a:ext uri="{28A0092B-C50C-407E-A947-70E740481C1C}">
                  <a14:useLocalDpi xmlns:a14="http://schemas.microsoft.com/office/drawing/2010/main" val="0"/>
                </a:ext>
              </a:extLst>
            </a:blip>
            <a:stretch>
              <a:fillRect/>
            </a:stretch>
          </p:blipFill>
          <p:spPr>
            <a:xfrm>
              <a:off x="5026755" y="5638801"/>
              <a:ext cx="683895" cy="330584"/>
            </a:xfrm>
            <a:prstGeom prst="rect">
              <a:avLst/>
            </a:prstGeom>
          </p:spPr>
        </p:pic>
        <p:pic>
          <p:nvPicPr>
            <p:cNvPr id="80" name="Picture 79"/>
            <p:cNvPicPr>
              <a:picLocks noChangeAspect="1"/>
            </p:cNvPicPr>
            <p:nvPr/>
          </p:nvPicPr>
          <p:blipFill>
            <a:blip r:embed="rId12">
              <a:lum bright="70000" contrast="-70000"/>
              <a:extLst>
                <a:ext uri="{28A0092B-C50C-407E-A947-70E740481C1C}">
                  <a14:useLocalDpi xmlns:a14="http://schemas.microsoft.com/office/drawing/2010/main" val="0"/>
                </a:ext>
              </a:extLst>
            </a:blip>
            <a:stretch>
              <a:fillRect/>
            </a:stretch>
          </p:blipFill>
          <p:spPr>
            <a:xfrm>
              <a:off x="526336" y="5568971"/>
              <a:ext cx="563350" cy="373312"/>
            </a:xfrm>
            <a:prstGeom prst="rect">
              <a:avLst/>
            </a:prstGeom>
          </p:spPr>
        </p:pic>
        <p:sp>
          <p:nvSpPr>
            <p:cNvPr id="81" name="Rounded Rectangle 80"/>
            <p:cNvSpPr/>
            <p:nvPr/>
          </p:nvSpPr>
          <p:spPr>
            <a:xfrm>
              <a:off x="685800" y="4953000"/>
              <a:ext cx="2239136" cy="342018"/>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FFFF"/>
                  </a:solidFill>
                </a:rPr>
                <a:t>Systems</a:t>
              </a:r>
            </a:p>
          </p:txBody>
        </p:sp>
        <p:sp>
          <p:nvSpPr>
            <p:cNvPr id="82" name="Rounded Rectangle 81"/>
            <p:cNvSpPr/>
            <p:nvPr/>
          </p:nvSpPr>
          <p:spPr>
            <a:xfrm>
              <a:off x="4961227" y="4953000"/>
              <a:ext cx="2239136" cy="342018"/>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FFFF"/>
                  </a:solidFill>
                </a:rPr>
                <a:t>Assets</a:t>
              </a:r>
            </a:p>
          </p:txBody>
        </p:sp>
        <p:sp>
          <p:nvSpPr>
            <p:cNvPr id="83" name="Rounded Rectangle 82"/>
            <p:cNvSpPr/>
            <p:nvPr/>
          </p:nvSpPr>
          <p:spPr>
            <a:xfrm>
              <a:off x="9296400" y="4953000"/>
              <a:ext cx="2239136" cy="342018"/>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FFFF"/>
                  </a:solidFill>
                </a:rPr>
                <a:t>People</a:t>
              </a:r>
            </a:p>
          </p:txBody>
        </p:sp>
        <p:pic>
          <p:nvPicPr>
            <p:cNvPr id="84" name="Picture 83"/>
            <p:cNvPicPr>
              <a:picLocks noChangeAspect="1"/>
            </p:cNvPicPr>
            <p:nvPr/>
          </p:nvPicPr>
          <p:blipFill>
            <a:blip r:embed="rId13">
              <a:lum bright="70000" contrast="-70000"/>
              <a:extLst>
                <a:ext uri="{28A0092B-C50C-407E-A947-70E740481C1C}">
                  <a14:useLocalDpi xmlns:a14="http://schemas.microsoft.com/office/drawing/2010/main" val="0"/>
                </a:ext>
              </a:extLst>
            </a:blip>
            <a:stretch>
              <a:fillRect/>
            </a:stretch>
          </p:blipFill>
          <p:spPr>
            <a:xfrm>
              <a:off x="8143713" y="5474752"/>
              <a:ext cx="584696" cy="535648"/>
            </a:xfrm>
            <a:prstGeom prst="rect">
              <a:avLst/>
            </a:prstGeom>
          </p:spPr>
        </p:pic>
        <p:pic>
          <p:nvPicPr>
            <p:cNvPr id="85" name="Picture 84"/>
            <p:cNvPicPr>
              <a:picLocks noChangeAspect="1"/>
            </p:cNvPicPr>
            <p:nvPr/>
          </p:nvPicPr>
          <p:blipFill>
            <a:blip r:embed="rId14">
              <a:lum bright="70000" contrast="-70000"/>
              <a:extLst>
                <a:ext uri="{28A0092B-C50C-407E-A947-70E740481C1C}">
                  <a14:useLocalDpi xmlns:a14="http://schemas.microsoft.com/office/drawing/2010/main" val="0"/>
                </a:ext>
              </a:extLst>
            </a:blip>
            <a:stretch>
              <a:fillRect/>
            </a:stretch>
          </p:blipFill>
          <p:spPr>
            <a:xfrm>
              <a:off x="6180744" y="5570845"/>
              <a:ext cx="576709" cy="453901"/>
            </a:xfrm>
            <a:prstGeom prst="rect">
              <a:avLst/>
            </a:prstGeom>
          </p:spPr>
        </p:pic>
        <p:pic>
          <p:nvPicPr>
            <p:cNvPr id="87" name="Picture 86"/>
            <p:cNvPicPr>
              <a:picLocks noChangeAspect="1"/>
            </p:cNvPicPr>
            <p:nvPr/>
          </p:nvPicPr>
          <p:blipFill>
            <a:blip r:embed="rId15">
              <a:lum bright="70000" contrast="-70000"/>
              <a:extLst>
                <a:ext uri="{28A0092B-C50C-407E-A947-70E740481C1C}">
                  <a14:useLocalDpi xmlns:a14="http://schemas.microsoft.com/office/drawing/2010/main" val="0"/>
                </a:ext>
              </a:extLst>
            </a:blip>
            <a:stretch>
              <a:fillRect/>
            </a:stretch>
          </p:blipFill>
          <p:spPr>
            <a:xfrm>
              <a:off x="7180357" y="5474752"/>
              <a:ext cx="534904" cy="561927"/>
            </a:xfrm>
            <a:prstGeom prst="rect">
              <a:avLst/>
            </a:prstGeom>
          </p:spPr>
        </p:pic>
        <p:sp>
          <p:nvSpPr>
            <p:cNvPr id="89" name="TextBox 88"/>
            <p:cNvSpPr txBox="1"/>
            <p:nvPr/>
          </p:nvSpPr>
          <p:spPr>
            <a:xfrm>
              <a:off x="6296777" y="6032956"/>
              <a:ext cx="344646" cy="215444"/>
            </a:xfrm>
            <a:prstGeom prst="rect">
              <a:avLst/>
            </a:prstGeom>
            <a:noFill/>
          </p:spPr>
          <p:txBody>
            <a:bodyPr wrap="none" lIns="0" tIns="0" rIns="0" bIns="0" rtlCol="0">
              <a:spAutoFit/>
            </a:bodyPr>
            <a:lstStyle/>
            <a:p>
              <a:pPr algn="ctr"/>
              <a:r>
                <a:rPr lang="en-US" sz="1400" dirty="0">
                  <a:solidFill>
                    <a:srgbClr val="3D4647"/>
                  </a:solidFill>
                </a:rPr>
                <a:t>Line</a:t>
              </a:r>
            </a:p>
          </p:txBody>
        </p:sp>
        <p:sp>
          <p:nvSpPr>
            <p:cNvPr id="90" name="TextBox 89"/>
            <p:cNvSpPr txBox="1"/>
            <p:nvPr/>
          </p:nvSpPr>
          <p:spPr>
            <a:xfrm>
              <a:off x="8125435" y="6032956"/>
              <a:ext cx="525785" cy="215444"/>
            </a:xfrm>
            <a:prstGeom prst="rect">
              <a:avLst/>
            </a:prstGeom>
            <a:noFill/>
          </p:spPr>
          <p:txBody>
            <a:bodyPr wrap="none" lIns="0" tIns="0" rIns="0" bIns="0" rtlCol="0">
              <a:spAutoFit/>
            </a:bodyPr>
            <a:lstStyle/>
            <a:p>
              <a:pPr algn="ctr"/>
              <a:r>
                <a:rPr lang="en-US" sz="1400" dirty="0">
                  <a:solidFill>
                    <a:srgbClr val="3D4647"/>
                  </a:solidFill>
                </a:rPr>
                <a:t>Robot</a:t>
              </a:r>
            </a:p>
          </p:txBody>
        </p:sp>
        <p:sp>
          <p:nvSpPr>
            <p:cNvPr id="91" name="TextBox 90"/>
            <p:cNvSpPr txBox="1"/>
            <p:nvPr/>
          </p:nvSpPr>
          <p:spPr>
            <a:xfrm>
              <a:off x="7242012" y="6032956"/>
              <a:ext cx="399148" cy="215444"/>
            </a:xfrm>
            <a:prstGeom prst="rect">
              <a:avLst/>
            </a:prstGeom>
            <a:noFill/>
          </p:spPr>
          <p:txBody>
            <a:bodyPr wrap="none" lIns="0" tIns="0" rIns="0" bIns="0" rtlCol="0">
              <a:spAutoFit/>
            </a:bodyPr>
            <a:lstStyle/>
            <a:p>
              <a:pPr algn="ctr"/>
              <a:r>
                <a:rPr lang="en-US" sz="1400" dirty="0">
                  <a:solidFill>
                    <a:srgbClr val="3D4647"/>
                  </a:solidFill>
                </a:rPr>
                <a:t>Tank</a:t>
              </a:r>
            </a:p>
          </p:txBody>
        </p:sp>
        <p:pic>
          <p:nvPicPr>
            <p:cNvPr id="132" name="Picture 131"/>
            <p:cNvPicPr>
              <a:picLocks noChangeAspect="1"/>
            </p:cNvPicPr>
            <p:nvPr/>
          </p:nvPicPr>
          <p:blipFill>
            <a:blip r:embed="rId16">
              <a:lum bright="70000" contrast="-70000"/>
              <a:extLst>
                <a:ext uri="{28A0092B-C50C-407E-A947-70E740481C1C}">
                  <a14:useLocalDpi xmlns:a14="http://schemas.microsoft.com/office/drawing/2010/main" val="0"/>
                </a:ext>
              </a:extLst>
            </a:blip>
            <a:stretch>
              <a:fillRect/>
            </a:stretch>
          </p:blipFill>
          <p:spPr>
            <a:xfrm>
              <a:off x="9198813" y="5467228"/>
              <a:ext cx="566039" cy="585196"/>
            </a:xfrm>
            <a:prstGeom prst="rect">
              <a:avLst/>
            </a:prstGeom>
          </p:spPr>
        </p:pic>
        <p:pic>
          <p:nvPicPr>
            <p:cNvPr id="133" name="Picture 132"/>
            <p:cNvPicPr>
              <a:picLocks noChangeAspect="1"/>
            </p:cNvPicPr>
            <p:nvPr/>
          </p:nvPicPr>
          <p:blipFill>
            <a:blip r:embed="rId17">
              <a:lum bright="70000" contrast="-70000"/>
              <a:extLst>
                <a:ext uri="{28A0092B-C50C-407E-A947-70E740481C1C}">
                  <a14:useLocalDpi xmlns:a14="http://schemas.microsoft.com/office/drawing/2010/main" val="0"/>
                </a:ext>
              </a:extLst>
            </a:blip>
            <a:stretch>
              <a:fillRect/>
            </a:stretch>
          </p:blipFill>
          <p:spPr>
            <a:xfrm>
              <a:off x="11217096" y="5492317"/>
              <a:ext cx="304800" cy="533664"/>
            </a:xfrm>
            <a:prstGeom prst="rect">
              <a:avLst/>
            </a:prstGeom>
          </p:spPr>
        </p:pic>
        <p:pic>
          <p:nvPicPr>
            <p:cNvPr id="134" name="Picture 133"/>
            <p:cNvPicPr>
              <a:picLocks noChangeAspect="1"/>
            </p:cNvPicPr>
            <p:nvPr/>
          </p:nvPicPr>
          <p:blipFill>
            <a:blip r:embed="rId18">
              <a:lum bright="70000" contrast="-70000"/>
              <a:extLst>
                <a:ext uri="{28A0092B-C50C-407E-A947-70E740481C1C}">
                  <a14:useLocalDpi xmlns:a14="http://schemas.microsoft.com/office/drawing/2010/main" val="0"/>
                </a:ext>
              </a:extLst>
            </a:blip>
            <a:stretch>
              <a:fillRect/>
            </a:stretch>
          </p:blipFill>
          <p:spPr>
            <a:xfrm>
              <a:off x="10276332" y="5480046"/>
              <a:ext cx="450029" cy="556193"/>
            </a:xfrm>
            <a:prstGeom prst="rect">
              <a:avLst/>
            </a:prstGeom>
          </p:spPr>
        </p:pic>
        <p:sp>
          <p:nvSpPr>
            <p:cNvPr id="135" name="TextBox 134"/>
            <p:cNvSpPr txBox="1"/>
            <p:nvPr/>
          </p:nvSpPr>
          <p:spPr>
            <a:xfrm>
              <a:off x="9264627" y="6032956"/>
              <a:ext cx="434414" cy="215444"/>
            </a:xfrm>
            <a:prstGeom prst="rect">
              <a:avLst/>
            </a:prstGeom>
            <a:noFill/>
          </p:spPr>
          <p:txBody>
            <a:bodyPr wrap="none" lIns="0" tIns="0" rIns="0" bIns="0" rtlCol="0">
              <a:spAutoFit/>
            </a:bodyPr>
            <a:lstStyle/>
            <a:p>
              <a:pPr algn="ctr"/>
              <a:r>
                <a:rPr lang="en-US" sz="1400" dirty="0">
                  <a:solidFill>
                    <a:srgbClr val="3D4647"/>
                  </a:solidFill>
                </a:rPr>
                <a:t>Plant</a:t>
              </a:r>
            </a:p>
          </p:txBody>
        </p:sp>
        <p:sp>
          <p:nvSpPr>
            <p:cNvPr id="136" name="TextBox 135"/>
            <p:cNvSpPr txBox="1"/>
            <p:nvPr/>
          </p:nvSpPr>
          <p:spPr>
            <a:xfrm>
              <a:off x="10233645" y="6032956"/>
              <a:ext cx="535403" cy="215444"/>
            </a:xfrm>
            <a:prstGeom prst="rect">
              <a:avLst/>
            </a:prstGeom>
            <a:noFill/>
          </p:spPr>
          <p:txBody>
            <a:bodyPr wrap="none" lIns="0" tIns="0" rIns="0" bIns="0" rtlCol="0">
              <a:spAutoFit/>
            </a:bodyPr>
            <a:lstStyle/>
            <a:p>
              <a:pPr algn="ctr"/>
              <a:r>
                <a:rPr lang="en-US" sz="1400" dirty="0">
                  <a:solidFill>
                    <a:srgbClr val="3D4647"/>
                  </a:solidFill>
                </a:rPr>
                <a:t>Office</a:t>
              </a:r>
            </a:p>
          </p:txBody>
        </p:sp>
        <p:sp>
          <p:nvSpPr>
            <p:cNvPr id="137" name="TextBox 136"/>
            <p:cNvSpPr txBox="1"/>
            <p:nvPr/>
          </p:nvSpPr>
          <p:spPr>
            <a:xfrm>
              <a:off x="11251322" y="6032956"/>
              <a:ext cx="280526" cy="215444"/>
            </a:xfrm>
            <a:prstGeom prst="rect">
              <a:avLst/>
            </a:prstGeom>
            <a:noFill/>
          </p:spPr>
          <p:txBody>
            <a:bodyPr wrap="none" lIns="0" tIns="0" rIns="0" bIns="0" rtlCol="0">
              <a:spAutoFit/>
            </a:bodyPr>
            <a:lstStyle/>
            <a:p>
              <a:pPr algn="ctr"/>
              <a:r>
                <a:rPr lang="en-US" sz="1400" dirty="0">
                  <a:solidFill>
                    <a:srgbClr val="3D4647"/>
                  </a:solidFill>
                </a:rPr>
                <a:t>HQ</a:t>
              </a:r>
            </a:p>
          </p:txBody>
        </p:sp>
      </p:grpSp>
      <p:sp>
        <p:nvSpPr>
          <p:cNvPr id="67" name="Rounded Rectangle 119">
            <a:extLst>
              <a:ext uri="{FF2B5EF4-FFF2-40B4-BE49-F238E27FC236}">
                <a16:creationId xmlns:a16="http://schemas.microsoft.com/office/drawing/2014/main" id="{B13E2F8A-9678-470A-B3F4-69BE17A886D2}"/>
              </a:ext>
            </a:extLst>
          </p:cNvPr>
          <p:cNvSpPr/>
          <p:nvPr/>
        </p:nvSpPr>
        <p:spPr>
          <a:xfrm>
            <a:off x="10564033" y="943728"/>
            <a:ext cx="1389888" cy="985045"/>
          </a:xfrm>
          <a:prstGeom prst="roundRect">
            <a:avLst/>
          </a:prstGeom>
          <a:solidFill>
            <a:schemeClr val="accent6">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solidFill>
                  <a:srgbClr val="FFFFFF"/>
                </a:solidFill>
              </a:rPr>
              <a:t>ThingWorx</a:t>
            </a:r>
            <a:r>
              <a:rPr lang="en-US" sz="1600" b="1" dirty="0">
                <a:solidFill>
                  <a:srgbClr val="FFFFFF"/>
                </a:solidFill>
              </a:rPr>
              <a:t> Apps</a:t>
            </a:r>
          </a:p>
        </p:txBody>
      </p:sp>
    </p:spTree>
    <p:extLst>
      <p:ext uri="{BB962C8B-B14F-4D97-AF65-F5344CB8AC3E}">
        <p14:creationId xmlns:p14="http://schemas.microsoft.com/office/powerpoint/2010/main" val="3348736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0-#ppt_w/2"/>
                                          </p:val>
                                        </p:tav>
                                        <p:tav tm="100000">
                                          <p:val>
                                            <p:strVal val="#ppt_x"/>
                                          </p:val>
                                        </p:tav>
                                      </p:tavLst>
                                    </p:anim>
                                    <p:anim calcmode="lin" valueType="num">
                                      <p:cBhvr additive="base">
                                        <p:cTn id="2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2"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 calcmode="lin" valueType="num">
                                      <p:cBhvr additive="base">
                                        <p:cTn id="33" dur="500" fill="hold"/>
                                        <p:tgtEl>
                                          <p:spTgt spid="9"/>
                                        </p:tgtEl>
                                        <p:attrNameLst>
                                          <p:attrName>ppt_x</p:attrName>
                                        </p:attrNameLst>
                                      </p:cBhvr>
                                      <p:tavLst>
                                        <p:tav tm="0">
                                          <p:val>
                                            <p:strVal val="1+#ppt_w/2"/>
                                          </p:val>
                                        </p:tav>
                                        <p:tav tm="100000">
                                          <p:val>
                                            <p:strVal val="#ppt_x"/>
                                          </p:val>
                                        </p:tav>
                                      </p:tavLst>
                                    </p:anim>
                                    <p:anim calcmode="lin" valueType="num">
                                      <p:cBhvr additive="base">
                                        <p:cTn id="34"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1" fill="hold" nodeType="clickEffect">
                                  <p:stCondLst>
                                    <p:cond delay="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500" fill="hold"/>
                                        <p:tgtEl>
                                          <p:spTgt spid="10"/>
                                        </p:tgtEl>
                                        <p:attrNameLst>
                                          <p:attrName>ppt_x</p:attrName>
                                        </p:attrNameLst>
                                      </p:cBhvr>
                                      <p:tavLst>
                                        <p:tav tm="0">
                                          <p:val>
                                            <p:strVal val="#ppt_x"/>
                                          </p:val>
                                        </p:tav>
                                        <p:tav tm="100000">
                                          <p:val>
                                            <p:strVal val="#ppt_x"/>
                                          </p:val>
                                        </p:tav>
                                      </p:tavLst>
                                    </p:anim>
                                    <p:anim calcmode="lin" valueType="num">
                                      <p:cBhvr additive="base">
                                        <p:cTn id="40"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1" fill="hold" grpId="0" nodeType="clickEffect">
                                  <p:stCondLst>
                                    <p:cond delay="0"/>
                                  </p:stCondLst>
                                  <p:childTnLst>
                                    <p:set>
                                      <p:cBhvr>
                                        <p:cTn id="44" dur="1" fill="hold">
                                          <p:stCondLst>
                                            <p:cond delay="0"/>
                                          </p:stCondLst>
                                        </p:cTn>
                                        <p:tgtEl>
                                          <p:spTgt spid="120"/>
                                        </p:tgtEl>
                                        <p:attrNameLst>
                                          <p:attrName>style.visibility</p:attrName>
                                        </p:attrNameLst>
                                      </p:cBhvr>
                                      <p:to>
                                        <p:strVal val="visible"/>
                                      </p:to>
                                    </p:set>
                                    <p:anim calcmode="lin" valueType="num">
                                      <p:cBhvr additive="base">
                                        <p:cTn id="45" dur="500" fill="hold"/>
                                        <p:tgtEl>
                                          <p:spTgt spid="120"/>
                                        </p:tgtEl>
                                        <p:attrNameLst>
                                          <p:attrName>ppt_x</p:attrName>
                                        </p:attrNameLst>
                                      </p:cBhvr>
                                      <p:tavLst>
                                        <p:tav tm="0">
                                          <p:val>
                                            <p:strVal val="#ppt_x"/>
                                          </p:val>
                                        </p:tav>
                                        <p:tav tm="100000">
                                          <p:val>
                                            <p:strVal val="#ppt_x"/>
                                          </p:val>
                                        </p:tav>
                                      </p:tavLst>
                                    </p:anim>
                                    <p:anim calcmode="lin" valueType="num">
                                      <p:cBhvr additive="base">
                                        <p:cTn id="46" dur="500" fill="hold"/>
                                        <p:tgtEl>
                                          <p:spTgt spid="120"/>
                                        </p:tgtEl>
                                        <p:attrNameLst>
                                          <p:attrName>ppt_y</p:attrName>
                                        </p:attrNameLst>
                                      </p:cBhvr>
                                      <p:tavLst>
                                        <p:tav tm="0">
                                          <p:val>
                                            <p:strVal val="0-#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1" fill="hold" grpId="0" nodeType="click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ppt_x"/>
                                          </p:val>
                                        </p:tav>
                                        <p:tav tm="100000">
                                          <p:val>
                                            <p:strVal val="#ppt_x"/>
                                          </p:val>
                                        </p:tav>
                                      </p:tavLst>
                                    </p:anim>
                                    <p:anim calcmode="lin" valueType="num">
                                      <p:cBhvr additive="base">
                                        <p:cTn id="52" dur="500" fill="hold"/>
                                        <p:tgtEl>
                                          <p:spTgt spid="6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120" grpId="0" animBg="1"/>
      <p:bldP spid="6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6672" y="1592"/>
          <a:ext cx="1587" cy="1587"/>
        </p:xfrm>
        <a:graphic>
          <a:graphicData uri="http://schemas.openxmlformats.org/presentationml/2006/ole">
            <mc:AlternateContent xmlns:mc="http://schemas.openxmlformats.org/markup-compatibility/2006">
              <mc:Choice xmlns:v="urn:schemas-microsoft-com:vml" Requires="v">
                <p:oleObj spid="_x0000_s60441"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6672" y="159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tabLst>
                <a:tab pos="4129088" algn="l"/>
              </a:tabLst>
            </a:pPr>
            <a:r>
              <a:rPr lang="en-US" dirty="0"/>
              <a:t>PTC </a:t>
            </a:r>
            <a:r>
              <a:rPr lang="en-US" dirty="0" err="1"/>
              <a:t>thingworx</a:t>
            </a:r>
            <a:r>
              <a:rPr lang="en-US" dirty="0"/>
              <a:t> INDUSTRIAL IOT PLATFORM</a:t>
            </a:r>
          </a:p>
        </p:txBody>
      </p:sp>
      <p:pic>
        <p:nvPicPr>
          <p:cNvPr id="3" name="Picture 2">
            <a:extLst>
              <a:ext uri="{FF2B5EF4-FFF2-40B4-BE49-F238E27FC236}">
                <a16:creationId xmlns:a16="http://schemas.microsoft.com/office/drawing/2014/main" id="{C906ACCB-99E1-4ED5-8858-9E157EA77D05}"/>
              </a:ext>
            </a:extLst>
          </p:cNvPr>
          <p:cNvPicPr>
            <a:picLocks noChangeAspect="1"/>
          </p:cNvPicPr>
          <p:nvPr/>
        </p:nvPicPr>
        <p:blipFill>
          <a:blip r:embed="rId7"/>
          <a:stretch>
            <a:fillRect/>
          </a:stretch>
        </p:blipFill>
        <p:spPr>
          <a:xfrm>
            <a:off x="3984552" y="3009127"/>
            <a:ext cx="4540925" cy="1528763"/>
          </a:xfrm>
          <a:prstGeom prst="rect">
            <a:avLst/>
          </a:prstGeom>
          <a:ln w="57150">
            <a:solidFill>
              <a:srgbClr val="FF0000"/>
            </a:solidFill>
          </a:ln>
          <a:effectLst>
            <a:softEdge rad="50800"/>
          </a:effectLst>
        </p:spPr>
      </p:pic>
      <p:pic>
        <p:nvPicPr>
          <p:cNvPr id="11" name="Picture 10">
            <a:extLst>
              <a:ext uri="{FF2B5EF4-FFF2-40B4-BE49-F238E27FC236}">
                <a16:creationId xmlns:a16="http://schemas.microsoft.com/office/drawing/2014/main" id="{E140364F-A431-4268-BE0B-6AC981889D56}"/>
              </a:ext>
            </a:extLst>
          </p:cNvPr>
          <p:cNvPicPr>
            <a:picLocks noChangeAspect="1"/>
          </p:cNvPicPr>
          <p:nvPr/>
        </p:nvPicPr>
        <p:blipFill>
          <a:blip r:embed="rId8"/>
          <a:stretch>
            <a:fillRect/>
          </a:stretch>
        </p:blipFill>
        <p:spPr>
          <a:xfrm>
            <a:off x="3013937" y="2938947"/>
            <a:ext cx="838200" cy="1666178"/>
          </a:xfrm>
          <a:prstGeom prst="rect">
            <a:avLst/>
          </a:prstGeom>
        </p:spPr>
      </p:pic>
      <p:pic>
        <p:nvPicPr>
          <p:cNvPr id="12" name="Picture 11">
            <a:extLst>
              <a:ext uri="{FF2B5EF4-FFF2-40B4-BE49-F238E27FC236}">
                <a16:creationId xmlns:a16="http://schemas.microsoft.com/office/drawing/2014/main" id="{B381792E-C901-4F48-9BC5-DA5842383B50}"/>
              </a:ext>
            </a:extLst>
          </p:cNvPr>
          <p:cNvPicPr>
            <a:picLocks noChangeAspect="1"/>
          </p:cNvPicPr>
          <p:nvPr/>
        </p:nvPicPr>
        <p:blipFill>
          <a:blip r:embed="rId9"/>
          <a:stretch>
            <a:fillRect/>
          </a:stretch>
        </p:blipFill>
        <p:spPr>
          <a:xfrm>
            <a:off x="8657892" y="2929570"/>
            <a:ext cx="838200" cy="1697096"/>
          </a:xfrm>
          <a:prstGeom prst="rect">
            <a:avLst/>
          </a:prstGeom>
        </p:spPr>
      </p:pic>
      <p:pic>
        <p:nvPicPr>
          <p:cNvPr id="13" name="Picture 12">
            <a:extLst>
              <a:ext uri="{FF2B5EF4-FFF2-40B4-BE49-F238E27FC236}">
                <a16:creationId xmlns:a16="http://schemas.microsoft.com/office/drawing/2014/main" id="{F44A33E6-DF88-4FF5-984F-7F646FA92582}"/>
              </a:ext>
            </a:extLst>
          </p:cNvPr>
          <p:cNvPicPr>
            <a:picLocks noChangeAspect="1"/>
          </p:cNvPicPr>
          <p:nvPr/>
        </p:nvPicPr>
        <p:blipFill>
          <a:blip r:embed="rId10"/>
          <a:stretch>
            <a:fillRect/>
          </a:stretch>
        </p:blipFill>
        <p:spPr>
          <a:xfrm>
            <a:off x="3092714" y="2192343"/>
            <a:ext cx="6324600" cy="598015"/>
          </a:xfrm>
          <a:prstGeom prst="rect">
            <a:avLst/>
          </a:prstGeom>
          <a:ln w="38100">
            <a:solidFill>
              <a:srgbClr val="00B050"/>
            </a:solidFill>
          </a:ln>
        </p:spPr>
      </p:pic>
      <p:pic>
        <p:nvPicPr>
          <p:cNvPr id="14" name="Picture 13">
            <a:extLst>
              <a:ext uri="{FF2B5EF4-FFF2-40B4-BE49-F238E27FC236}">
                <a16:creationId xmlns:a16="http://schemas.microsoft.com/office/drawing/2014/main" id="{DB23A266-B81B-4F7E-9864-BF1B36174FF6}"/>
              </a:ext>
            </a:extLst>
          </p:cNvPr>
          <p:cNvPicPr>
            <a:picLocks noChangeAspect="1"/>
          </p:cNvPicPr>
          <p:nvPr/>
        </p:nvPicPr>
        <p:blipFill>
          <a:blip r:embed="rId11"/>
          <a:stretch>
            <a:fillRect/>
          </a:stretch>
        </p:blipFill>
        <p:spPr>
          <a:xfrm>
            <a:off x="2991990" y="4693166"/>
            <a:ext cx="6425324" cy="906761"/>
          </a:xfrm>
          <a:prstGeom prst="rect">
            <a:avLst/>
          </a:prstGeom>
          <a:ln w="38100">
            <a:solidFill>
              <a:srgbClr val="0070C0"/>
            </a:solidFill>
          </a:ln>
        </p:spPr>
      </p:pic>
      <p:pic>
        <p:nvPicPr>
          <p:cNvPr id="86" name="Picture 85">
            <a:extLst>
              <a:ext uri="{FF2B5EF4-FFF2-40B4-BE49-F238E27FC236}">
                <a16:creationId xmlns:a16="http://schemas.microsoft.com/office/drawing/2014/main" id="{EBCEA286-41AD-42C6-9A83-BA306821C1C1}"/>
              </a:ext>
            </a:extLst>
          </p:cNvPr>
          <p:cNvPicPr>
            <a:picLocks noChangeAspect="1"/>
          </p:cNvPicPr>
          <p:nvPr/>
        </p:nvPicPr>
        <p:blipFill>
          <a:blip r:embed="rId12"/>
          <a:stretch>
            <a:fillRect/>
          </a:stretch>
        </p:blipFill>
        <p:spPr>
          <a:xfrm>
            <a:off x="10101927" y="2242307"/>
            <a:ext cx="1670720" cy="1247396"/>
          </a:xfrm>
          <a:prstGeom prst="rect">
            <a:avLst/>
          </a:prstGeom>
        </p:spPr>
      </p:pic>
      <p:pic>
        <p:nvPicPr>
          <p:cNvPr id="88" name="Picture 87">
            <a:extLst>
              <a:ext uri="{FF2B5EF4-FFF2-40B4-BE49-F238E27FC236}">
                <a16:creationId xmlns:a16="http://schemas.microsoft.com/office/drawing/2014/main" id="{E51C0647-C24C-421C-A393-C02B0E354FB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101927" y="3571929"/>
            <a:ext cx="1680395" cy="1038562"/>
          </a:xfrm>
          <a:prstGeom prst="rect">
            <a:avLst/>
          </a:prstGeom>
        </p:spPr>
      </p:pic>
      <p:grpSp>
        <p:nvGrpSpPr>
          <p:cNvPr id="92" name="Group 91">
            <a:extLst>
              <a:ext uri="{FF2B5EF4-FFF2-40B4-BE49-F238E27FC236}">
                <a16:creationId xmlns:a16="http://schemas.microsoft.com/office/drawing/2014/main" id="{6C51D614-3C87-443D-8A66-A96770A36F65}"/>
              </a:ext>
            </a:extLst>
          </p:cNvPr>
          <p:cNvGrpSpPr/>
          <p:nvPr/>
        </p:nvGrpSpPr>
        <p:grpSpPr>
          <a:xfrm>
            <a:off x="4481503" y="5849781"/>
            <a:ext cx="5364798" cy="788488"/>
            <a:chOff x="3501461" y="5582829"/>
            <a:chExt cx="5378103" cy="790444"/>
          </a:xfrm>
        </p:grpSpPr>
        <p:grpSp>
          <p:nvGrpSpPr>
            <p:cNvPr id="93" name="Group 92">
              <a:extLst>
                <a:ext uri="{FF2B5EF4-FFF2-40B4-BE49-F238E27FC236}">
                  <a16:creationId xmlns:a16="http://schemas.microsoft.com/office/drawing/2014/main" id="{18AAE8AA-C856-4C05-9F8F-A88D2EE1D255}"/>
                </a:ext>
              </a:extLst>
            </p:cNvPr>
            <p:cNvGrpSpPr/>
            <p:nvPr/>
          </p:nvGrpSpPr>
          <p:grpSpPr>
            <a:xfrm>
              <a:off x="8134833" y="5627039"/>
              <a:ext cx="744731" cy="700086"/>
              <a:chOff x="8134833" y="5627039"/>
              <a:chExt cx="744731" cy="700086"/>
            </a:xfrm>
          </p:grpSpPr>
          <p:sp>
            <p:nvSpPr>
              <p:cNvPr id="141" name="Rounded Rectangle 186">
                <a:extLst>
                  <a:ext uri="{FF2B5EF4-FFF2-40B4-BE49-F238E27FC236}">
                    <a16:creationId xmlns:a16="http://schemas.microsoft.com/office/drawing/2014/main" id="{CA0D2B35-9D73-4965-A1C2-7964592E83F9}"/>
                  </a:ext>
                </a:extLst>
              </p:cNvPr>
              <p:cNvSpPr/>
              <p:nvPr/>
            </p:nvSpPr>
            <p:spPr>
              <a:xfrm flipH="1">
                <a:off x="8134833" y="5935859"/>
                <a:ext cx="744731" cy="391266"/>
              </a:xfrm>
              <a:custGeom>
                <a:avLst/>
                <a:gdLst/>
                <a:ahLst/>
                <a:cxnLst/>
                <a:rect l="l" t="t" r="r" b="b"/>
                <a:pathLst>
                  <a:path w="2816248" h="1523585">
                    <a:moveTo>
                      <a:pt x="2251054" y="1066385"/>
                    </a:moveTo>
                    <a:cubicBezTo>
                      <a:pt x="2377306" y="1066385"/>
                      <a:pt x="2479654" y="1168733"/>
                      <a:pt x="2479654" y="1294985"/>
                    </a:cubicBezTo>
                    <a:cubicBezTo>
                      <a:pt x="2479654" y="1421237"/>
                      <a:pt x="2377306" y="1523585"/>
                      <a:pt x="2251054" y="1523585"/>
                    </a:cubicBezTo>
                    <a:cubicBezTo>
                      <a:pt x="2124802" y="1523585"/>
                      <a:pt x="2022454" y="1421237"/>
                      <a:pt x="2022454" y="1294985"/>
                    </a:cubicBezTo>
                    <a:cubicBezTo>
                      <a:pt x="2022454" y="1168733"/>
                      <a:pt x="2124802" y="1066385"/>
                      <a:pt x="2251054" y="1066385"/>
                    </a:cubicBezTo>
                    <a:close/>
                    <a:moveTo>
                      <a:pt x="587976" y="1061402"/>
                    </a:moveTo>
                    <a:cubicBezTo>
                      <a:pt x="714228" y="1061402"/>
                      <a:pt x="816576" y="1163750"/>
                      <a:pt x="816576" y="1290002"/>
                    </a:cubicBezTo>
                    <a:cubicBezTo>
                      <a:pt x="816576" y="1416254"/>
                      <a:pt x="714228" y="1518602"/>
                      <a:pt x="587976" y="1518602"/>
                    </a:cubicBezTo>
                    <a:cubicBezTo>
                      <a:pt x="461724" y="1518602"/>
                      <a:pt x="359376" y="1416254"/>
                      <a:pt x="359376" y="1290002"/>
                    </a:cubicBezTo>
                    <a:cubicBezTo>
                      <a:pt x="359376" y="1163750"/>
                      <a:pt x="461724" y="1061402"/>
                      <a:pt x="587976" y="1061402"/>
                    </a:cubicBezTo>
                    <a:close/>
                    <a:moveTo>
                      <a:pt x="1943439" y="157975"/>
                    </a:moveTo>
                    <a:lnTo>
                      <a:pt x="1943439" y="598249"/>
                    </a:lnTo>
                    <a:lnTo>
                      <a:pt x="2508896" y="598249"/>
                    </a:lnTo>
                    <a:lnTo>
                      <a:pt x="2346296" y="157975"/>
                    </a:lnTo>
                    <a:close/>
                    <a:moveTo>
                      <a:pt x="56853" y="26566"/>
                    </a:moveTo>
                    <a:lnTo>
                      <a:pt x="1695747" y="26566"/>
                    </a:lnTo>
                    <a:cubicBezTo>
                      <a:pt x="1727146" y="26566"/>
                      <a:pt x="1752600" y="52020"/>
                      <a:pt x="1752600" y="83419"/>
                    </a:cubicBezTo>
                    <a:lnTo>
                      <a:pt x="1752600" y="824776"/>
                    </a:lnTo>
                    <a:cubicBezTo>
                      <a:pt x="1752600" y="856175"/>
                      <a:pt x="1727146" y="881629"/>
                      <a:pt x="1695747" y="881629"/>
                    </a:cubicBezTo>
                    <a:lnTo>
                      <a:pt x="56853" y="881629"/>
                    </a:lnTo>
                    <a:cubicBezTo>
                      <a:pt x="25454" y="881629"/>
                      <a:pt x="0" y="856175"/>
                      <a:pt x="0" y="824776"/>
                    </a:cubicBezTo>
                    <a:lnTo>
                      <a:pt x="0" y="83419"/>
                    </a:lnTo>
                    <a:cubicBezTo>
                      <a:pt x="0" y="52020"/>
                      <a:pt x="25454" y="26566"/>
                      <a:pt x="56853" y="26566"/>
                    </a:cubicBezTo>
                    <a:close/>
                    <a:moveTo>
                      <a:pt x="1816480" y="0"/>
                    </a:moveTo>
                    <a:lnTo>
                      <a:pt x="2413408" y="0"/>
                    </a:lnTo>
                    <a:lnTo>
                      <a:pt x="2637039" y="577258"/>
                    </a:lnTo>
                    <a:lnTo>
                      <a:pt x="2816248" y="741771"/>
                    </a:lnTo>
                    <a:lnTo>
                      <a:pt x="2816248" y="1151236"/>
                    </a:lnTo>
                    <a:cubicBezTo>
                      <a:pt x="2816248" y="1196522"/>
                      <a:pt x="2779536" y="1233234"/>
                      <a:pt x="2734250" y="1233234"/>
                    </a:cubicBezTo>
                    <a:lnTo>
                      <a:pt x="2539173" y="1233234"/>
                    </a:lnTo>
                    <a:lnTo>
                      <a:pt x="2522418" y="1179257"/>
                    </a:lnTo>
                    <a:cubicBezTo>
                      <a:pt x="2477709" y="1073554"/>
                      <a:pt x="2373043" y="999385"/>
                      <a:pt x="2251054" y="999385"/>
                    </a:cubicBezTo>
                    <a:cubicBezTo>
                      <a:pt x="2129065" y="999385"/>
                      <a:pt x="2024399" y="1073554"/>
                      <a:pt x="1979690" y="1179257"/>
                    </a:cubicBezTo>
                    <a:lnTo>
                      <a:pt x="1962935" y="1233234"/>
                    </a:lnTo>
                    <a:lnTo>
                      <a:pt x="881756" y="1233234"/>
                    </a:lnTo>
                    <a:lnTo>
                      <a:pt x="865000" y="1179257"/>
                    </a:lnTo>
                    <a:cubicBezTo>
                      <a:pt x="820291" y="1073554"/>
                      <a:pt x="715625" y="999385"/>
                      <a:pt x="593636" y="999385"/>
                    </a:cubicBezTo>
                    <a:cubicBezTo>
                      <a:pt x="471647" y="999385"/>
                      <a:pt x="366981" y="1073554"/>
                      <a:pt x="322272" y="1179257"/>
                    </a:cubicBezTo>
                    <a:lnTo>
                      <a:pt x="305517" y="1233234"/>
                    </a:lnTo>
                    <a:lnTo>
                      <a:pt x="86100" y="1233234"/>
                    </a:lnTo>
                    <a:cubicBezTo>
                      <a:pt x="40814" y="1233234"/>
                      <a:pt x="4102" y="1196522"/>
                      <a:pt x="4102" y="1151236"/>
                    </a:cubicBezTo>
                    <a:lnTo>
                      <a:pt x="4102" y="940967"/>
                    </a:lnTo>
                    <a:lnTo>
                      <a:pt x="1816480" y="940967"/>
                    </a:lnTo>
                    <a:close/>
                  </a:path>
                </a:pathLst>
              </a:custGeom>
              <a:solidFill>
                <a:schemeClr val="tx1"/>
              </a:solidFill>
              <a:ln w="25400" cap="flat" cmpd="sng" algn="ctr">
                <a:noFill/>
                <a:prstDash val="solid"/>
              </a:ln>
              <a:effectLst/>
            </p:spPr>
            <p:txBody>
              <a:bodyPr rtlCol="0" anchor="ctr"/>
              <a:lstStyle/>
              <a:p>
                <a:pPr algn="ctr" defTabSz="910655">
                  <a:defRPr/>
                </a:pPr>
                <a:endParaRPr lang="en-US" sz="1895" kern="0" dirty="0">
                  <a:solidFill>
                    <a:srgbClr val="FFFFFF"/>
                  </a:solidFill>
                  <a:latin typeface="Franklin Gothic Book" charset="0"/>
                  <a:cs typeface="Franklin Gothic Book" charset="0"/>
                </a:endParaRPr>
              </a:p>
            </p:txBody>
          </p:sp>
          <p:sp>
            <p:nvSpPr>
              <p:cNvPr id="142" name="Donut 34">
                <a:extLst>
                  <a:ext uri="{FF2B5EF4-FFF2-40B4-BE49-F238E27FC236}">
                    <a16:creationId xmlns:a16="http://schemas.microsoft.com/office/drawing/2014/main" id="{4B32B4C1-7E40-4C57-A77B-8F5018364D39}"/>
                  </a:ext>
                </a:extLst>
              </p:cNvPr>
              <p:cNvSpPr/>
              <p:nvPr/>
            </p:nvSpPr>
            <p:spPr>
              <a:xfrm>
                <a:off x="8134833" y="5627039"/>
                <a:ext cx="399982" cy="271736"/>
              </a:xfrm>
              <a:custGeom>
                <a:avLst/>
                <a:gdLst/>
                <a:ahLst/>
                <a:cxnLst/>
                <a:rect l="l" t="t" r="r" b="b"/>
                <a:pathLst>
                  <a:path w="1352503" h="916577">
                    <a:moveTo>
                      <a:pt x="675847" y="759073"/>
                    </a:moveTo>
                    <a:cubicBezTo>
                      <a:pt x="719341" y="759073"/>
                      <a:pt x="754599" y="794331"/>
                      <a:pt x="754599" y="837825"/>
                    </a:cubicBezTo>
                    <a:cubicBezTo>
                      <a:pt x="754599" y="881319"/>
                      <a:pt x="719341" y="916577"/>
                      <a:pt x="675847" y="916577"/>
                    </a:cubicBezTo>
                    <a:cubicBezTo>
                      <a:pt x="632353" y="916577"/>
                      <a:pt x="597095" y="881319"/>
                      <a:pt x="597095" y="837825"/>
                    </a:cubicBezTo>
                    <a:cubicBezTo>
                      <a:pt x="597095" y="794331"/>
                      <a:pt x="632353" y="759073"/>
                      <a:pt x="675847" y="759073"/>
                    </a:cubicBezTo>
                    <a:close/>
                    <a:moveTo>
                      <a:pt x="677189" y="517624"/>
                    </a:moveTo>
                    <a:cubicBezTo>
                      <a:pt x="788199" y="517624"/>
                      <a:pt x="883882" y="583250"/>
                      <a:pt x="926903" y="678124"/>
                    </a:cubicBezTo>
                    <a:lnTo>
                      <a:pt x="811013" y="773481"/>
                    </a:lnTo>
                    <a:cubicBezTo>
                      <a:pt x="803794" y="706546"/>
                      <a:pt x="746460" y="655440"/>
                      <a:pt x="677189" y="655440"/>
                    </a:cubicBezTo>
                    <a:cubicBezTo>
                      <a:pt x="606757" y="655440"/>
                      <a:pt x="548666" y="708273"/>
                      <a:pt x="542705" y="776752"/>
                    </a:cubicBezTo>
                    <a:lnTo>
                      <a:pt x="426043" y="680761"/>
                    </a:lnTo>
                    <a:cubicBezTo>
                      <a:pt x="468661" y="584515"/>
                      <a:pt x="565114" y="517624"/>
                      <a:pt x="677189" y="517624"/>
                    </a:cubicBezTo>
                    <a:close/>
                    <a:moveTo>
                      <a:pt x="677189" y="259242"/>
                    </a:moveTo>
                    <a:cubicBezTo>
                      <a:pt x="869972" y="259242"/>
                      <a:pt x="1040868" y="352953"/>
                      <a:pt x="1145412" y="498333"/>
                    </a:cubicBezTo>
                    <a:lnTo>
                      <a:pt x="1029569" y="593650"/>
                    </a:lnTo>
                    <a:cubicBezTo>
                      <a:pt x="952080" y="482372"/>
                      <a:pt x="823093" y="409946"/>
                      <a:pt x="677189" y="409946"/>
                    </a:cubicBezTo>
                    <a:cubicBezTo>
                      <a:pt x="530231" y="409946"/>
                      <a:pt x="400434" y="483422"/>
                      <a:pt x="322934" y="595922"/>
                    </a:cubicBezTo>
                    <a:lnTo>
                      <a:pt x="207092" y="500605"/>
                    </a:lnTo>
                    <a:cubicBezTo>
                      <a:pt x="311634" y="353984"/>
                      <a:pt x="483348" y="259242"/>
                      <a:pt x="677189" y="259242"/>
                    </a:cubicBezTo>
                    <a:close/>
                    <a:moveTo>
                      <a:pt x="677189" y="0"/>
                    </a:moveTo>
                    <a:cubicBezTo>
                      <a:pt x="951520" y="0"/>
                      <a:pt x="1196181" y="127033"/>
                      <a:pt x="1352503" y="327935"/>
                    </a:cubicBezTo>
                    <a:lnTo>
                      <a:pt x="1238362" y="421852"/>
                    </a:lnTo>
                    <a:cubicBezTo>
                      <a:pt x="1108747" y="254449"/>
                      <a:pt x="905342" y="148489"/>
                      <a:pt x="677189" y="148489"/>
                    </a:cubicBezTo>
                    <a:cubicBezTo>
                      <a:pt x="447974" y="148489"/>
                      <a:pt x="243737" y="255438"/>
                      <a:pt x="114141" y="424124"/>
                    </a:cubicBezTo>
                    <a:lnTo>
                      <a:pt x="0" y="330207"/>
                    </a:lnTo>
                    <a:cubicBezTo>
                      <a:pt x="156302" y="128019"/>
                      <a:pt x="401795" y="0"/>
                      <a:pt x="677189"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707" tIns="30354" rIns="60707" bIns="30354" rtlCol="0" anchor="ctr"/>
              <a:lstStyle>
                <a:defPPr>
                  <a:defRPr lang="en-US"/>
                </a:defPPr>
                <a:lvl1pPr marL="0" algn="l" defTabSz="1086775" rtl="0" eaLnBrk="1" latinLnBrk="0" hangingPunct="1">
                  <a:defRPr sz="2200" kern="1200">
                    <a:solidFill>
                      <a:schemeClr val="lt1"/>
                    </a:solidFill>
                    <a:latin typeface="+mn-lt"/>
                    <a:ea typeface="+mn-ea"/>
                    <a:cs typeface="+mn-cs"/>
                  </a:defRPr>
                </a:lvl1pPr>
                <a:lvl2pPr marL="543388" algn="l" defTabSz="1086775" rtl="0" eaLnBrk="1" latinLnBrk="0" hangingPunct="1">
                  <a:defRPr sz="2200" kern="1200">
                    <a:solidFill>
                      <a:schemeClr val="lt1"/>
                    </a:solidFill>
                    <a:latin typeface="+mn-lt"/>
                    <a:ea typeface="+mn-ea"/>
                    <a:cs typeface="+mn-cs"/>
                  </a:defRPr>
                </a:lvl2pPr>
                <a:lvl3pPr marL="1086775" algn="l" defTabSz="1086775" rtl="0" eaLnBrk="1" latinLnBrk="0" hangingPunct="1">
                  <a:defRPr sz="2200" kern="1200">
                    <a:solidFill>
                      <a:schemeClr val="lt1"/>
                    </a:solidFill>
                    <a:latin typeface="+mn-lt"/>
                    <a:ea typeface="+mn-ea"/>
                    <a:cs typeface="+mn-cs"/>
                  </a:defRPr>
                </a:lvl3pPr>
                <a:lvl4pPr marL="1630163" algn="l" defTabSz="1086775" rtl="0" eaLnBrk="1" latinLnBrk="0" hangingPunct="1">
                  <a:defRPr sz="2200" kern="1200">
                    <a:solidFill>
                      <a:schemeClr val="lt1"/>
                    </a:solidFill>
                    <a:latin typeface="+mn-lt"/>
                    <a:ea typeface="+mn-ea"/>
                    <a:cs typeface="+mn-cs"/>
                  </a:defRPr>
                </a:lvl4pPr>
                <a:lvl5pPr marL="2173551" algn="l" defTabSz="1086775" rtl="0" eaLnBrk="1" latinLnBrk="0" hangingPunct="1">
                  <a:defRPr sz="2200" kern="1200">
                    <a:solidFill>
                      <a:schemeClr val="lt1"/>
                    </a:solidFill>
                    <a:latin typeface="+mn-lt"/>
                    <a:ea typeface="+mn-ea"/>
                    <a:cs typeface="+mn-cs"/>
                  </a:defRPr>
                </a:lvl5pPr>
                <a:lvl6pPr marL="2716938" algn="l" defTabSz="1086775" rtl="0" eaLnBrk="1" latinLnBrk="0" hangingPunct="1">
                  <a:defRPr sz="2200" kern="1200">
                    <a:solidFill>
                      <a:schemeClr val="lt1"/>
                    </a:solidFill>
                    <a:latin typeface="+mn-lt"/>
                    <a:ea typeface="+mn-ea"/>
                    <a:cs typeface="+mn-cs"/>
                  </a:defRPr>
                </a:lvl6pPr>
                <a:lvl7pPr marL="3260326" algn="l" defTabSz="1086775" rtl="0" eaLnBrk="1" latinLnBrk="0" hangingPunct="1">
                  <a:defRPr sz="2200" kern="1200">
                    <a:solidFill>
                      <a:schemeClr val="lt1"/>
                    </a:solidFill>
                    <a:latin typeface="+mn-lt"/>
                    <a:ea typeface="+mn-ea"/>
                    <a:cs typeface="+mn-cs"/>
                  </a:defRPr>
                </a:lvl7pPr>
                <a:lvl8pPr marL="3803713" algn="l" defTabSz="1086775" rtl="0" eaLnBrk="1" latinLnBrk="0" hangingPunct="1">
                  <a:defRPr sz="2200" kern="1200">
                    <a:solidFill>
                      <a:schemeClr val="lt1"/>
                    </a:solidFill>
                    <a:latin typeface="+mn-lt"/>
                    <a:ea typeface="+mn-ea"/>
                    <a:cs typeface="+mn-cs"/>
                  </a:defRPr>
                </a:lvl8pPr>
                <a:lvl9pPr marL="4347102" algn="l" defTabSz="1086775" rtl="0" eaLnBrk="1" latinLnBrk="0" hangingPunct="1">
                  <a:defRPr sz="2200" kern="1200">
                    <a:solidFill>
                      <a:schemeClr val="lt1"/>
                    </a:solidFill>
                    <a:latin typeface="+mn-lt"/>
                    <a:ea typeface="+mn-ea"/>
                    <a:cs typeface="+mn-cs"/>
                  </a:defRPr>
                </a:lvl9pPr>
              </a:lstStyle>
              <a:p>
                <a:pPr algn="ctr" defTabSz="910592"/>
                <a:endParaRPr lang="en-US" sz="1795" dirty="0">
                  <a:solidFill>
                    <a:srgbClr val="000000"/>
                  </a:solidFill>
                  <a:latin typeface="Franklin Gothic Book" panose="020B0503020102020204" pitchFamily="34" charset="0"/>
                </a:endParaRPr>
              </a:p>
            </p:txBody>
          </p:sp>
        </p:grpSp>
        <p:grpSp>
          <p:nvGrpSpPr>
            <p:cNvPr id="94" name="Group 93">
              <a:extLst>
                <a:ext uri="{FF2B5EF4-FFF2-40B4-BE49-F238E27FC236}">
                  <a16:creationId xmlns:a16="http://schemas.microsoft.com/office/drawing/2014/main" id="{F45EEDF2-CE9E-4A96-B5B9-C8807BA1B160}"/>
                </a:ext>
              </a:extLst>
            </p:cNvPr>
            <p:cNvGrpSpPr/>
            <p:nvPr/>
          </p:nvGrpSpPr>
          <p:grpSpPr>
            <a:xfrm>
              <a:off x="6274052" y="5582829"/>
              <a:ext cx="399982" cy="790444"/>
              <a:chOff x="6268492" y="5582829"/>
              <a:chExt cx="399982" cy="790444"/>
            </a:xfrm>
          </p:grpSpPr>
          <p:sp>
            <p:nvSpPr>
              <p:cNvPr id="139" name="Oval 155">
                <a:extLst>
                  <a:ext uri="{FF2B5EF4-FFF2-40B4-BE49-F238E27FC236}">
                    <a16:creationId xmlns:a16="http://schemas.microsoft.com/office/drawing/2014/main" id="{C6C39C0F-8850-400A-91E4-AD510E4B93EB}"/>
                  </a:ext>
                </a:extLst>
              </p:cNvPr>
              <p:cNvSpPr>
                <a:spLocks noChangeAspect="1"/>
              </p:cNvSpPr>
              <p:nvPr/>
            </p:nvSpPr>
            <p:spPr>
              <a:xfrm>
                <a:off x="6302742" y="5894968"/>
                <a:ext cx="322197" cy="478305"/>
              </a:xfrm>
              <a:custGeom>
                <a:avLst/>
                <a:gdLst/>
                <a:ahLst/>
                <a:cxnLst/>
                <a:rect l="l" t="t" r="r" b="b"/>
                <a:pathLst>
                  <a:path w="1032119" h="1528406">
                    <a:moveTo>
                      <a:pt x="758126" y="918596"/>
                    </a:moveTo>
                    <a:cubicBezTo>
                      <a:pt x="710992" y="918596"/>
                      <a:pt x="672782" y="956806"/>
                      <a:pt x="672782" y="1003940"/>
                    </a:cubicBezTo>
                    <a:cubicBezTo>
                      <a:pt x="672782" y="1051074"/>
                      <a:pt x="710992" y="1089284"/>
                      <a:pt x="758126" y="1089284"/>
                    </a:cubicBezTo>
                    <a:cubicBezTo>
                      <a:pt x="805260" y="1089284"/>
                      <a:pt x="843470" y="1051074"/>
                      <a:pt x="843470" y="1003940"/>
                    </a:cubicBezTo>
                    <a:cubicBezTo>
                      <a:pt x="843470" y="956806"/>
                      <a:pt x="805260" y="918596"/>
                      <a:pt x="758126" y="918596"/>
                    </a:cubicBezTo>
                    <a:close/>
                    <a:moveTo>
                      <a:pt x="275133" y="918596"/>
                    </a:moveTo>
                    <a:cubicBezTo>
                      <a:pt x="227999" y="918596"/>
                      <a:pt x="189789" y="956806"/>
                      <a:pt x="189789" y="1003940"/>
                    </a:cubicBezTo>
                    <a:cubicBezTo>
                      <a:pt x="189789" y="1051074"/>
                      <a:pt x="227999" y="1089284"/>
                      <a:pt x="275133" y="1089284"/>
                    </a:cubicBezTo>
                    <a:cubicBezTo>
                      <a:pt x="322267" y="1089284"/>
                      <a:pt x="360477" y="1051074"/>
                      <a:pt x="360477" y="1003940"/>
                    </a:cubicBezTo>
                    <a:cubicBezTo>
                      <a:pt x="360477" y="956806"/>
                      <a:pt x="322267" y="918596"/>
                      <a:pt x="275133" y="918596"/>
                    </a:cubicBezTo>
                    <a:close/>
                    <a:moveTo>
                      <a:pt x="281944" y="324482"/>
                    </a:moveTo>
                    <a:cubicBezTo>
                      <a:pt x="230418" y="324482"/>
                      <a:pt x="188648" y="366252"/>
                      <a:pt x="188648" y="417778"/>
                    </a:cubicBezTo>
                    <a:lnTo>
                      <a:pt x="188648" y="535986"/>
                    </a:lnTo>
                    <a:cubicBezTo>
                      <a:pt x="188648" y="587512"/>
                      <a:pt x="230418" y="629282"/>
                      <a:pt x="281944" y="629282"/>
                    </a:cubicBezTo>
                    <a:lnTo>
                      <a:pt x="750174" y="629282"/>
                    </a:lnTo>
                    <a:cubicBezTo>
                      <a:pt x="801700" y="629282"/>
                      <a:pt x="843470" y="587512"/>
                      <a:pt x="843470" y="535986"/>
                    </a:cubicBezTo>
                    <a:lnTo>
                      <a:pt x="843470" y="417778"/>
                    </a:lnTo>
                    <a:cubicBezTo>
                      <a:pt x="843470" y="366252"/>
                      <a:pt x="801700" y="324482"/>
                      <a:pt x="750174" y="324482"/>
                    </a:cubicBezTo>
                    <a:close/>
                    <a:moveTo>
                      <a:pt x="422430" y="162600"/>
                    </a:moveTo>
                    <a:cubicBezTo>
                      <a:pt x="402459" y="162600"/>
                      <a:pt x="386269" y="178790"/>
                      <a:pt x="386269" y="198761"/>
                    </a:cubicBezTo>
                    <a:lnTo>
                      <a:pt x="386269" y="244577"/>
                    </a:lnTo>
                    <a:cubicBezTo>
                      <a:pt x="386269" y="264548"/>
                      <a:pt x="402459" y="280738"/>
                      <a:pt x="422430" y="280738"/>
                    </a:cubicBezTo>
                    <a:lnTo>
                      <a:pt x="603912" y="280738"/>
                    </a:lnTo>
                    <a:cubicBezTo>
                      <a:pt x="623883" y="280738"/>
                      <a:pt x="640073" y="264548"/>
                      <a:pt x="640073" y="244577"/>
                    </a:cubicBezTo>
                    <a:lnTo>
                      <a:pt x="640073" y="198761"/>
                    </a:lnTo>
                    <a:cubicBezTo>
                      <a:pt x="640073" y="178790"/>
                      <a:pt x="623883" y="162600"/>
                      <a:pt x="603912" y="162600"/>
                    </a:cubicBezTo>
                    <a:close/>
                    <a:moveTo>
                      <a:pt x="265534" y="123019"/>
                    </a:moveTo>
                    <a:lnTo>
                      <a:pt x="760408" y="123019"/>
                    </a:lnTo>
                    <a:cubicBezTo>
                      <a:pt x="863516" y="123019"/>
                      <a:pt x="947102" y="206605"/>
                      <a:pt x="947102" y="309713"/>
                    </a:cubicBezTo>
                    <a:lnTo>
                      <a:pt x="947102" y="1022934"/>
                    </a:lnTo>
                    <a:cubicBezTo>
                      <a:pt x="947102" y="1100265"/>
                      <a:pt x="900085" y="1166615"/>
                      <a:pt x="833078" y="1194957"/>
                    </a:cubicBezTo>
                    <a:lnTo>
                      <a:pt x="815209" y="1200504"/>
                    </a:lnTo>
                    <a:lnTo>
                      <a:pt x="1032119" y="1528405"/>
                    </a:lnTo>
                    <a:lnTo>
                      <a:pt x="890223" y="1528405"/>
                    </a:lnTo>
                    <a:lnTo>
                      <a:pt x="739029" y="1299846"/>
                    </a:lnTo>
                    <a:lnTo>
                      <a:pt x="293091" y="1299846"/>
                    </a:lnTo>
                    <a:lnTo>
                      <a:pt x="141897" y="1528406"/>
                    </a:lnTo>
                    <a:lnTo>
                      <a:pt x="0" y="1528406"/>
                    </a:lnTo>
                    <a:lnTo>
                      <a:pt x="215859" y="1202095"/>
                    </a:lnTo>
                    <a:lnTo>
                      <a:pt x="192865" y="1194957"/>
                    </a:lnTo>
                    <a:cubicBezTo>
                      <a:pt x="125857" y="1166615"/>
                      <a:pt x="78840" y="1100265"/>
                      <a:pt x="78840" y="1022934"/>
                    </a:cubicBezTo>
                    <a:lnTo>
                      <a:pt x="78840" y="309713"/>
                    </a:lnTo>
                    <a:cubicBezTo>
                      <a:pt x="78840" y="206605"/>
                      <a:pt x="162426" y="123019"/>
                      <a:pt x="265534" y="123019"/>
                    </a:cubicBezTo>
                    <a:close/>
                    <a:moveTo>
                      <a:pt x="580456" y="0"/>
                    </a:moveTo>
                    <a:cubicBezTo>
                      <a:pt x="609385" y="0"/>
                      <a:pt x="632836" y="23451"/>
                      <a:pt x="632836" y="52380"/>
                    </a:cubicBezTo>
                    <a:cubicBezTo>
                      <a:pt x="632836" y="81309"/>
                      <a:pt x="609385" y="104760"/>
                      <a:pt x="580456" y="104760"/>
                    </a:cubicBezTo>
                    <a:cubicBezTo>
                      <a:pt x="551527" y="104760"/>
                      <a:pt x="528076" y="81309"/>
                      <a:pt x="528076" y="52380"/>
                    </a:cubicBezTo>
                    <a:cubicBezTo>
                      <a:pt x="528076" y="23451"/>
                      <a:pt x="551527" y="0"/>
                      <a:pt x="580456" y="0"/>
                    </a:cubicBezTo>
                    <a:close/>
                    <a:moveTo>
                      <a:pt x="445488" y="0"/>
                    </a:moveTo>
                    <a:cubicBezTo>
                      <a:pt x="474417" y="0"/>
                      <a:pt x="497868" y="23451"/>
                      <a:pt x="497868" y="52380"/>
                    </a:cubicBezTo>
                    <a:cubicBezTo>
                      <a:pt x="497868" y="81309"/>
                      <a:pt x="474417" y="104760"/>
                      <a:pt x="445488" y="104760"/>
                    </a:cubicBezTo>
                    <a:cubicBezTo>
                      <a:pt x="416559" y="104760"/>
                      <a:pt x="393108" y="81309"/>
                      <a:pt x="393108" y="52380"/>
                    </a:cubicBezTo>
                    <a:cubicBezTo>
                      <a:pt x="393108" y="23451"/>
                      <a:pt x="416559" y="0"/>
                      <a:pt x="445488" y="0"/>
                    </a:cubicBezTo>
                    <a:close/>
                  </a:path>
                </a:pathLst>
              </a:custGeom>
              <a:solidFill>
                <a:schemeClr val="tx1"/>
              </a:solidFill>
              <a:ln w="25400" cap="flat" cmpd="sng" algn="ctr">
                <a:noFill/>
                <a:prstDash val="solid"/>
              </a:ln>
              <a:effectLst/>
            </p:spPr>
            <p:txBody>
              <a:bodyPr rtlCol="0" anchor="ctr"/>
              <a:lstStyle/>
              <a:p>
                <a:pPr algn="ctr" defTabSz="910655">
                  <a:defRPr/>
                </a:pPr>
                <a:endParaRPr lang="en-US" sz="1895" kern="0" dirty="0">
                  <a:solidFill>
                    <a:srgbClr val="FFFFFF"/>
                  </a:solidFill>
                  <a:latin typeface="Franklin Gothic Book" charset="0"/>
                  <a:cs typeface="Franklin Gothic Book" charset="0"/>
                </a:endParaRPr>
              </a:p>
            </p:txBody>
          </p:sp>
          <p:sp>
            <p:nvSpPr>
              <p:cNvPr id="140" name="Donut 34">
                <a:extLst>
                  <a:ext uri="{FF2B5EF4-FFF2-40B4-BE49-F238E27FC236}">
                    <a16:creationId xmlns:a16="http://schemas.microsoft.com/office/drawing/2014/main" id="{98B2F2B6-45F7-4AAE-8884-AA1EEE23FEC0}"/>
                  </a:ext>
                </a:extLst>
              </p:cNvPr>
              <p:cNvSpPr/>
              <p:nvPr/>
            </p:nvSpPr>
            <p:spPr>
              <a:xfrm>
                <a:off x="6268492" y="5582829"/>
                <a:ext cx="399982" cy="271736"/>
              </a:xfrm>
              <a:custGeom>
                <a:avLst/>
                <a:gdLst/>
                <a:ahLst/>
                <a:cxnLst/>
                <a:rect l="l" t="t" r="r" b="b"/>
                <a:pathLst>
                  <a:path w="1352503" h="916577">
                    <a:moveTo>
                      <a:pt x="675847" y="759073"/>
                    </a:moveTo>
                    <a:cubicBezTo>
                      <a:pt x="719341" y="759073"/>
                      <a:pt x="754599" y="794331"/>
                      <a:pt x="754599" y="837825"/>
                    </a:cubicBezTo>
                    <a:cubicBezTo>
                      <a:pt x="754599" y="881319"/>
                      <a:pt x="719341" y="916577"/>
                      <a:pt x="675847" y="916577"/>
                    </a:cubicBezTo>
                    <a:cubicBezTo>
                      <a:pt x="632353" y="916577"/>
                      <a:pt x="597095" y="881319"/>
                      <a:pt x="597095" y="837825"/>
                    </a:cubicBezTo>
                    <a:cubicBezTo>
                      <a:pt x="597095" y="794331"/>
                      <a:pt x="632353" y="759073"/>
                      <a:pt x="675847" y="759073"/>
                    </a:cubicBezTo>
                    <a:close/>
                    <a:moveTo>
                      <a:pt x="677189" y="517624"/>
                    </a:moveTo>
                    <a:cubicBezTo>
                      <a:pt x="788199" y="517624"/>
                      <a:pt x="883882" y="583250"/>
                      <a:pt x="926903" y="678124"/>
                    </a:cubicBezTo>
                    <a:lnTo>
                      <a:pt x="811013" y="773481"/>
                    </a:lnTo>
                    <a:cubicBezTo>
                      <a:pt x="803794" y="706546"/>
                      <a:pt x="746460" y="655440"/>
                      <a:pt x="677189" y="655440"/>
                    </a:cubicBezTo>
                    <a:cubicBezTo>
                      <a:pt x="606757" y="655440"/>
                      <a:pt x="548666" y="708273"/>
                      <a:pt x="542705" y="776752"/>
                    </a:cubicBezTo>
                    <a:lnTo>
                      <a:pt x="426043" y="680761"/>
                    </a:lnTo>
                    <a:cubicBezTo>
                      <a:pt x="468661" y="584515"/>
                      <a:pt x="565114" y="517624"/>
                      <a:pt x="677189" y="517624"/>
                    </a:cubicBezTo>
                    <a:close/>
                    <a:moveTo>
                      <a:pt x="677189" y="259242"/>
                    </a:moveTo>
                    <a:cubicBezTo>
                      <a:pt x="869972" y="259242"/>
                      <a:pt x="1040868" y="352953"/>
                      <a:pt x="1145412" y="498333"/>
                    </a:cubicBezTo>
                    <a:lnTo>
                      <a:pt x="1029569" y="593650"/>
                    </a:lnTo>
                    <a:cubicBezTo>
                      <a:pt x="952080" y="482372"/>
                      <a:pt x="823093" y="409946"/>
                      <a:pt x="677189" y="409946"/>
                    </a:cubicBezTo>
                    <a:cubicBezTo>
                      <a:pt x="530231" y="409946"/>
                      <a:pt x="400434" y="483422"/>
                      <a:pt x="322934" y="595922"/>
                    </a:cubicBezTo>
                    <a:lnTo>
                      <a:pt x="207092" y="500605"/>
                    </a:lnTo>
                    <a:cubicBezTo>
                      <a:pt x="311634" y="353984"/>
                      <a:pt x="483348" y="259242"/>
                      <a:pt x="677189" y="259242"/>
                    </a:cubicBezTo>
                    <a:close/>
                    <a:moveTo>
                      <a:pt x="677189" y="0"/>
                    </a:moveTo>
                    <a:cubicBezTo>
                      <a:pt x="951520" y="0"/>
                      <a:pt x="1196181" y="127033"/>
                      <a:pt x="1352503" y="327935"/>
                    </a:cubicBezTo>
                    <a:lnTo>
                      <a:pt x="1238362" y="421852"/>
                    </a:lnTo>
                    <a:cubicBezTo>
                      <a:pt x="1108747" y="254449"/>
                      <a:pt x="905342" y="148489"/>
                      <a:pt x="677189" y="148489"/>
                    </a:cubicBezTo>
                    <a:cubicBezTo>
                      <a:pt x="447974" y="148489"/>
                      <a:pt x="243737" y="255438"/>
                      <a:pt x="114141" y="424124"/>
                    </a:cubicBezTo>
                    <a:lnTo>
                      <a:pt x="0" y="330207"/>
                    </a:lnTo>
                    <a:cubicBezTo>
                      <a:pt x="156302" y="128019"/>
                      <a:pt x="401795" y="0"/>
                      <a:pt x="677189"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707" tIns="30354" rIns="60707" bIns="30354" rtlCol="0" anchor="ctr"/>
              <a:lstStyle>
                <a:defPPr>
                  <a:defRPr lang="en-US"/>
                </a:defPPr>
                <a:lvl1pPr marL="0" algn="l" defTabSz="1086775" rtl="0" eaLnBrk="1" latinLnBrk="0" hangingPunct="1">
                  <a:defRPr sz="2200" kern="1200">
                    <a:solidFill>
                      <a:schemeClr val="lt1"/>
                    </a:solidFill>
                    <a:latin typeface="+mn-lt"/>
                    <a:ea typeface="+mn-ea"/>
                    <a:cs typeface="+mn-cs"/>
                  </a:defRPr>
                </a:lvl1pPr>
                <a:lvl2pPr marL="543388" algn="l" defTabSz="1086775" rtl="0" eaLnBrk="1" latinLnBrk="0" hangingPunct="1">
                  <a:defRPr sz="2200" kern="1200">
                    <a:solidFill>
                      <a:schemeClr val="lt1"/>
                    </a:solidFill>
                    <a:latin typeface="+mn-lt"/>
                    <a:ea typeface="+mn-ea"/>
                    <a:cs typeface="+mn-cs"/>
                  </a:defRPr>
                </a:lvl2pPr>
                <a:lvl3pPr marL="1086775" algn="l" defTabSz="1086775" rtl="0" eaLnBrk="1" latinLnBrk="0" hangingPunct="1">
                  <a:defRPr sz="2200" kern="1200">
                    <a:solidFill>
                      <a:schemeClr val="lt1"/>
                    </a:solidFill>
                    <a:latin typeface="+mn-lt"/>
                    <a:ea typeface="+mn-ea"/>
                    <a:cs typeface="+mn-cs"/>
                  </a:defRPr>
                </a:lvl3pPr>
                <a:lvl4pPr marL="1630163" algn="l" defTabSz="1086775" rtl="0" eaLnBrk="1" latinLnBrk="0" hangingPunct="1">
                  <a:defRPr sz="2200" kern="1200">
                    <a:solidFill>
                      <a:schemeClr val="lt1"/>
                    </a:solidFill>
                    <a:latin typeface="+mn-lt"/>
                    <a:ea typeface="+mn-ea"/>
                    <a:cs typeface="+mn-cs"/>
                  </a:defRPr>
                </a:lvl4pPr>
                <a:lvl5pPr marL="2173551" algn="l" defTabSz="1086775" rtl="0" eaLnBrk="1" latinLnBrk="0" hangingPunct="1">
                  <a:defRPr sz="2200" kern="1200">
                    <a:solidFill>
                      <a:schemeClr val="lt1"/>
                    </a:solidFill>
                    <a:latin typeface="+mn-lt"/>
                    <a:ea typeface="+mn-ea"/>
                    <a:cs typeface="+mn-cs"/>
                  </a:defRPr>
                </a:lvl5pPr>
                <a:lvl6pPr marL="2716938" algn="l" defTabSz="1086775" rtl="0" eaLnBrk="1" latinLnBrk="0" hangingPunct="1">
                  <a:defRPr sz="2200" kern="1200">
                    <a:solidFill>
                      <a:schemeClr val="lt1"/>
                    </a:solidFill>
                    <a:latin typeface="+mn-lt"/>
                    <a:ea typeface="+mn-ea"/>
                    <a:cs typeface="+mn-cs"/>
                  </a:defRPr>
                </a:lvl6pPr>
                <a:lvl7pPr marL="3260326" algn="l" defTabSz="1086775" rtl="0" eaLnBrk="1" latinLnBrk="0" hangingPunct="1">
                  <a:defRPr sz="2200" kern="1200">
                    <a:solidFill>
                      <a:schemeClr val="lt1"/>
                    </a:solidFill>
                    <a:latin typeface="+mn-lt"/>
                    <a:ea typeface="+mn-ea"/>
                    <a:cs typeface="+mn-cs"/>
                  </a:defRPr>
                </a:lvl7pPr>
                <a:lvl8pPr marL="3803713" algn="l" defTabSz="1086775" rtl="0" eaLnBrk="1" latinLnBrk="0" hangingPunct="1">
                  <a:defRPr sz="2200" kern="1200">
                    <a:solidFill>
                      <a:schemeClr val="lt1"/>
                    </a:solidFill>
                    <a:latin typeface="+mn-lt"/>
                    <a:ea typeface="+mn-ea"/>
                    <a:cs typeface="+mn-cs"/>
                  </a:defRPr>
                </a:lvl8pPr>
                <a:lvl9pPr marL="4347102" algn="l" defTabSz="1086775" rtl="0" eaLnBrk="1" latinLnBrk="0" hangingPunct="1">
                  <a:defRPr sz="2200" kern="1200">
                    <a:solidFill>
                      <a:schemeClr val="lt1"/>
                    </a:solidFill>
                    <a:latin typeface="+mn-lt"/>
                    <a:ea typeface="+mn-ea"/>
                    <a:cs typeface="+mn-cs"/>
                  </a:defRPr>
                </a:lvl9pPr>
              </a:lstStyle>
              <a:p>
                <a:pPr algn="ctr" defTabSz="910592"/>
                <a:endParaRPr lang="en-US" sz="1795" dirty="0">
                  <a:solidFill>
                    <a:srgbClr val="000000"/>
                  </a:solidFill>
                  <a:latin typeface="Franklin Gothic Book" panose="020B0503020102020204" pitchFamily="34" charset="0"/>
                </a:endParaRPr>
              </a:p>
            </p:txBody>
          </p:sp>
        </p:grpSp>
        <p:grpSp>
          <p:nvGrpSpPr>
            <p:cNvPr id="95" name="Group 94">
              <a:extLst>
                <a:ext uri="{FF2B5EF4-FFF2-40B4-BE49-F238E27FC236}">
                  <a16:creationId xmlns:a16="http://schemas.microsoft.com/office/drawing/2014/main" id="{56A33840-F99A-4E9F-A30E-EA288C07DABD}"/>
                </a:ext>
              </a:extLst>
            </p:cNvPr>
            <p:cNvGrpSpPr/>
            <p:nvPr/>
          </p:nvGrpSpPr>
          <p:grpSpPr>
            <a:xfrm>
              <a:off x="5404059" y="5596113"/>
              <a:ext cx="399982" cy="701504"/>
              <a:chOff x="5403471" y="5596113"/>
              <a:chExt cx="399982" cy="701504"/>
            </a:xfrm>
          </p:grpSpPr>
          <p:sp>
            <p:nvSpPr>
              <p:cNvPr id="105" name="Rectangle 5">
                <a:extLst>
                  <a:ext uri="{FF2B5EF4-FFF2-40B4-BE49-F238E27FC236}">
                    <a16:creationId xmlns:a16="http://schemas.microsoft.com/office/drawing/2014/main" id="{A5612C87-326D-4043-81D8-8B4797C57F5A}"/>
                  </a:ext>
                </a:extLst>
              </p:cNvPr>
              <p:cNvSpPr/>
              <p:nvPr/>
            </p:nvSpPr>
            <p:spPr>
              <a:xfrm>
                <a:off x="5432549" y="5910801"/>
                <a:ext cx="341827" cy="386816"/>
              </a:xfrm>
              <a:custGeom>
                <a:avLst/>
                <a:gdLst/>
                <a:ahLst/>
                <a:cxnLst/>
                <a:rect l="l" t="t" r="r" b="b"/>
                <a:pathLst>
                  <a:path w="389545" h="439725">
                    <a:moveTo>
                      <a:pt x="115775" y="232922"/>
                    </a:moveTo>
                    <a:lnTo>
                      <a:pt x="111614" y="248216"/>
                    </a:lnTo>
                    <a:cubicBezTo>
                      <a:pt x="108055" y="254266"/>
                      <a:pt x="102897" y="259402"/>
                      <a:pt x="96515" y="262988"/>
                    </a:cubicBezTo>
                    <a:cubicBezTo>
                      <a:pt x="83995" y="270024"/>
                      <a:pt x="68639" y="270036"/>
                      <a:pt x="56108" y="263020"/>
                    </a:cubicBezTo>
                    <a:lnTo>
                      <a:pt x="55460" y="262388"/>
                    </a:lnTo>
                    <a:lnTo>
                      <a:pt x="54477" y="267183"/>
                    </a:lnTo>
                    <a:cubicBezTo>
                      <a:pt x="54477" y="345374"/>
                      <a:pt x="118835" y="408761"/>
                      <a:pt x="198226" y="408761"/>
                    </a:cubicBezTo>
                    <a:cubicBezTo>
                      <a:pt x="277616" y="408761"/>
                      <a:pt x="341974" y="345374"/>
                      <a:pt x="341974" y="267183"/>
                    </a:cubicBezTo>
                    <a:lnTo>
                      <a:pt x="339841" y="256779"/>
                    </a:lnTo>
                    <a:lnTo>
                      <a:pt x="333494" y="262988"/>
                    </a:lnTo>
                    <a:cubicBezTo>
                      <a:pt x="320974" y="270024"/>
                      <a:pt x="305618" y="270036"/>
                      <a:pt x="293087" y="263020"/>
                    </a:cubicBezTo>
                    <a:cubicBezTo>
                      <a:pt x="286700" y="259445"/>
                      <a:pt x="281534" y="254317"/>
                      <a:pt x="277964" y="248273"/>
                    </a:cubicBezTo>
                    <a:lnTo>
                      <a:pt x="273761" y="232922"/>
                    </a:lnTo>
                    <a:lnTo>
                      <a:pt x="269600" y="248216"/>
                    </a:lnTo>
                    <a:cubicBezTo>
                      <a:pt x="266041" y="254266"/>
                      <a:pt x="260883" y="259402"/>
                      <a:pt x="254501" y="262988"/>
                    </a:cubicBezTo>
                    <a:cubicBezTo>
                      <a:pt x="241981" y="270024"/>
                      <a:pt x="226625" y="270036"/>
                      <a:pt x="214094" y="263020"/>
                    </a:cubicBezTo>
                    <a:cubicBezTo>
                      <a:pt x="207707" y="259445"/>
                      <a:pt x="202541" y="254317"/>
                      <a:pt x="198971" y="248273"/>
                    </a:cubicBezTo>
                    <a:lnTo>
                      <a:pt x="194768" y="232922"/>
                    </a:lnTo>
                    <a:lnTo>
                      <a:pt x="190607" y="248216"/>
                    </a:lnTo>
                    <a:cubicBezTo>
                      <a:pt x="187048" y="254266"/>
                      <a:pt x="181890" y="259402"/>
                      <a:pt x="175508" y="262988"/>
                    </a:cubicBezTo>
                    <a:cubicBezTo>
                      <a:pt x="162988" y="270024"/>
                      <a:pt x="147632" y="270036"/>
                      <a:pt x="135101" y="263020"/>
                    </a:cubicBezTo>
                    <a:cubicBezTo>
                      <a:pt x="128714" y="259445"/>
                      <a:pt x="123548" y="254317"/>
                      <a:pt x="119978" y="248273"/>
                    </a:cubicBezTo>
                    <a:close/>
                    <a:moveTo>
                      <a:pt x="198226" y="125606"/>
                    </a:moveTo>
                    <a:cubicBezTo>
                      <a:pt x="138683" y="125606"/>
                      <a:pt x="87596" y="161260"/>
                      <a:pt x="65774" y="212075"/>
                    </a:cubicBezTo>
                    <a:lnTo>
                      <a:pt x="57153" y="254132"/>
                    </a:lnTo>
                    <a:lnTo>
                      <a:pt x="59769" y="256670"/>
                    </a:lnTo>
                    <a:cubicBezTo>
                      <a:pt x="70030" y="262377"/>
                      <a:pt x="82591" y="262367"/>
                      <a:pt x="92843" y="256644"/>
                    </a:cubicBezTo>
                    <a:cubicBezTo>
                      <a:pt x="103338" y="250785"/>
                      <a:pt x="109814" y="239835"/>
                      <a:pt x="109794" y="227978"/>
                    </a:cubicBezTo>
                    <a:lnTo>
                      <a:pt x="117123" y="227966"/>
                    </a:lnTo>
                    <a:lnTo>
                      <a:pt x="117105" y="228032"/>
                    </a:lnTo>
                    <a:lnTo>
                      <a:pt x="121765" y="228032"/>
                    </a:lnTo>
                    <a:cubicBezTo>
                      <a:pt x="121765" y="239888"/>
                      <a:pt x="128258" y="250827"/>
                      <a:pt x="138762" y="256670"/>
                    </a:cubicBezTo>
                    <a:cubicBezTo>
                      <a:pt x="149023" y="262377"/>
                      <a:pt x="161584" y="262367"/>
                      <a:pt x="171836" y="256644"/>
                    </a:cubicBezTo>
                    <a:cubicBezTo>
                      <a:pt x="182331" y="250785"/>
                      <a:pt x="188807" y="239835"/>
                      <a:pt x="188787" y="227978"/>
                    </a:cubicBezTo>
                    <a:lnTo>
                      <a:pt x="196116" y="227966"/>
                    </a:lnTo>
                    <a:lnTo>
                      <a:pt x="196098" y="228032"/>
                    </a:lnTo>
                    <a:lnTo>
                      <a:pt x="200758" y="228032"/>
                    </a:lnTo>
                    <a:cubicBezTo>
                      <a:pt x="200758" y="239888"/>
                      <a:pt x="207251" y="250827"/>
                      <a:pt x="217755" y="256670"/>
                    </a:cubicBezTo>
                    <a:cubicBezTo>
                      <a:pt x="228016" y="262377"/>
                      <a:pt x="240577" y="262367"/>
                      <a:pt x="250829" y="256644"/>
                    </a:cubicBezTo>
                    <a:cubicBezTo>
                      <a:pt x="261324" y="250785"/>
                      <a:pt x="267800" y="239835"/>
                      <a:pt x="267780" y="227978"/>
                    </a:cubicBezTo>
                    <a:lnTo>
                      <a:pt x="275109" y="227966"/>
                    </a:lnTo>
                    <a:lnTo>
                      <a:pt x="275091" y="228032"/>
                    </a:lnTo>
                    <a:lnTo>
                      <a:pt x="279751" y="228032"/>
                    </a:lnTo>
                    <a:cubicBezTo>
                      <a:pt x="279751" y="239888"/>
                      <a:pt x="286244" y="250827"/>
                      <a:pt x="296748" y="256670"/>
                    </a:cubicBezTo>
                    <a:cubicBezTo>
                      <a:pt x="307009" y="262377"/>
                      <a:pt x="319570" y="262367"/>
                      <a:pt x="329822" y="256644"/>
                    </a:cubicBezTo>
                    <a:lnTo>
                      <a:pt x="338152" y="248539"/>
                    </a:lnTo>
                    <a:lnTo>
                      <a:pt x="330678" y="212075"/>
                    </a:lnTo>
                    <a:cubicBezTo>
                      <a:pt x="308855" y="161260"/>
                      <a:pt x="257768" y="125606"/>
                      <a:pt x="198226" y="125606"/>
                    </a:cubicBezTo>
                    <a:close/>
                    <a:moveTo>
                      <a:pt x="0" y="102940"/>
                    </a:moveTo>
                    <a:lnTo>
                      <a:pt x="389545" y="102940"/>
                    </a:lnTo>
                    <a:lnTo>
                      <a:pt x="389545" y="439725"/>
                    </a:lnTo>
                    <a:lnTo>
                      <a:pt x="0" y="439725"/>
                    </a:lnTo>
                    <a:close/>
                    <a:moveTo>
                      <a:pt x="335863" y="20193"/>
                    </a:moveTo>
                    <a:cubicBezTo>
                      <a:pt x="320819" y="20193"/>
                      <a:pt x="308624" y="32204"/>
                      <a:pt x="308624" y="47020"/>
                    </a:cubicBezTo>
                    <a:cubicBezTo>
                      <a:pt x="308624" y="61836"/>
                      <a:pt x="320819" y="73847"/>
                      <a:pt x="335863" y="73847"/>
                    </a:cubicBezTo>
                    <a:cubicBezTo>
                      <a:pt x="350906" y="73847"/>
                      <a:pt x="363101" y="61836"/>
                      <a:pt x="363101" y="47020"/>
                    </a:cubicBezTo>
                    <a:cubicBezTo>
                      <a:pt x="363101" y="32204"/>
                      <a:pt x="350906" y="20193"/>
                      <a:pt x="335863" y="20193"/>
                    </a:cubicBezTo>
                    <a:close/>
                    <a:moveTo>
                      <a:pt x="0" y="0"/>
                    </a:moveTo>
                    <a:lnTo>
                      <a:pt x="389545" y="0"/>
                    </a:lnTo>
                    <a:lnTo>
                      <a:pt x="389545" y="94825"/>
                    </a:lnTo>
                    <a:lnTo>
                      <a:pt x="0" y="94825"/>
                    </a:lnTo>
                    <a:close/>
                  </a:path>
                </a:pathLst>
              </a:custGeom>
              <a:solidFill>
                <a:schemeClr val="tx1"/>
              </a:solidFill>
              <a:ln w="25400" cap="flat" cmpd="sng" algn="ctr">
                <a:noFill/>
                <a:prstDash val="solid"/>
              </a:ln>
              <a:effectLst/>
            </p:spPr>
            <p:txBody>
              <a:bodyPr rtlCol="0" anchor="ctr"/>
              <a:lstStyle/>
              <a:p>
                <a:pPr algn="ctr" defTabSz="910655">
                  <a:defRPr/>
                </a:pPr>
                <a:endParaRPr lang="en-US" sz="1895" kern="0" dirty="0">
                  <a:solidFill>
                    <a:srgbClr val="FFFFFF"/>
                  </a:solidFill>
                  <a:latin typeface="Franklin Gothic Book" charset="0"/>
                  <a:cs typeface="Franklin Gothic Book" charset="0"/>
                </a:endParaRPr>
              </a:p>
            </p:txBody>
          </p:sp>
          <p:sp>
            <p:nvSpPr>
              <p:cNvPr id="138" name="Donut 34">
                <a:extLst>
                  <a:ext uri="{FF2B5EF4-FFF2-40B4-BE49-F238E27FC236}">
                    <a16:creationId xmlns:a16="http://schemas.microsoft.com/office/drawing/2014/main" id="{F65C135C-8511-4EA2-B594-4CE1A1BC06E9}"/>
                  </a:ext>
                </a:extLst>
              </p:cNvPr>
              <p:cNvSpPr/>
              <p:nvPr/>
            </p:nvSpPr>
            <p:spPr>
              <a:xfrm>
                <a:off x="5403471" y="5596113"/>
                <a:ext cx="399982" cy="271736"/>
              </a:xfrm>
              <a:custGeom>
                <a:avLst/>
                <a:gdLst/>
                <a:ahLst/>
                <a:cxnLst/>
                <a:rect l="l" t="t" r="r" b="b"/>
                <a:pathLst>
                  <a:path w="1352503" h="916577">
                    <a:moveTo>
                      <a:pt x="675847" y="759073"/>
                    </a:moveTo>
                    <a:cubicBezTo>
                      <a:pt x="719341" y="759073"/>
                      <a:pt x="754599" y="794331"/>
                      <a:pt x="754599" y="837825"/>
                    </a:cubicBezTo>
                    <a:cubicBezTo>
                      <a:pt x="754599" y="881319"/>
                      <a:pt x="719341" y="916577"/>
                      <a:pt x="675847" y="916577"/>
                    </a:cubicBezTo>
                    <a:cubicBezTo>
                      <a:pt x="632353" y="916577"/>
                      <a:pt x="597095" y="881319"/>
                      <a:pt x="597095" y="837825"/>
                    </a:cubicBezTo>
                    <a:cubicBezTo>
                      <a:pt x="597095" y="794331"/>
                      <a:pt x="632353" y="759073"/>
                      <a:pt x="675847" y="759073"/>
                    </a:cubicBezTo>
                    <a:close/>
                    <a:moveTo>
                      <a:pt x="677189" y="517624"/>
                    </a:moveTo>
                    <a:cubicBezTo>
                      <a:pt x="788199" y="517624"/>
                      <a:pt x="883882" y="583250"/>
                      <a:pt x="926903" y="678124"/>
                    </a:cubicBezTo>
                    <a:lnTo>
                      <a:pt x="811013" y="773481"/>
                    </a:lnTo>
                    <a:cubicBezTo>
                      <a:pt x="803794" y="706546"/>
                      <a:pt x="746460" y="655440"/>
                      <a:pt x="677189" y="655440"/>
                    </a:cubicBezTo>
                    <a:cubicBezTo>
                      <a:pt x="606757" y="655440"/>
                      <a:pt x="548666" y="708273"/>
                      <a:pt x="542705" y="776752"/>
                    </a:cubicBezTo>
                    <a:lnTo>
                      <a:pt x="426043" y="680761"/>
                    </a:lnTo>
                    <a:cubicBezTo>
                      <a:pt x="468661" y="584515"/>
                      <a:pt x="565114" y="517624"/>
                      <a:pt x="677189" y="517624"/>
                    </a:cubicBezTo>
                    <a:close/>
                    <a:moveTo>
                      <a:pt x="677189" y="259242"/>
                    </a:moveTo>
                    <a:cubicBezTo>
                      <a:pt x="869972" y="259242"/>
                      <a:pt x="1040868" y="352953"/>
                      <a:pt x="1145412" y="498333"/>
                    </a:cubicBezTo>
                    <a:lnTo>
                      <a:pt x="1029569" y="593650"/>
                    </a:lnTo>
                    <a:cubicBezTo>
                      <a:pt x="952080" y="482372"/>
                      <a:pt x="823093" y="409946"/>
                      <a:pt x="677189" y="409946"/>
                    </a:cubicBezTo>
                    <a:cubicBezTo>
                      <a:pt x="530231" y="409946"/>
                      <a:pt x="400434" y="483422"/>
                      <a:pt x="322934" y="595922"/>
                    </a:cubicBezTo>
                    <a:lnTo>
                      <a:pt x="207092" y="500605"/>
                    </a:lnTo>
                    <a:cubicBezTo>
                      <a:pt x="311634" y="353984"/>
                      <a:pt x="483348" y="259242"/>
                      <a:pt x="677189" y="259242"/>
                    </a:cubicBezTo>
                    <a:close/>
                    <a:moveTo>
                      <a:pt x="677189" y="0"/>
                    </a:moveTo>
                    <a:cubicBezTo>
                      <a:pt x="951520" y="0"/>
                      <a:pt x="1196181" y="127033"/>
                      <a:pt x="1352503" y="327935"/>
                    </a:cubicBezTo>
                    <a:lnTo>
                      <a:pt x="1238362" y="421852"/>
                    </a:lnTo>
                    <a:cubicBezTo>
                      <a:pt x="1108747" y="254449"/>
                      <a:pt x="905342" y="148489"/>
                      <a:pt x="677189" y="148489"/>
                    </a:cubicBezTo>
                    <a:cubicBezTo>
                      <a:pt x="447974" y="148489"/>
                      <a:pt x="243737" y="255438"/>
                      <a:pt x="114141" y="424124"/>
                    </a:cubicBezTo>
                    <a:lnTo>
                      <a:pt x="0" y="330207"/>
                    </a:lnTo>
                    <a:cubicBezTo>
                      <a:pt x="156302" y="128019"/>
                      <a:pt x="401795" y="0"/>
                      <a:pt x="677189"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707" tIns="30354" rIns="60707" bIns="30354" rtlCol="0" anchor="ctr"/>
              <a:lstStyle>
                <a:defPPr>
                  <a:defRPr lang="en-US"/>
                </a:defPPr>
                <a:lvl1pPr marL="0" algn="l" defTabSz="1086775" rtl="0" eaLnBrk="1" latinLnBrk="0" hangingPunct="1">
                  <a:defRPr sz="2200" kern="1200">
                    <a:solidFill>
                      <a:schemeClr val="lt1"/>
                    </a:solidFill>
                    <a:latin typeface="+mn-lt"/>
                    <a:ea typeface="+mn-ea"/>
                    <a:cs typeface="+mn-cs"/>
                  </a:defRPr>
                </a:lvl1pPr>
                <a:lvl2pPr marL="543388" algn="l" defTabSz="1086775" rtl="0" eaLnBrk="1" latinLnBrk="0" hangingPunct="1">
                  <a:defRPr sz="2200" kern="1200">
                    <a:solidFill>
                      <a:schemeClr val="lt1"/>
                    </a:solidFill>
                    <a:latin typeface="+mn-lt"/>
                    <a:ea typeface="+mn-ea"/>
                    <a:cs typeface="+mn-cs"/>
                  </a:defRPr>
                </a:lvl2pPr>
                <a:lvl3pPr marL="1086775" algn="l" defTabSz="1086775" rtl="0" eaLnBrk="1" latinLnBrk="0" hangingPunct="1">
                  <a:defRPr sz="2200" kern="1200">
                    <a:solidFill>
                      <a:schemeClr val="lt1"/>
                    </a:solidFill>
                    <a:latin typeface="+mn-lt"/>
                    <a:ea typeface="+mn-ea"/>
                    <a:cs typeface="+mn-cs"/>
                  </a:defRPr>
                </a:lvl3pPr>
                <a:lvl4pPr marL="1630163" algn="l" defTabSz="1086775" rtl="0" eaLnBrk="1" latinLnBrk="0" hangingPunct="1">
                  <a:defRPr sz="2200" kern="1200">
                    <a:solidFill>
                      <a:schemeClr val="lt1"/>
                    </a:solidFill>
                    <a:latin typeface="+mn-lt"/>
                    <a:ea typeface="+mn-ea"/>
                    <a:cs typeface="+mn-cs"/>
                  </a:defRPr>
                </a:lvl4pPr>
                <a:lvl5pPr marL="2173551" algn="l" defTabSz="1086775" rtl="0" eaLnBrk="1" latinLnBrk="0" hangingPunct="1">
                  <a:defRPr sz="2200" kern="1200">
                    <a:solidFill>
                      <a:schemeClr val="lt1"/>
                    </a:solidFill>
                    <a:latin typeface="+mn-lt"/>
                    <a:ea typeface="+mn-ea"/>
                    <a:cs typeface="+mn-cs"/>
                  </a:defRPr>
                </a:lvl5pPr>
                <a:lvl6pPr marL="2716938" algn="l" defTabSz="1086775" rtl="0" eaLnBrk="1" latinLnBrk="0" hangingPunct="1">
                  <a:defRPr sz="2200" kern="1200">
                    <a:solidFill>
                      <a:schemeClr val="lt1"/>
                    </a:solidFill>
                    <a:latin typeface="+mn-lt"/>
                    <a:ea typeface="+mn-ea"/>
                    <a:cs typeface="+mn-cs"/>
                  </a:defRPr>
                </a:lvl6pPr>
                <a:lvl7pPr marL="3260326" algn="l" defTabSz="1086775" rtl="0" eaLnBrk="1" latinLnBrk="0" hangingPunct="1">
                  <a:defRPr sz="2200" kern="1200">
                    <a:solidFill>
                      <a:schemeClr val="lt1"/>
                    </a:solidFill>
                    <a:latin typeface="+mn-lt"/>
                    <a:ea typeface="+mn-ea"/>
                    <a:cs typeface="+mn-cs"/>
                  </a:defRPr>
                </a:lvl7pPr>
                <a:lvl8pPr marL="3803713" algn="l" defTabSz="1086775" rtl="0" eaLnBrk="1" latinLnBrk="0" hangingPunct="1">
                  <a:defRPr sz="2200" kern="1200">
                    <a:solidFill>
                      <a:schemeClr val="lt1"/>
                    </a:solidFill>
                    <a:latin typeface="+mn-lt"/>
                    <a:ea typeface="+mn-ea"/>
                    <a:cs typeface="+mn-cs"/>
                  </a:defRPr>
                </a:lvl8pPr>
                <a:lvl9pPr marL="4347102" algn="l" defTabSz="1086775" rtl="0" eaLnBrk="1" latinLnBrk="0" hangingPunct="1">
                  <a:defRPr sz="2200" kern="1200">
                    <a:solidFill>
                      <a:schemeClr val="lt1"/>
                    </a:solidFill>
                    <a:latin typeface="+mn-lt"/>
                    <a:ea typeface="+mn-ea"/>
                    <a:cs typeface="+mn-cs"/>
                  </a:defRPr>
                </a:lvl9pPr>
              </a:lstStyle>
              <a:p>
                <a:pPr algn="ctr" defTabSz="910592"/>
                <a:endParaRPr lang="en-US" sz="1795" dirty="0">
                  <a:solidFill>
                    <a:srgbClr val="000000"/>
                  </a:solidFill>
                  <a:latin typeface="Franklin Gothic Book" panose="020B0503020102020204" pitchFamily="34" charset="0"/>
                </a:endParaRPr>
              </a:p>
            </p:txBody>
          </p:sp>
        </p:grpSp>
        <p:grpSp>
          <p:nvGrpSpPr>
            <p:cNvPr id="96" name="Group 95">
              <a:extLst>
                <a:ext uri="{FF2B5EF4-FFF2-40B4-BE49-F238E27FC236}">
                  <a16:creationId xmlns:a16="http://schemas.microsoft.com/office/drawing/2014/main" id="{CD60B9F0-545A-4EB7-B810-DEF4DE9E221C}"/>
                </a:ext>
              </a:extLst>
            </p:cNvPr>
            <p:cNvGrpSpPr/>
            <p:nvPr/>
          </p:nvGrpSpPr>
          <p:grpSpPr>
            <a:xfrm>
              <a:off x="3501461" y="5596113"/>
              <a:ext cx="399982" cy="697839"/>
              <a:chOff x="3501461" y="5596113"/>
              <a:chExt cx="399982" cy="697839"/>
            </a:xfrm>
          </p:grpSpPr>
          <p:sp>
            <p:nvSpPr>
              <p:cNvPr id="103" name="Oval 131">
                <a:extLst>
                  <a:ext uri="{FF2B5EF4-FFF2-40B4-BE49-F238E27FC236}">
                    <a16:creationId xmlns:a16="http://schemas.microsoft.com/office/drawing/2014/main" id="{11A4A6BE-381E-442B-AFC0-605A00ACFC36}"/>
                  </a:ext>
                </a:extLst>
              </p:cNvPr>
              <p:cNvSpPr/>
              <p:nvPr/>
            </p:nvSpPr>
            <p:spPr>
              <a:xfrm>
                <a:off x="3583406" y="5903026"/>
                <a:ext cx="229817" cy="390926"/>
              </a:xfrm>
              <a:custGeom>
                <a:avLst/>
                <a:gdLst/>
                <a:ahLst/>
                <a:cxnLst/>
                <a:rect l="l" t="t" r="r" b="b"/>
                <a:pathLst>
                  <a:path w="1239453" h="2103149">
                    <a:moveTo>
                      <a:pt x="619727" y="1502825"/>
                    </a:moveTo>
                    <a:cubicBezTo>
                      <a:pt x="739156" y="1502825"/>
                      <a:pt x="835973" y="1599561"/>
                      <a:pt x="835973" y="1718891"/>
                    </a:cubicBezTo>
                    <a:cubicBezTo>
                      <a:pt x="835973" y="1838221"/>
                      <a:pt x="739156" y="1934957"/>
                      <a:pt x="619727" y="1934957"/>
                    </a:cubicBezTo>
                    <a:cubicBezTo>
                      <a:pt x="500298" y="1934957"/>
                      <a:pt x="403481" y="1838221"/>
                      <a:pt x="403481" y="1718891"/>
                    </a:cubicBezTo>
                    <a:cubicBezTo>
                      <a:pt x="403481" y="1599561"/>
                      <a:pt x="500298" y="1502825"/>
                      <a:pt x="619727" y="1502825"/>
                    </a:cubicBezTo>
                    <a:close/>
                    <a:moveTo>
                      <a:pt x="619727" y="875606"/>
                    </a:moveTo>
                    <a:cubicBezTo>
                      <a:pt x="739156" y="875606"/>
                      <a:pt x="835973" y="972342"/>
                      <a:pt x="835973" y="1091672"/>
                    </a:cubicBezTo>
                    <a:cubicBezTo>
                      <a:pt x="835973" y="1211002"/>
                      <a:pt x="739156" y="1307738"/>
                      <a:pt x="619727" y="1307738"/>
                    </a:cubicBezTo>
                    <a:cubicBezTo>
                      <a:pt x="500298" y="1307738"/>
                      <a:pt x="403481" y="1211002"/>
                      <a:pt x="403481" y="1091672"/>
                    </a:cubicBezTo>
                    <a:cubicBezTo>
                      <a:pt x="403481" y="972342"/>
                      <a:pt x="500298" y="875606"/>
                      <a:pt x="619727" y="875606"/>
                    </a:cubicBezTo>
                    <a:close/>
                    <a:moveTo>
                      <a:pt x="619727" y="248387"/>
                    </a:moveTo>
                    <a:cubicBezTo>
                      <a:pt x="739156" y="248387"/>
                      <a:pt x="835973" y="345123"/>
                      <a:pt x="835973" y="464453"/>
                    </a:cubicBezTo>
                    <a:cubicBezTo>
                      <a:pt x="835973" y="583783"/>
                      <a:pt x="739156" y="680519"/>
                      <a:pt x="619727" y="680519"/>
                    </a:cubicBezTo>
                    <a:cubicBezTo>
                      <a:pt x="500298" y="680519"/>
                      <a:pt x="403481" y="583783"/>
                      <a:pt x="403481" y="464453"/>
                    </a:cubicBezTo>
                    <a:cubicBezTo>
                      <a:pt x="403481" y="345123"/>
                      <a:pt x="500298" y="248387"/>
                      <a:pt x="619727" y="248387"/>
                    </a:cubicBezTo>
                    <a:close/>
                    <a:moveTo>
                      <a:pt x="619727" y="110087"/>
                    </a:moveTo>
                    <a:cubicBezTo>
                      <a:pt x="468947" y="110087"/>
                      <a:pt x="346715" y="232319"/>
                      <a:pt x="346715" y="383099"/>
                    </a:cubicBezTo>
                    <a:lnTo>
                      <a:pt x="346715" y="1720049"/>
                    </a:lnTo>
                    <a:cubicBezTo>
                      <a:pt x="346715" y="1870829"/>
                      <a:pt x="468947" y="1993061"/>
                      <a:pt x="619727" y="1993061"/>
                    </a:cubicBezTo>
                    <a:lnTo>
                      <a:pt x="619726" y="1993062"/>
                    </a:lnTo>
                    <a:cubicBezTo>
                      <a:pt x="770506" y="1993062"/>
                      <a:pt x="892738" y="1870830"/>
                      <a:pt x="892738" y="1720050"/>
                    </a:cubicBezTo>
                    <a:cubicBezTo>
                      <a:pt x="892738" y="1274400"/>
                      <a:pt x="892739" y="828749"/>
                      <a:pt x="892739" y="383099"/>
                    </a:cubicBezTo>
                    <a:cubicBezTo>
                      <a:pt x="892739" y="232319"/>
                      <a:pt x="770507" y="110087"/>
                      <a:pt x="619727" y="110087"/>
                    </a:cubicBezTo>
                    <a:close/>
                    <a:moveTo>
                      <a:pt x="483215" y="0"/>
                    </a:moveTo>
                    <a:lnTo>
                      <a:pt x="756238" y="0"/>
                    </a:lnTo>
                    <a:cubicBezTo>
                      <a:pt x="863501" y="0"/>
                      <a:pt x="950454" y="86953"/>
                      <a:pt x="950454" y="194216"/>
                    </a:cubicBezTo>
                    <a:lnTo>
                      <a:pt x="950454" y="223909"/>
                    </a:lnTo>
                    <a:lnTo>
                      <a:pt x="1239453" y="223909"/>
                    </a:lnTo>
                    <a:lnTo>
                      <a:pt x="1031724" y="604909"/>
                    </a:lnTo>
                    <a:lnTo>
                      <a:pt x="950454" y="604909"/>
                    </a:lnTo>
                    <a:lnTo>
                      <a:pt x="950454" y="840426"/>
                    </a:lnTo>
                    <a:lnTo>
                      <a:pt x="1239453" y="840426"/>
                    </a:lnTo>
                    <a:lnTo>
                      <a:pt x="1031724" y="1221426"/>
                    </a:lnTo>
                    <a:lnTo>
                      <a:pt x="950454" y="1221426"/>
                    </a:lnTo>
                    <a:lnTo>
                      <a:pt x="950454" y="1456943"/>
                    </a:lnTo>
                    <a:lnTo>
                      <a:pt x="1239453" y="1456943"/>
                    </a:lnTo>
                    <a:lnTo>
                      <a:pt x="1031724" y="1837943"/>
                    </a:lnTo>
                    <a:lnTo>
                      <a:pt x="950454" y="1837943"/>
                    </a:lnTo>
                    <a:lnTo>
                      <a:pt x="950454" y="1908933"/>
                    </a:lnTo>
                    <a:cubicBezTo>
                      <a:pt x="950454" y="2016196"/>
                      <a:pt x="863501" y="2103149"/>
                      <a:pt x="756238" y="2103149"/>
                    </a:cubicBezTo>
                    <a:lnTo>
                      <a:pt x="483215" y="2103149"/>
                    </a:lnTo>
                    <a:cubicBezTo>
                      <a:pt x="375952" y="2103149"/>
                      <a:pt x="288999" y="2016196"/>
                      <a:pt x="288999" y="1908933"/>
                    </a:cubicBezTo>
                    <a:lnTo>
                      <a:pt x="288999" y="1837943"/>
                    </a:lnTo>
                    <a:lnTo>
                      <a:pt x="207729" y="1837943"/>
                    </a:lnTo>
                    <a:lnTo>
                      <a:pt x="0" y="1456943"/>
                    </a:lnTo>
                    <a:lnTo>
                      <a:pt x="288999" y="1456943"/>
                    </a:lnTo>
                    <a:lnTo>
                      <a:pt x="288999" y="1221426"/>
                    </a:lnTo>
                    <a:lnTo>
                      <a:pt x="207729" y="1221426"/>
                    </a:lnTo>
                    <a:lnTo>
                      <a:pt x="0" y="840426"/>
                    </a:lnTo>
                    <a:lnTo>
                      <a:pt x="288999" y="840426"/>
                    </a:lnTo>
                    <a:lnTo>
                      <a:pt x="288999" y="604909"/>
                    </a:lnTo>
                    <a:lnTo>
                      <a:pt x="207729" y="604909"/>
                    </a:lnTo>
                    <a:lnTo>
                      <a:pt x="0" y="223909"/>
                    </a:lnTo>
                    <a:lnTo>
                      <a:pt x="288999" y="223909"/>
                    </a:lnTo>
                    <a:lnTo>
                      <a:pt x="288999" y="194216"/>
                    </a:lnTo>
                    <a:cubicBezTo>
                      <a:pt x="288999" y="86953"/>
                      <a:pt x="375952" y="0"/>
                      <a:pt x="483215" y="0"/>
                    </a:cubicBezTo>
                    <a:close/>
                  </a:path>
                </a:pathLst>
              </a:custGeom>
              <a:solidFill>
                <a:schemeClr val="tx1"/>
              </a:solidFill>
              <a:ln w="25400" cap="flat" cmpd="sng" algn="ctr">
                <a:noFill/>
                <a:prstDash val="solid"/>
              </a:ln>
              <a:effectLst/>
            </p:spPr>
            <p:txBody>
              <a:bodyPr rtlCol="0" anchor="ctr"/>
              <a:lstStyle/>
              <a:p>
                <a:pPr algn="ctr" defTabSz="910655">
                  <a:defRPr/>
                </a:pPr>
                <a:endParaRPr lang="en-US" sz="1895" kern="0" dirty="0">
                  <a:solidFill>
                    <a:srgbClr val="FFFFFF"/>
                  </a:solidFill>
                  <a:latin typeface="Franklin Gothic Book" charset="0"/>
                  <a:cs typeface="Franklin Gothic Book" charset="0"/>
                </a:endParaRPr>
              </a:p>
            </p:txBody>
          </p:sp>
          <p:sp>
            <p:nvSpPr>
              <p:cNvPr id="104" name="Donut 34">
                <a:extLst>
                  <a:ext uri="{FF2B5EF4-FFF2-40B4-BE49-F238E27FC236}">
                    <a16:creationId xmlns:a16="http://schemas.microsoft.com/office/drawing/2014/main" id="{71E9FB17-8361-44AA-839A-DF0CAE29A587}"/>
                  </a:ext>
                </a:extLst>
              </p:cNvPr>
              <p:cNvSpPr/>
              <p:nvPr/>
            </p:nvSpPr>
            <p:spPr>
              <a:xfrm>
                <a:off x="3501461" y="5596113"/>
                <a:ext cx="399982" cy="271736"/>
              </a:xfrm>
              <a:custGeom>
                <a:avLst/>
                <a:gdLst/>
                <a:ahLst/>
                <a:cxnLst/>
                <a:rect l="l" t="t" r="r" b="b"/>
                <a:pathLst>
                  <a:path w="1352503" h="916577">
                    <a:moveTo>
                      <a:pt x="675847" y="759073"/>
                    </a:moveTo>
                    <a:cubicBezTo>
                      <a:pt x="719341" y="759073"/>
                      <a:pt x="754599" y="794331"/>
                      <a:pt x="754599" y="837825"/>
                    </a:cubicBezTo>
                    <a:cubicBezTo>
                      <a:pt x="754599" y="881319"/>
                      <a:pt x="719341" y="916577"/>
                      <a:pt x="675847" y="916577"/>
                    </a:cubicBezTo>
                    <a:cubicBezTo>
                      <a:pt x="632353" y="916577"/>
                      <a:pt x="597095" y="881319"/>
                      <a:pt x="597095" y="837825"/>
                    </a:cubicBezTo>
                    <a:cubicBezTo>
                      <a:pt x="597095" y="794331"/>
                      <a:pt x="632353" y="759073"/>
                      <a:pt x="675847" y="759073"/>
                    </a:cubicBezTo>
                    <a:close/>
                    <a:moveTo>
                      <a:pt x="677189" y="517624"/>
                    </a:moveTo>
                    <a:cubicBezTo>
                      <a:pt x="788199" y="517624"/>
                      <a:pt x="883882" y="583250"/>
                      <a:pt x="926903" y="678124"/>
                    </a:cubicBezTo>
                    <a:lnTo>
                      <a:pt x="811013" y="773481"/>
                    </a:lnTo>
                    <a:cubicBezTo>
                      <a:pt x="803794" y="706546"/>
                      <a:pt x="746460" y="655440"/>
                      <a:pt x="677189" y="655440"/>
                    </a:cubicBezTo>
                    <a:cubicBezTo>
                      <a:pt x="606757" y="655440"/>
                      <a:pt x="548666" y="708273"/>
                      <a:pt x="542705" y="776752"/>
                    </a:cubicBezTo>
                    <a:lnTo>
                      <a:pt x="426043" y="680761"/>
                    </a:lnTo>
                    <a:cubicBezTo>
                      <a:pt x="468661" y="584515"/>
                      <a:pt x="565114" y="517624"/>
                      <a:pt x="677189" y="517624"/>
                    </a:cubicBezTo>
                    <a:close/>
                    <a:moveTo>
                      <a:pt x="677189" y="259242"/>
                    </a:moveTo>
                    <a:cubicBezTo>
                      <a:pt x="869972" y="259242"/>
                      <a:pt x="1040868" y="352953"/>
                      <a:pt x="1145412" y="498333"/>
                    </a:cubicBezTo>
                    <a:lnTo>
                      <a:pt x="1029569" y="593650"/>
                    </a:lnTo>
                    <a:cubicBezTo>
                      <a:pt x="952080" y="482372"/>
                      <a:pt x="823093" y="409946"/>
                      <a:pt x="677189" y="409946"/>
                    </a:cubicBezTo>
                    <a:cubicBezTo>
                      <a:pt x="530231" y="409946"/>
                      <a:pt x="400434" y="483422"/>
                      <a:pt x="322934" y="595922"/>
                    </a:cubicBezTo>
                    <a:lnTo>
                      <a:pt x="207092" y="500605"/>
                    </a:lnTo>
                    <a:cubicBezTo>
                      <a:pt x="311634" y="353984"/>
                      <a:pt x="483348" y="259242"/>
                      <a:pt x="677189" y="259242"/>
                    </a:cubicBezTo>
                    <a:close/>
                    <a:moveTo>
                      <a:pt x="677189" y="0"/>
                    </a:moveTo>
                    <a:cubicBezTo>
                      <a:pt x="951520" y="0"/>
                      <a:pt x="1196181" y="127033"/>
                      <a:pt x="1352503" y="327935"/>
                    </a:cubicBezTo>
                    <a:lnTo>
                      <a:pt x="1238362" y="421852"/>
                    </a:lnTo>
                    <a:cubicBezTo>
                      <a:pt x="1108747" y="254449"/>
                      <a:pt x="905342" y="148489"/>
                      <a:pt x="677189" y="148489"/>
                    </a:cubicBezTo>
                    <a:cubicBezTo>
                      <a:pt x="447974" y="148489"/>
                      <a:pt x="243737" y="255438"/>
                      <a:pt x="114141" y="424124"/>
                    </a:cubicBezTo>
                    <a:lnTo>
                      <a:pt x="0" y="330207"/>
                    </a:lnTo>
                    <a:cubicBezTo>
                      <a:pt x="156302" y="128019"/>
                      <a:pt x="401795" y="0"/>
                      <a:pt x="677189"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707" tIns="30354" rIns="60707" bIns="30354" rtlCol="0" anchor="ctr"/>
              <a:lstStyle>
                <a:defPPr>
                  <a:defRPr lang="en-US"/>
                </a:defPPr>
                <a:lvl1pPr marL="0" algn="l" defTabSz="1086775" rtl="0" eaLnBrk="1" latinLnBrk="0" hangingPunct="1">
                  <a:defRPr sz="2200" kern="1200">
                    <a:solidFill>
                      <a:schemeClr val="lt1"/>
                    </a:solidFill>
                    <a:latin typeface="+mn-lt"/>
                    <a:ea typeface="+mn-ea"/>
                    <a:cs typeface="+mn-cs"/>
                  </a:defRPr>
                </a:lvl1pPr>
                <a:lvl2pPr marL="543388" algn="l" defTabSz="1086775" rtl="0" eaLnBrk="1" latinLnBrk="0" hangingPunct="1">
                  <a:defRPr sz="2200" kern="1200">
                    <a:solidFill>
                      <a:schemeClr val="lt1"/>
                    </a:solidFill>
                    <a:latin typeface="+mn-lt"/>
                    <a:ea typeface="+mn-ea"/>
                    <a:cs typeface="+mn-cs"/>
                  </a:defRPr>
                </a:lvl2pPr>
                <a:lvl3pPr marL="1086775" algn="l" defTabSz="1086775" rtl="0" eaLnBrk="1" latinLnBrk="0" hangingPunct="1">
                  <a:defRPr sz="2200" kern="1200">
                    <a:solidFill>
                      <a:schemeClr val="lt1"/>
                    </a:solidFill>
                    <a:latin typeface="+mn-lt"/>
                    <a:ea typeface="+mn-ea"/>
                    <a:cs typeface="+mn-cs"/>
                  </a:defRPr>
                </a:lvl3pPr>
                <a:lvl4pPr marL="1630163" algn="l" defTabSz="1086775" rtl="0" eaLnBrk="1" latinLnBrk="0" hangingPunct="1">
                  <a:defRPr sz="2200" kern="1200">
                    <a:solidFill>
                      <a:schemeClr val="lt1"/>
                    </a:solidFill>
                    <a:latin typeface="+mn-lt"/>
                    <a:ea typeface="+mn-ea"/>
                    <a:cs typeface="+mn-cs"/>
                  </a:defRPr>
                </a:lvl4pPr>
                <a:lvl5pPr marL="2173551" algn="l" defTabSz="1086775" rtl="0" eaLnBrk="1" latinLnBrk="0" hangingPunct="1">
                  <a:defRPr sz="2200" kern="1200">
                    <a:solidFill>
                      <a:schemeClr val="lt1"/>
                    </a:solidFill>
                    <a:latin typeface="+mn-lt"/>
                    <a:ea typeface="+mn-ea"/>
                    <a:cs typeface="+mn-cs"/>
                  </a:defRPr>
                </a:lvl5pPr>
                <a:lvl6pPr marL="2716938" algn="l" defTabSz="1086775" rtl="0" eaLnBrk="1" latinLnBrk="0" hangingPunct="1">
                  <a:defRPr sz="2200" kern="1200">
                    <a:solidFill>
                      <a:schemeClr val="lt1"/>
                    </a:solidFill>
                    <a:latin typeface="+mn-lt"/>
                    <a:ea typeface="+mn-ea"/>
                    <a:cs typeface="+mn-cs"/>
                  </a:defRPr>
                </a:lvl6pPr>
                <a:lvl7pPr marL="3260326" algn="l" defTabSz="1086775" rtl="0" eaLnBrk="1" latinLnBrk="0" hangingPunct="1">
                  <a:defRPr sz="2200" kern="1200">
                    <a:solidFill>
                      <a:schemeClr val="lt1"/>
                    </a:solidFill>
                    <a:latin typeface="+mn-lt"/>
                    <a:ea typeface="+mn-ea"/>
                    <a:cs typeface="+mn-cs"/>
                  </a:defRPr>
                </a:lvl7pPr>
                <a:lvl8pPr marL="3803713" algn="l" defTabSz="1086775" rtl="0" eaLnBrk="1" latinLnBrk="0" hangingPunct="1">
                  <a:defRPr sz="2200" kern="1200">
                    <a:solidFill>
                      <a:schemeClr val="lt1"/>
                    </a:solidFill>
                    <a:latin typeface="+mn-lt"/>
                    <a:ea typeface="+mn-ea"/>
                    <a:cs typeface="+mn-cs"/>
                  </a:defRPr>
                </a:lvl8pPr>
                <a:lvl9pPr marL="4347102" algn="l" defTabSz="1086775" rtl="0" eaLnBrk="1" latinLnBrk="0" hangingPunct="1">
                  <a:defRPr sz="2200" kern="1200">
                    <a:solidFill>
                      <a:schemeClr val="lt1"/>
                    </a:solidFill>
                    <a:latin typeface="+mn-lt"/>
                    <a:ea typeface="+mn-ea"/>
                    <a:cs typeface="+mn-cs"/>
                  </a:defRPr>
                </a:lvl9pPr>
              </a:lstStyle>
              <a:p>
                <a:pPr algn="ctr" defTabSz="910592"/>
                <a:endParaRPr lang="en-US" sz="1795" dirty="0">
                  <a:solidFill>
                    <a:srgbClr val="000000"/>
                  </a:solidFill>
                  <a:latin typeface="Franklin Gothic Book" panose="020B0503020102020204" pitchFamily="34" charset="0"/>
                </a:endParaRPr>
              </a:p>
            </p:txBody>
          </p:sp>
        </p:grpSp>
        <p:grpSp>
          <p:nvGrpSpPr>
            <p:cNvPr id="97" name="Group 96">
              <a:extLst>
                <a:ext uri="{FF2B5EF4-FFF2-40B4-BE49-F238E27FC236}">
                  <a16:creationId xmlns:a16="http://schemas.microsoft.com/office/drawing/2014/main" id="{27853778-46A1-4380-987F-3DF7F0C23462}"/>
                </a:ext>
              </a:extLst>
            </p:cNvPr>
            <p:cNvGrpSpPr/>
            <p:nvPr/>
          </p:nvGrpSpPr>
          <p:grpSpPr>
            <a:xfrm>
              <a:off x="7144045" y="5646275"/>
              <a:ext cx="520777" cy="705831"/>
              <a:chOff x="7153305" y="5646275"/>
              <a:chExt cx="520777" cy="705831"/>
            </a:xfrm>
          </p:grpSpPr>
          <p:sp>
            <p:nvSpPr>
              <p:cNvPr id="101" name="Chord 145">
                <a:extLst>
                  <a:ext uri="{FF2B5EF4-FFF2-40B4-BE49-F238E27FC236}">
                    <a16:creationId xmlns:a16="http://schemas.microsoft.com/office/drawing/2014/main" id="{22ECEFBD-9BCA-4DA4-9E14-175C793C8D20}"/>
                  </a:ext>
                </a:extLst>
              </p:cNvPr>
              <p:cNvSpPr/>
              <p:nvPr/>
            </p:nvSpPr>
            <p:spPr>
              <a:xfrm>
                <a:off x="7153305" y="5917051"/>
                <a:ext cx="453164" cy="435055"/>
              </a:xfrm>
              <a:custGeom>
                <a:avLst/>
                <a:gdLst/>
                <a:ahLst/>
                <a:cxnLst/>
                <a:rect l="l" t="t" r="r" b="b"/>
                <a:pathLst>
                  <a:path w="2587534" h="2477992">
                    <a:moveTo>
                      <a:pt x="1249980" y="1386499"/>
                    </a:moveTo>
                    <a:lnTo>
                      <a:pt x="1098806" y="2131917"/>
                    </a:lnTo>
                    <a:lnTo>
                      <a:pt x="1249980" y="2131917"/>
                    </a:lnTo>
                    <a:close/>
                    <a:moveTo>
                      <a:pt x="247153" y="693"/>
                    </a:moveTo>
                    <a:cubicBezTo>
                      <a:pt x="254506" y="-466"/>
                      <a:pt x="262207" y="-203"/>
                      <a:pt x="269885" y="1707"/>
                    </a:cubicBezTo>
                    <a:lnTo>
                      <a:pt x="602352" y="84403"/>
                    </a:lnTo>
                    <a:cubicBezTo>
                      <a:pt x="633062" y="92042"/>
                      <a:pt x="651766" y="123131"/>
                      <a:pt x="644127" y="153841"/>
                    </a:cubicBezTo>
                    <a:lnTo>
                      <a:pt x="606431" y="305392"/>
                    </a:lnTo>
                    <a:lnTo>
                      <a:pt x="2555306" y="791301"/>
                    </a:lnTo>
                    <a:cubicBezTo>
                      <a:pt x="2578081" y="796979"/>
                      <a:pt x="2591940" y="820045"/>
                      <a:pt x="2586262" y="842820"/>
                    </a:cubicBezTo>
                    <a:lnTo>
                      <a:pt x="2524789" y="1089373"/>
                    </a:lnTo>
                    <a:cubicBezTo>
                      <a:pt x="2519111" y="1112148"/>
                      <a:pt x="2496045" y="1126008"/>
                      <a:pt x="2473270" y="1120329"/>
                    </a:cubicBezTo>
                    <a:lnTo>
                      <a:pt x="2331741" y="1085042"/>
                    </a:lnTo>
                    <a:lnTo>
                      <a:pt x="2331741" y="1958170"/>
                    </a:lnTo>
                    <a:lnTo>
                      <a:pt x="2393501" y="1958170"/>
                    </a:lnTo>
                    <a:cubicBezTo>
                      <a:pt x="2425497" y="1958170"/>
                      <a:pt x="2451435" y="1984108"/>
                      <a:pt x="2451435" y="2016104"/>
                    </a:cubicBezTo>
                    <a:lnTo>
                      <a:pt x="2451435" y="2477992"/>
                    </a:lnTo>
                    <a:lnTo>
                      <a:pt x="2103835" y="2477992"/>
                    </a:lnTo>
                    <a:lnTo>
                      <a:pt x="2103835" y="2016104"/>
                    </a:lnTo>
                    <a:cubicBezTo>
                      <a:pt x="2103835" y="1984108"/>
                      <a:pt x="2129773" y="1958170"/>
                      <a:pt x="2161769" y="1958170"/>
                    </a:cubicBezTo>
                    <a:lnTo>
                      <a:pt x="2223530" y="1958170"/>
                    </a:lnTo>
                    <a:lnTo>
                      <a:pt x="2223530" y="1058062"/>
                    </a:lnTo>
                    <a:lnTo>
                      <a:pt x="1459905" y="867669"/>
                    </a:lnTo>
                    <a:lnTo>
                      <a:pt x="1786486" y="2477992"/>
                    </a:lnTo>
                    <a:lnTo>
                      <a:pt x="1617754" y="2477992"/>
                    </a:lnTo>
                    <a:lnTo>
                      <a:pt x="1415346" y="1479949"/>
                    </a:lnTo>
                    <a:lnTo>
                      <a:pt x="1415346" y="2477992"/>
                    </a:lnTo>
                    <a:lnTo>
                      <a:pt x="1249980" y="2477992"/>
                    </a:lnTo>
                    <a:lnTo>
                      <a:pt x="1249980" y="2297283"/>
                    </a:lnTo>
                    <a:lnTo>
                      <a:pt x="1065269" y="2297283"/>
                    </a:lnTo>
                    <a:lnTo>
                      <a:pt x="1028620" y="2477992"/>
                    </a:lnTo>
                    <a:lnTo>
                      <a:pt x="859887" y="2477992"/>
                    </a:lnTo>
                    <a:lnTo>
                      <a:pt x="1199629" y="802775"/>
                    </a:lnTo>
                    <a:lnTo>
                      <a:pt x="524579" y="634466"/>
                    </a:lnTo>
                    <a:lnTo>
                      <a:pt x="455614" y="911732"/>
                    </a:lnTo>
                    <a:lnTo>
                      <a:pt x="455066" y="911568"/>
                    </a:lnTo>
                    <a:lnTo>
                      <a:pt x="350242" y="1332995"/>
                    </a:lnTo>
                    <a:lnTo>
                      <a:pt x="341681" y="1332517"/>
                    </a:lnTo>
                    <a:cubicBezTo>
                      <a:pt x="274067" y="1322018"/>
                      <a:pt x="208202" y="1291374"/>
                      <a:pt x="151286" y="1240277"/>
                    </a:cubicBezTo>
                    <a:cubicBezTo>
                      <a:pt x="57640" y="1156206"/>
                      <a:pt x="3698" y="1030110"/>
                      <a:pt x="0" y="898272"/>
                    </a:cubicBezTo>
                    <a:lnTo>
                      <a:pt x="2162" y="838288"/>
                    </a:lnTo>
                    <a:lnTo>
                      <a:pt x="39940" y="686410"/>
                    </a:lnTo>
                    <a:lnTo>
                      <a:pt x="41133" y="683980"/>
                    </a:lnTo>
                    <a:lnTo>
                      <a:pt x="200447" y="43482"/>
                    </a:lnTo>
                    <a:cubicBezTo>
                      <a:pt x="206176" y="20450"/>
                      <a:pt x="225096" y="4171"/>
                      <a:pt x="247153" y="693"/>
                    </a:cubicBezTo>
                    <a:close/>
                  </a:path>
                </a:pathLst>
              </a:custGeom>
              <a:solidFill>
                <a:schemeClr val="tx1"/>
              </a:solidFill>
              <a:ln w="25400" cap="flat" cmpd="sng" algn="ctr">
                <a:noFill/>
                <a:prstDash val="solid"/>
              </a:ln>
              <a:effectLst/>
            </p:spPr>
            <p:txBody>
              <a:bodyPr rtlCol="0" anchor="ctr"/>
              <a:lstStyle/>
              <a:p>
                <a:pPr algn="ctr" defTabSz="910655">
                  <a:defRPr/>
                </a:pPr>
                <a:endParaRPr lang="en-US" sz="1895" kern="0" dirty="0">
                  <a:solidFill>
                    <a:srgbClr val="FFFFFF"/>
                  </a:solidFill>
                  <a:latin typeface="Franklin Gothic Book" charset="0"/>
                  <a:cs typeface="Franklin Gothic Book" charset="0"/>
                </a:endParaRPr>
              </a:p>
            </p:txBody>
          </p:sp>
          <p:sp>
            <p:nvSpPr>
              <p:cNvPr id="102" name="Freeform 127">
                <a:extLst>
                  <a:ext uri="{FF2B5EF4-FFF2-40B4-BE49-F238E27FC236}">
                    <a16:creationId xmlns:a16="http://schemas.microsoft.com/office/drawing/2014/main" id="{F05CA201-BA49-4AE5-B6D5-0FE519D4EB3A}"/>
                  </a:ext>
                </a:extLst>
              </p:cNvPr>
              <p:cNvSpPr/>
              <p:nvPr/>
            </p:nvSpPr>
            <p:spPr>
              <a:xfrm rot="19317216">
                <a:off x="7255774" y="5646275"/>
                <a:ext cx="418308" cy="185967"/>
              </a:xfrm>
              <a:custGeom>
                <a:avLst/>
                <a:gdLst>
                  <a:gd name="connsiteX0" fmla="*/ 179028 w 418308"/>
                  <a:gd name="connsiteY0" fmla="*/ 1523 h 185967"/>
                  <a:gd name="connsiteX1" fmla="*/ 224663 w 418308"/>
                  <a:gd name="connsiteY1" fmla="*/ 181472 h 185967"/>
                  <a:gd name="connsiteX2" fmla="*/ 206936 w 418308"/>
                  <a:gd name="connsiteY2" fmla="*/ 185967 h 185967"/>
                  <a:gd name="connsiteX3" fmla="*/ 198561 w 418308"/>
                  <a:gd name="connsiteY3" fmla="*/ 152943 h 185967"/>
                  <a:gd name="connsiteX4" fmla="*/ 167067 w 418308"/>
                  <a:gd name="connsiteY4" fmla="*/ 156939 h 185967"/>
                  <a:gd name="connsiteX5" fmla="*/ 124573 w 418308"/>
                  <a:gd name="connsiteY5" fmla="*/ 144433 h 185967"/>
                  <a:gd name="connsiteX6" fmla="*/ 101080 w 418308"/>
                  <a:gd name="connsiteY6" fmla="*/ 126315 h 185967"/>
                  <a:gd name="connsiteX7" fmla="*/ 87798 w 418308"/>
                  <a:gd name="connsiteY7" fmla="*/ 104671 h 185967"/>
                  <a:gd name="connsiteX8" fmla="*/ 0 w 418308"/>
                  <a:gd name="connsiteY8" fmla="*/ 104671 h 185967"/>
                  <a:gd name="connsiteX9" fmla="*/ 0 w 418308"/>
                  <a:gd name="connsiteY9" fmla="*/ 86383 h 185967"/>
                  <a:gd name="connsiteX10" fmla="*/ 85319 w 418308"/>
                  <a:gd name="connsiteY10" fmla="*/ 86383 h 185967"/>
                  <a:gd name="connsiteX11" fmla="*/ 84588 w 418308"/>
                  <a:gd name="connsiteY11" fmla="*/ 80317 h 185967"/>
                  <a:gd name="connsiteX12" fmla="*/ 93387 w 418308"/>
                  <a:gd name="connsiteY12" fmla="*/ 57450 h 185967"/>
                  <a:gd name="connsiteX13" fmla="*/ 129174 w 418308"/>
                  <a:gd name="connsiteY13" fmla="*/ 32045 h 185967"/>
                  <a:gd name="connsiteX14" fmla="*/ 167273 w 418308"/>
                  <a:gd name="connsiteY14" fmla="*/ 29568 h 185967"/>
                  <a:gd name="connsiteX15" fmla="*/ 161301 w 418308"/>
                  <a:gd name="connsiteY15" fmla="*/ 6018 h 185967"/>
                  <a:gd name="connsiteX16" fmla="*/ 418308 w 418308"/>
                  <a:gd name="connsiteY16" fmla="*/ 81296 h 185967"/>
                  <a:gd name="connsiteX17" fmla="*/ 418308 w 418308"/>
                  <a:gd name="connsiteY17" fmla="*/ 99584 h 185967"/>
                  <a:gd name="connsiteX18" fmla="*/ 332989 w 418308"/>
                  <a:gd name="connsiteY18" fmla="*/ 99584 h 185967"/>
                  <a:gd name="connsiteX19" fmla="*/ 333720 w 418308"/>
                  <a:gd name="connsiteY19" fmla="*/ 105650 h 185967"/>
                  <a:gd name="connsiteX20" fmla="*/ 324921 w 418308"/>
                  <a:gd name="connsiteY20" fmla="*/ 128517 h 185967"/>
                  <a:gd name="connsiteX21" fmla="*/ 289134 w 418308"/>
                  <a:gd name="connsiteY21" fmla="*/ 153922 h 185967"/>
                  <a:gd name="connsiteX22" fmla="*/ 251035 w 418308"/>
                  <a:gd name="connsiteY22" fmla="*/ 156399 h 185967"/>
                  <a:gd name="connsiteX23" fmla="*/ 257007 w 418308"/>
                  <a:gd name="connsiteY23" fmla="*/ 179949 h 185967"/>
                  <a:gd name="connsiteX24" fmla="*/ 239280 w 418308"/>
                  <a:gd name="connsiteY24" fmla="*/ 184444 h 185967"/>
                  <a:gd name="connsiteX25" fmla="*/ 193645 w 418308"/>
                  <a:gd name="connsiteY25" fmla="*/ 4495 h 185967"/>
                  <a:gd name="connsiteX26" fmla="*/ 211372 w 418308"/>
                  <a:gd name="connsiteY26" fmla="*/ 0 h 185967"/>
                  <a:gd name="connsiteX27" fmla="*/ 219747 w 418308"/>
                  <a:gd name="connsiteY27" fmla="*/ 33024 h 185967"/>
                  <a:gd name="connsiteX28" fmla="*/ 251241 w 418308"/>
                  <a:gd name="connsiteY28" fmla="*/ 29028 h 185967"/>
                  <a:gd name="connsiteX29" fmla="*/ 293735 w 418308"/>
                  <a:gd name="connsiteY29" fmla="*/ 41534 h 185967"/>
                  <a:gd name="connsiteX30" fmla="*/ 317228 w 418308"/>
                  <a:gd name="connsiteY30" fmla="*/ 59652 h 185967"/>
                  <a:gd name="connsiteX31" fmla="*/ 330510 w 418308"/>
                  <a:gd name="connsiteY31" fmla="*/ 81295 h 18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18308" h="185967">
                    <a:moveTo>
                      <a:pt x="179028" y="1523"/>
                    </a:moveTo>
                    <a:lnTo>
                      <a:pt x="224663" y="181472"/>
                    </a:lnTo>
                    <a:lnTo>
                      <a:pt x="206936" y="185967"/>
                    </a:lnTo>
                    <a:lnTo>
                      <a:pt x="198561" y="152943"/>
                    </a:lnTo>
                    <a:lnTo>
                      <a:pt x="167067" y="156939"/>
                    </a:lnTo>
                    <a:cubicBezTo>
                      <a:pt x="152319" y="155717"/>
                      <a:pt x="137624" y="151504"/>
                      <a:pt x="124573" y="144433"/>
                    </a:cubicBezTo>
                    <a:cubicBezTo>
                      <a:pt x="115197" y="139354"/>
                      <a:pt x="107317" y="133175"/>
                      <a:pt x="101080" y="126315"/>
                    </a:cubicBezTo>
                    <a:lnTo>
                      <a:pt x="87798" y="104671"/>
                    </a:lnTo>
                    <a:lnTo>
                      <a:pt x="0" y="104671"/>
                    </a:lnTo>
                    <a:lnTo>
                      <a:pt x="0" y="86383"/>
                    </a:lnTo>
                    <a:lnTo>
                      <a:pt x="85319" y="86383"/>
                    </a:lnTo>
                    <a:lnTo>
                      <a:pt x="84588" y="80317"/>
                    </a:lnTo>
                    <a:cubicBezTo>
                      <a:pt x="85528" y="72402"/>
                      <a:pt x="88410" y="64640"/>
                      <a:pt x="93387" y="57450"/>
                    </a:cubicBezTo>
                    <a:cubicBezTo>
                      <a:pt x="101467" y="45775"/>
                      <a:pt x="114122" y="37064"/>
                      <a:pt x="129174" y="32045"/>
                    </a:cubicBezTo>
                    <a:lnTo>
                      <a:pt x="167273" y="29568"/>
                    </a:lnTo>
                    <a:lnTo>
                      <a:pt x="161301" y="6018"/>
                    </a:lnTo>
                    <a:close/>
                    <a:moveTo>
                      <a:pt x="418308" y="81296"/>
                    </a:moveTo>
                    <a:lnTo>
                      <a:pt x="418308" y="99584"/>
                    </a:lnTo>
                    <a:lnTo>
                      <a:pt x="332989" y="99584"/>
                    </a:lnTo>
                    <a:lnTo>
                      <a:pt x="333720" y="105650"/>
                    </a:lnTo>
                    <a:cubicBezTo>
                      <a:pt x="332780" y="113565"/>
                      <a:pt x="329898" y="121327"/>
                      <a:pt x="324921" y="128517"/>
                    </a:cubicBezTo>
                    <a:cubicBezTo>
                      <a:pt x="316841" y="140192"/>
                      <a:pt x="304186" y="148903"/>
                      <a:pt x="289134" y="153922"/>
                    </a:cubicBezTo>
                    <a:lnTo>
                      <a:pt x="251035" y="156399"/>
                    </a:lnTo>
                    <a:lnTo>
                      <a:pt x="257007" y="179949"/>
                    </a:lnTo>
                    <a:lnTo>
                      <a:pt x="239280" y="184444"/>
                    </a:lnTo>
                    <a:lnTo>
                      <a:pt x="193645" y="4495"/>
                    </a:lnTo>
                    <a:lnTo>
                      <a:pt x="211372" y="0"/>
                    </a:lnTo>
                    <a:lnTo>
                      <a:pt x="219747" y="33024"/>
                    </a:lnTo>
                    <a:lnTo>
                      <a:pt x="251241" y="29028"/>
                    </a:lnTo>
                    <a:cubicBezTo>
                      <a:pt x="265989" y="30250"/>
                      <a:pt x="280684" y="34463"/>
                      <a:pt x="293735" y="41534"/>
                    </a:cubicBezTo>
                    <a:cubicBezTo>
                      <a:pt x="303111" y="46613"/>
                      <a:pt x="310991" y="52792"/>
                      <a:pt x="317228" y="59652"/>
                    </a:cubicBezTo>
                    <a:lnTo>
                      <a:pt x="330510" y="8129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grpSp>
        <p:grpSp>
          <p:nvGrpSpPr>
            <p:cNvPr id="98" name="Group 97">
              <a:extLst>
                <a:ext uri="{FF2B5EF4-FFF2-40B4-BE49-F238E27FC236}">
                  <a16:creationId xmlns:a16="http://schemas.microsoft.com/office/drawing/2014/main" id="{5356CDDE-4689-4E84-B1EB-C30BD3BE40FC}"/>
                </a:ext>
              </a:extLst>
            </p:cNvPr>
            <p:cNvGrpSpPr/>
            <p:nvPr/>
          </p:nvGrpSpPr>
          <p:grpSpPr>
            <a:xfrm>
              <a:off x="4371454" y="5646275"/>
              <a:ext cx="562594" cy="651342"/>
              <a:chOff x="4341589" y="5646275"/>
              <a:chExt cx="562594" cy="651342"/>
            </a:xfrm>
          </p:grpSpPr>
          <p:sp>
            <p:nvSpPr>
              <p:cNvPr id="99" name="Rectangle 165">
                <a:extLst>
                  <a:ext uri="{FF2B5EF4-FFF2-40B4-BE49-F238E27FC236}">
                    <a16:creationId xmlns:a16="http://schemas.microsoft.com/office/drawing/2014/main" id="{09882D5F-6C31-408F-9779-0A50149C5AF2}"/>
                  </a:ext>
                </a:extLst>
              </p:cNvPr>
              <p:cNvSpPr/>
              <p:nvPr/>
            </p:nvSpPr>
            <p:spPr>
              <a:xfrm>
                <a:off x="4341589" y="5889706"/>
                <a:ext cx="562594" cy="407911"/>
              </a:xfrm>
              <a:custGeom>
                <a:avLst/>
                <a:gdLst/>
                <a:ahLst/>
                <a:cxnLst/>
                <a:rect l="l" t="t" r="r" b="b"/>
                <a:pathLst>
                  <a:path w="2667505" h="1929300">
                    <a:moveTo>
                      <a:pt x="1711364" y="1212543"/>
                    </a:moveTo>
                    <a:cubicBezTo>
                      <a:pt x="1692459" y="1212543"/>
                      <a:pt x="1676238" y="1224038"/>
                      <a:pt x="1669309" y="1240419"/>
                    </a:cubicBezTo>
                    <a:lnTo>
                      <a:pt x="1665722" y="1258185"/>
                    </a:lnTo>
                    <a:lnTo>
                      <a:pt x="1669309" y="1275950"/>
                    </a:lnTo>
                    <a:cubicBezTo>
                      <a:pt x="1676238" y="1292331"/>
                      <a:pt x="1692459" y="1303826"/>
                      <a:pt x="1711364" y="1303826"/>
                    </a:cubicBezTo>
                    <a:lnTo>
                      <a:pt x="2019338" y="1303827"/>
                    </a:lnTo>
                    <a:cubicBezTo>
                      <a:pt x="2044545" y="1303827"/>
                      <a:pt x="2064980" y="1283392"/>
                      <a:pt x="2064980" y="1258185"/>
                    </a:cubicBezTo>
                    <a:lnTo>
                      <a:pt x="2064981" y="1258185"/>
                    </a:lnTo>
                    <a:cubicBezTo>
                      <a:pt x="2064981" y="1232978"/>
                      <a:pt x="2044546" y="1212543"/>
                      <a:pt x="2019339" y="1212543"/>
                    </a:cubicBezTo>
                    <a:close/>
                    <a:moveTo>
                      <a:pt x="1249256" y="1212543"/>
                    </a:moveTo>
                    <a:cubicBezTo>
                      <a:pt x="1230351" y="1212543"/>
                      <a:pt x="1214130" y="1224038"/>
                      <a:pt x="1207201" y="1240419"/>
                    </a:cubicBezTo>
                    <a:lnTo>
                      <a:pt x="1203614" y="1258185"/>
                    </a:lnTo>
                    <a:lnTo>
                      <a:pt x="1207201" y="1275950"/>
                    </a:lnTo>
                    <a:cubicBezTo>
                      <a:pt x="1214130" y="1292331"/>
                      <a:pt x="1230351" y="1303826"/>
                      <a:pt x="1249256" y="1303826"/>
                    </a:cubicBezTo>
                    <a:lnTo>
                      <a:pt x="1557230" y="1303827"/>
                    </a:lnTo>
                    <a:cubicBezTo>
                      <a:pt x="1582437" y="1303827"/>
                      <a:pt x="1602872" y="1283392"/>
                      <a:pt x="1602872" y="1258185"/>
                    </a:cubicBezTo>
                    <a:lnTo>
                      <a:pt x="1602873" y="1258185"/>
                    </a:lnTo>
                    <a:cubicBezTo>
                      <a:pt x="1602873" y="1232978"/>
                      <a:pt x="1582438" y="1212543"/>
                      <a:pt x="1557231" y="1212543"/>
                    </a:cubicBezTo>
                    <a:close/>
                    <a:moveTo>
                      <a:pt x="787149" y="1212543"/>
                    </a:moveTo>
                    <a:cubicBezTo>
                      <a:pt x="768244" y="1212543"/>
                      <a:pt x="752023" y="1224038"/>
                      <a:pt x="745094" y="1240419"/>
                    </a:cubicBezTo>
                    <a:lnTo>
                      <a:pt x="741507" y="1258185"/>
                    </a:lnTo>
                    <a:lnTo>
                      <a:pt x="745094" y="1275950"/>
                    </a:lnTo>
                    <a:cubicBezTo>
                      <a:pt x="752023" y="1292331"/>
                      <a:pt x="768244" y="1303826"/>
                      <a:pt x="787149" y="1303826"/>
                    </a:cubicBezTo>
                    <a:lnTo>
                      <a:pt x="1095123" y="1303827"/>
                    </a:lnTo>
                    <a:cubicBezTo>
                      <a:pt x="1120330" y="1303827"/>
                      <a:pt x="1140765" y="1283392"/>
                      <a:pt x="1140765" y="1258185"/>
                    </a:cubicBezTo>
                    <a:lnTo>
                      <a:pt x="1140766" y="1258185"/>
                    </a:lnTo>
                    <a:cubicBezTo>
                      <a:pt x="1140766" y="1232978"/>
                      <a:pt x="1120331" y="1212543"/>
                      <a:pt x="1095124" y="1212543"/>
                    </a:cubicBezTo>
                    <a:close/>
                    <a:moveTo>
                      <a:pt x="325042" y="1212543"/>
                    </a:moveTo>
                    <a:cubicBezTo>
                      <a:pt x="306137" y="1212543"/>
                      <a:pt x="289916" y="1224038"/>
                      <a:pt x="282987" y="1240419"/>
                    </a:cubicBezTo>
                    <a:lnTo>
                      <a:pt x="279400" y="1258185"/>
                    </a:lnTo>
                    <a:lnTo>
                      <a:pt x="279400" y="1258184"/>
                    </a:lnTo>
                    <a:lnTo>
                      <a:pt x="279400" y="1258185"/>
                    </a:lnTo>
                    <a:lnTo>
                      <a:pt x="279400" y="1258185"/>
                    </a:lnTo>
                    <a:lnTo>
                      <a:pt x="282987" y="1275950"/>
                    </a:lnTo>
                    <a:cubicBezTo>
                      <a:pt x="289916" y="1292331"/>
                      <a:pt x="306137" y="1303826"/>
                      <a:pt x="325042" y="1303826"/>
                    </a:cubicBezTo>
                    <a:lnTo>
                      <a:pt x="633016" y="1303827"/>
                    </a:lnTo>
                    <a:cubicBezTo>
                      <a:pt x="658223" y="1303827"/>
                      <a:pt x="678658" y="1283392"/>
                      <a:pt x="678658" y="1258185"/>
                    </a:cubicBezTo>
                    <a:lnTo>
                      <a:pt x="678659" y="1258185"/>
                    </a:lnTo>
                    <a:cubicBezTo>
                      <a:pt x="678659" y="1232978"/>
                      <a:pt x="658224" y="1212543"/>
                      <a:pt x="633017" y="1212543"/>
                    </a:cubicBezTo>
                    <a:close/>
                    <a:moveTo>
                      <a:pt x="1500127" y="98475"/>
                    </a:moveTo>
                    <a:lnTo>
                      <a:pt x="1846496" y="98475"/>
                    </a:lnTo>
                    <a:lnTo>
                      <a:pt x="1846496" y="477906"/>
                    </a:lnTo>
                    <a:lnTo>
                      <a:pt x="1933688" y="1100546"/>
                    </a:lnTo>
                    <a:lnTo>
                      <a:pt x="1933799" y="1100546"/>
                    </a:lnTo>
                    <a:lnTo>
                      <a:pt x="2013845" y="671778"/>
                    </a:lnTo>
                    <a:lnTo>
                      <a:pt x="2013845" y="329592"/>
                    </a:lnTo>
                    <a:lnTo>
                      <a:pt x="2260708" y="329592"/>
                    </a:lnTo>
                    <a:lnTo>
                      <a:pt x="2260708" y="671783"/>
                    </a:lnTo>
                    <a:lnTo>
                      <a:pt x="2344235" y="1119193"/>
                    </a:lnTo>
                    <a:lnTo>
                      <a:pt x="2368307" y="1135423"/>
                    </a:lnTo>
                    <a:cubicBezTo>
                      <a:pt x="2389856" y="1156972"/>
                      <a:pt x="2403184" y="1186741"/>
                      <a:pt x="2403184" y="1219624"/>
                    </a:cubicBezTo>
                    <a:lnTo>
                      <a:pt x="2403184" y="1695922"/>
                    </a:lnTo>
                    <a:lnTo>
                      <a:pt x="2402220" y="1700700"/>
                    </a:lnTo>
                    <a:lnTo>
                      <a:pt x="2590800" y="1700700"/>
                    </a:lnTo>
                    <a:lnTo>
                      <a:pt x="2590800" y="1929300"/>
                    </a:lnTo>
                    <a:lnTo>
                      <a:pt x="0" y="1929300"/>
                    </a:lnTo>
                    <a:lnTo>
                      <a:pt x="0" y="1700700"/>
                    </a:lnTo>
                    <a:lnTo>
                      <a:pt x="148116" y="1700700"/>
                    </a:lnTo>
                    <a:lnTo>
                      <a:pt x="147151" y="1695922"/>
                    </a:lnTo>
                    <a:lnTo>
                      <a:pt x="147151" y="1219624"/>
                    </a:lnTo>
                    <a:cubicBezTo>
                      <a:pt x="147151" y="1153859"/>
                      <a:pt x="200464" y="1100546"/>
                      <a:pt x="266229" y="1100546"/>
                    </a:cubicBezTo>
                    <a:lnTo>
                      <a:pt x="378272" y="1100546"/>
                    </a:lnTo>
                    <a:lnTo>
                      <a:pt x="378272" y="1054702"/>
                    </a:lnTo>
                    <a:cubicBezTo>
                      <a:pt x="378272" y="993191"/>
                      <a:pt x="428137" y="943326"/>
                      <a:pt x="489648" y="943326"/>
                    </a:cubicBezTo>
                    <a:lnTo>
                      <a:pt x="787409" y="943326"/>
                    </a:lnTo>
                    <a:lnTo>
                      <a:pt x="787409" y="713275"/>
                    </a:lnTo>
                    <a:lnTo>
                      <a:pt x="1179998" y="713275"/>
                    </a:lnTo>
                    <a:lnTo>
                      <a:pt x="1179998" y="943326"/>
                    </a:lnTo>
                    <a:lnTo>
                      <a:pt x="1205071" y="943326"/>
                    </a:lnTo>
                    <a:cubicBezTo>
                      <a:pt x="1266582" y="943326"/>
                      <a:pt x="1316447" y="993191"/>
                      <a:pt x="1316447" y="1054702"/>
                    </a:cubicBezTo>
                    <a:lnTo>
                      <a:pt x="1316447" y="1100546"/>
                    </a:lnTo>
                    <a:lnTo>
                      <a:pt x="1410207" y="1100546"/>
                    </a:lnTo>
                    <a:lnTo>
                      <a:pt x="1500127" y="458426"/>
                    </a:lnTo>
                    <a:close/>
                    <a:moveTo>
                      <a:pt x="2338476" y="0"/>
                    </a:moveTo>
                    <a:cubicBezTo>
                      <a:pt x="2400650" y="0"/>
                      <a:pt x="2453996" y="28375"/>
                      <a:pt x="2476782" y="68815"/>
                    </a:cubicBezTo>
                    <a:lnTo>
                      <a:pt x="2487915" y="110204"/>
                    </a:lnTo>
                    <a:lnTo>
                      <a:pt x="2523986" y="115671"/>
                    </a:lnTo>
                    <a:cubicBezTo>
                      <a:pt x="2560472" y="127255"/>
                      <a:pt x="2586074" y="154374"/>
                      <a:pt x="2586074" y="185982"/>
                    </a:cubicBezTo>
                    <a:cubicBezTo>
                      <a:pt x="2586074" y="196518"/>
                      <a:pt x="2583229" y="206555"/>
                      <a:pt x="2578085" y="215685"/>
                    </a:cubicBezTo>
                    <a:lnTo>
                      <a:pt x="2558616" y="237361"/>
                    </a:lnTo>
                    <a:lnTo>
                      <a:pt x="2587700" y="233539"/>
                    </a:lnTo>
                    <a:cubicBezTo>
                      <a:pt x="2619270" y="225122"/>
                      <a:pt x="2647631" y="204573"/>
                      <a:pt x="2667505" y="174852"/>
                    </a:cubicBezTo>
                    <a:cubicBezTo>
                      <a:pt x="2667505" y="244385"/>
                      <a:pt x="2617249" y="300753"/>
                      <a:pt x="2555256" y="300753"/>
                    </a:cubicBezTo>
                    <a:cubicBezTo>
                      <a:pt x="2524260" y="300753"/>
                      <a:pt x="2496197" y="286661"/>
                      <a:pt x="2475884" y="263877"/>
                    </a:cubicBezTo>
                    <a:lnTo>
                      <a:pt x="2473979" y="260708"/>
                    </a:lnTo>
                    <a:lnTo>
                      <a:pt x="2444846" y="256293"/>
                    </a:lnTo>
                    <a:cubicBezTo>
                      <a:pt x="2432684" y="252432"/>
                      <a:pt x="2421732" y="246845"/>
                      <a:pt x="2412533" y="239940"/>
                    </a:cubicBezTo>
                    <a:lnTo>
                      <a:pt x="2392119" y="217213"/>
                    </a:lnTo>
                    <a:lnTo>
                      <a:pt x="2387531" y="217908"/>
                    </a:lnTo>
                    <a:lnTo>
                      <a:pt x="2386930" y="220143"/>
                    </a:lnTo>
                    <a:cubicBezTo>
                      <a:pt x="2364144" y="260582"/>
                      <a:pt x="2310798" y="288957"/>
                      <a:pt x="2248624" y="288957"/>
                    </a:cubicBezTo>
                    <a:cubicBezTo>
                      <a:pt x="2165725" y="288957"/>
                      <a:pt x="2098522" y="238512"/>
                      <a:pt x="2098522" y="176286"/>
                    </a:cubicBezTo>
                    <a:cubicBezTo>
                      <a:pt x="2098522" y="160730"/>
                      <a:pt x="2102722" y="145909"/>
                      <a:pt x="2110318" y="132430"/>
                    </a:cubicBezTo>
                    <a:lnTo>
                      <a:pt x="2118269" y="123578"/>
                    </a:lnTo>
                    <a:lnTo>
                      <a:pt x="2102212" y="105701"/>
                    </a:lnTo>
                    <a:cubicBezTo>
                      <a:pt x="2098356" y="98858"/>
                      <a:pt x="2096224" y="91335"/>
                      <a:pt x="2096224" y="83437"/>
                    </a:cubicBezTo>
                    <a:cubicBezTo>
                      <a:pt x="2096224" y="51847"/>
                      <a:pt x="2130340" y="26239"/>
                      <a:pt x="2172424" y="26239"/>
                    </a:cubicBezTo>
                    <a:cubicBezTo>
                      <a:pt x="2182945" y="26239"/>
                      <a:pt x="2192968" y="27840"/>
                      <a:pt x="2202085" y="30734"/>
                    </a:cubicBezTo>
                    <a:lnTo>
                      <a:pt x="2224283" y="41968"/>
                    </a:lnTo>
                    <a:lnTo>
                      <a:pt x="2232338" y="33001"/>
                    </a:lnTo>
                    <a:cubicBezTo>
                      <a:pt x="2259501" y="12611"/>
                      <a:pt x="2297027" y="0"/>
                      <a:pt x="2338476" y="0"/>
                    </a:cubicBezTo>
                    <a:close/>
                  </a:path>
                </a:pathLst>
              </a:custGeom>
              <a:solidFill>
                <a:schemeClr val="tx1"/>
              </a:solidFill>
              <a:ln w="25400" cap="flat" cmpd="sng" algn="ctr">
                <a:noFill/>
                <a:prstDash val="solid"/>
              </a:ln>
              <a:effectLst/>
            </p:spPr>
            <p:txBody>
              <a:bodyPr rtlCol="0" anchor="ctr"/>
              <a:lstStyle/>
              <a:p>
                <a:pPr algn="ctr" defTabSz="910655">
                  <a:defRPr/>
                </a:pPr>
                <a:endParaRPr lang="en-US" sz="1895" kern="0" dirty="0">
                  <a:solidFill>
                    <a:srgbClr val="FFFFFF"/>
                  </a:solidFill>
                  <a:latin typeface="Franklin Gothic Book" charset="0"/>
                  <a:cs typeface="Franklin Gothic Book" charset="0"/>
                </a:endParaRPr>
              </a:p>
            </p:txBody>
          </p:sp>
          <p:sp>
            <p:nvSpPr>
              <p:cNvPr id="100" name="Freeform 125">
                <a:extLst>
                  <a:ext uri="{FF2B5EF4-FFF2-40B4-BE49-F238E27FC236}">
                    <a16:creationId xmlns:a16="http://schemas.microsoft.com/office/drawing/2014/main" id="{3B9505FB-A16A-4F0B-9A77-AF5996EB9DCE}"/>
                  </a:ext>
                </a:extLst>
              </p:cNvPr>
              <p:cNvSpPr/>
              <p:nvPr/>
            </p:nvSpPr>
            <p:spPr>
              <a:xfrm rot="19317216">
                <a:off x="4413732" y="5646275"/>
                <a:ext cx="418308" cy="185967"/>
              </a:xfrm>
              <a:custGeom>
                <a:avLst/>
                <a:gdLst>
                  <a:gd name="connsiteX0" fmla="*/ 179028 w 418308"/>
                  <a:gd name="connsiteY0" fmla="*/ 1523 h 185967"/>
                  <a:gd name="connsiteX1" fmla="*/ 224663 w 418308"/>
                  <a:gd name="connsiteY1" fmla="*/ 181472 h 185967"/>
                  <a:gd name="connsiteX2" fmla="*/ 206936 w 418308"/>
                  <a:gd name="connsiteY2" fmla="*/ 185967 h 185967"/>
                  <a:gd name="connsiteX3" fmla="*/ 198561 w 418308"/>
                  <a:gd name="connsiteY3" fmla="*/ 152943 h 185967"/>
                  <a:gd name="connsiteX4" fmla="*/ 167067 w 418308"/>
                  <a:gd name="connsiteY4" fmla="*/ 156939 h 185967"/>
                  <a:gd name="connsiteX5" fmla="*/ 124573 w 418308"/>
                  <a:gd name="connsiteY5" fmla="*/ 144433 h 185967"/>
                  <a:gd name="connsiteX6" fmla="*/ 101080 w 418308"/>
                  <a:gd name="connsiteY6" fmla="*/ 126315 h 185967"/>
                  <a:gd name="connsiteX7" fmla="*/ 87798 w 418308"/>
                  <a:gd name="connsiteY7" fmla="*/ 104671 h 185967"/>
                  <a:gd name="connsiteX8" fmla="*/ 0 w 418308"/>
                  <a:gd name="connsiteY8" fmla="*/ 104671 h 185967"/>
                  <a:gd name="connsiteX9" fmla="*/ 0 w 418308"/>
                  <a:gd name="connsiteY9" fmla="*/ 86383 h 185967"/>
                  <a:gd name="connsiteX10" fmla="*/ 85319 w 418308"/>
                  <a:gd name="connsiteY10" fmla="*/ 86383 h 185967"/>
                  <a:gd name="connsiteX11" fmla="*/ 84588 w 418308"/>
                  <a:gd name="connsiteY11" fmla="*/ 80317 h 185967"/>
                  <a:gd name="connsiteX12" fmla="*/ 93387 w 418308"/>
                  <a:gd name="connsiteY12" fmla="*/ 57450 h 185967"/>
                  <a:gd name="connsiteX13" fmla="*/ 129174 w 418308"/>
                  <a:gd name="connsiteY13" fmla="*/ 32045 h 185967"/>
                  <a:gd name="connsiteX14" fmla="*/ 167273 w 418308"/>
                  <a:gd name="connsiteY14" fmla="*/ 29568 h 185967"/>
                  <a:gd name="connsiteX15" fmla="*/ 161301 w 418308"/>
                  <a:gd name="connsiteY15" fmla="*/ 6018 h 185967"/>
                  <a:gd name="connsiteX16" fmla="*/ 418308 w 418308"/>
                  <a:gd name="connsiteY16" fmla="*/ 81296 h 185967"/>
                  <a:gd name="connsiteX17" fmla="*/ 418308 w 418308"/>
                  <a:gd name="connsiteY17" fmla="*/ 99584 h 185967"/>
                  <a:gd name="connsiteX18" fmla="*/ 332989 w 418308"/>
                  <a:gd name="connsiteY18" fmla="*/ 99584 h 185967"/>
                  <a:gd name="connsiteX19" fmla="*/ 333720 w 418308"/>
                  <a:gd name="connsiteY19" fmla="*/ 105650 h 185967"/>
                  <a:gd name="connsiteX20" fmla="*/ 324921 w 418308"/>
                  <a:gd name="connsiteY20" fmla="*/ 128517 h 185967"/>
                  <a:gd name="connsiteX21" fmla="*/ 289134 w 418308"/>
                  <a:gd name="connsiteY21" fmla="*/ 153922 h 185967"/>
                  <a:gd name="connsiteX22" fmla="*/ 251035 w 418308"/>
                  <a:gd name="connsiteY22" fmla="*/ 156399 h 185967"/>
                  <a:gd name="connsiteX23" fmla="*/ 257007 w 418308"/>
                  <a:gd name="connsiteY23" fmla="*/ 179949 h 185967"/>
                  <a:gd name="connsiteX24" fmla="*/ 239280 w 418308"/>
                  <a:gd name="connsiteY24" fmla="*/ 184444 h 185967"/>
                  <a:gd name="connsiteX25" fmla="*/ 193645 w 418308"/>
                  <a:gd name="connsiteY25" fmla="*/ 4495 h 185967"/>
                  <a:gd name="connsiteX26" fmla="*/ 211372 w 418308"/>
                  <a:gd name="connsiteY26" fmla="*/ 0 h 185967"/>
                  <a:gd name="connsiteX27" fmla="*/ 219747 w 418308"/>
                  <a:gd name="connsiteY27" fmla="*/ 33024 h 185967"/>
                  <a:gd name="connsiteX28" fmla="*/ 251241 w 418308"/>
                  <a:gd name="connsiteY28" fmla="*/ 29028 h 185967"/>
                  <a:gd name="connsiteX29" fmla="*/ 293735 w 418308"/>
                  <a:gd name="connsiteY29" fmla="*/ 41534 h 185967"/>
                  <a:gd name="connsiteX30" fmla="*/ 317228 w 418308"/>
                  <a:gd name="connsiteY30" fmla="*/ 59652 h 185967"/>
                  <a:gd name="connsiteX31" fmla="*/ 330510 w 418308"/>
                  <a:gd name="connsiteY31" fmla="*/ 81295 h 18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18308" h="185967">
                    <a:moveTo>
                      <a:pt x="179028" y="1523"/>
                    </a:moveTo>
                    <a:lnTo>
                      <a:pt x="224663" y="181472"/>
                    </a:lnTo>
                    <a:lnTo>
                      <a:pt x="206936" y="185967"/>
                    </a:lnTo>
                    <a:lnTo>
                      <a:pt x="198561" y="152943"/>
                    </a:lnTo>
                    <a:lnTo>
                      <a:pt x="167067" y="156939"/>
                    </a:lnTo>
                    <a:cubicBezTo>
                      <a:pt x="152319" y="155717"/>
                      <a:pt x="137624" y="151504"/>
                      <a:pt x="124573" y="144433"/>
                    </a:cubicBezTo>
                    <a:cubicBezTo>
                      <a:pt x="115197" y="139354"/>
                      <a:pt x="107317" y="133175"/>
                      <a:pt x="101080" y="126315"/>
                    </a:cubicBezTo>
                    <a:lnTo>
                      <a:pt x="87798" y="104671"/>
                    </a:lnTo>
                    <a:lnTo>
                      <a:pt x="0" y="104671"/>
                    </a:lnTo>
                    <a:lnTo>
                      <a:pt x="0" y="86383"/>
                    </a:lnTo>
                    <a:lnTo>
                      <a:pt x="85319" y="86383"/>
                    </a:lnTo>
                    <a:lnTo>
                      <a:pt x="84588" y="80317"/>
                    </a:lnTo>
                    <a:cubicBezTo>
                      <a:pt x="85528" y="72402"/>
                      <a:pt x="88410" y="64640"/>
                      <a:pt x="93387" y="57450"/>
                    </a:cubicBezTo>
                    <a:cubicBezTo>
                      <a:pt x="101467" y="45775"/>
                      <a:pt x="114122" y="37064"/>
                      <a:pt x="129174" y="32045"/>
                    </a:cubicBezTo>
                    <a:lnTo>
                      <a:pt x="167273" y="29568"/>
                    </a:lnTo>
                    <a:lnTo>
                      <a:pt x="161301" y="6018"/>
                    </a:lnTo>
                    <a:close/>
                    <a:moveTo>
                      <a:pt x="418308" y="81296"/>
                    </a:moveTo>
                    <a:lnTo>
                      <a:pt x="418308" y="99584"/>
                    </a:lnTo>
                    <a:lnTo>
                      <a:pt x="332989" y="99584"/>
                    </a:lnTo>
                    <a:lnTo>
                      <a:pt x="333720" y="105650"/>
                    </a:lnTo>
                    <a:cubicBezTo>
                      <a:pt x="332780" y="113565"/>
                      <a:pt x="329898" y="121327"/>
                      <a:pt x="324921" y="128517"/>
                    </a:cubicBezTo>
                    <a:cubicBezTo>
                      <a:pt x="316841" y="140192"/>
                      <a:pt x="304186" y="148903"/>
                      <a:pt x="289134" y="153922"/>
                    </a:cubicBezTo>
                    <a:lnTo>
                      <a:pt x="251035" y="156399"/>
                    </a:lnTo>
                    <a:lnTo>
                      <a:pt x="257007" y="179949"/>
                    </a:lnTo>
                    <a:lnTo>
                      <a:pt x="239280" y="184444"/>
                    </a:lnTo>
                    <a:lnTo>
                      <a:pt x="193645" y="4495"/>
                    </a:lnTo>
                    <a:lnTo>
                      <a:pt x="211372" y="0"/>
                    </a:lnTo>
                    <a:lnTo>
                      <a:pt x="219747" y="33024"/>
                    </a:lnTo>
                    <a:lnTo>
                      <a:pt x="251241" y="29028"/>
                    </a:lnTo>
                    <a:cubicBezTo>
                      <a:pt x="265989" y="30250"/>
                      <a:pt x="280684" y="34463"/>
                      <a:pt x="293735" y="41534"/>
                    </a:cubicBezTo>
                    <a:cubicBezTo>
                      <a:pt x="303111" y="46613"/>
                      <a:pt x="310991" y="52792"/>
                      <a:pt x="317228" y="59652"/>
                    </a:cubicBezTo>
                    <a:lnTo>
                      <a:pt x="330510" y="8129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grpSp>
      </p:grpSp>
      <p:grpSp>
        <p:nvGrpSpPr>
          <p:cNvPr id="143" name="Group 142">
            <a:extLst>
              <a:ext uri="{FF2B5EF4-FFF2-40B4-BE49-F238E27FC236}">
                <a16:creationId xmlns:a16="http://schemas.microsoft.com/office/drawing/2014/main" id="{3CC5EC14-2F49-45C1-8CDA-EC07BAA1A218}"/>
              </a:ext>
            </a:extLst>
          </p:cNvPr>
          <p:cNvGrpSpPr/>
          <p:nvPr/>
        </p:nvGrpSpPr>
        <p:grpSpPr>
          <a:xfrm>
            <a:off x="3675591" y="5927347"/>
            <a:ext cx="596556" cy="664889"/>
            <a:chOff x="837778" y="2988970"/>
            <a:chExt cx="675646" cy="753039"/>
          </a:xfrm>
        </p:grpSpPr>
        <p:sp>
          <p:nvSpPr>
            <p:cNvPr id="144" name="TextBox 143">
              <a:extLst>
                <a:ext uri="{FF2B5EF4-FFF2-40B4-BE49-F238E27FC236}">
                  <a16:creationId xmlns:a16="http://schemas.microsoft.com/office/drawing/2014/main" id="{6A70C1A6-CAB6-424F-8E96-BBFF7619C04D}"/>
                </a:ext>
              </a:extLst>
            </p:cNvPr>
            <p:cNvSpPr txBox="1"/>
            <p:nvPr/>
          </p:nvSpPr>
          <p:spPr>
            <a:xfrm>
              <a:off x="837778" y="3576066"/>
              <a:ext cx="675646" cy="165943"/>
            </a:xfrm>
            <a:prstGeom prst="rect">
              <a:avLst/>
            </a:prstGeom>
            <a:noFill/>
          </p:spPr>
          <p:txBody>
            <a:bodyPr wrap="none" lIns="0" tIns="0" rIns="0" bIns="0" rtlCol="0">
              <a:spAutoFit/>
            </a:bodyPr>
            <a:lstStyle/>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D4647"/>
                  </a:solidFill>
                  <a:effectLst/>
                  <a:uLnTx/>
                  <a:uFillTx/>
                  <a:latin typeface="Century Gothic" panose="020F0302020204030204"/>
                  <a:ea typeface="+mn-ea"/>
                  <a:cs typeface="+mn-cs"/>
                </a:rPr>
                <a:t>Gateway</a:t>
              </a:r>
            </a:p>
          </p:txBody>
        </p:sp>
        <p:pic>
          <p:nvPicPr>
            <p:cNvPr id="145" name="Picture 144">
              <a:extLst>
                <a:ext uri="{FF2B5EF4-FFF2-40B4-BE49-F238E27FC236}">
                  <a16:creationId xmlns:a16="http://schemas.microsoft.com/office/drawing/2014/main" id="{01D5CAD5-A6C2-449E-A6A5-31A86E6C46D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55910" y="2988970"/>
              <a:ext cx="618984" cy="582416"/>
            </a:xfrm>
            <a:prstGeom prst="rect">
              <a:avLst/>
            </a:prstGeom>
          </p:spPr>
        </p:pic>
      </p:grpSp>
      <p:grpSp>
        <p:nvGrpSpPr>
          <p:cNvPr id="146" name="Group 145">
            <a:extLst>
              <a:ext uri="{FF2B5EF4-FFF2-40B4-BE49-F238E27FC236}">
                <a16:creationId xmlns:a16="http://schemas.microsoft.com/office/drawing/2014/main" id="{41EAD44C-4FE6-45A2-A482-75A4D24DAC41}"/>
              </a:ext>
            </a:extLst>
          </p:cNvPr>
          <p:cNvGrpSpPr/>
          <p:nvPr/>
        </p:nvGrpSpPr>
        <p:grpSpPr>
          <a:xfrm>
            <a:off x="2756222" y="5869008"/>
            <a:ext cx="667232" cy="686437"/>
            <a:chOff x="576613" y="5333973"/>
            <a:chExt cx="826012" cy="897829"/>
          </a:xfrm>
        </p:grpSpPr>
        <p:pic>
          <p:nvPicPr>
            <p:cNvPr id="147" name="Picture 146">
              <a:extLst>
                <a:ext uri="{FF2B5EF4-FFF2-40B4-BE49-F238E27FC236}">
                  <a16:creationId xmlns:a16="http://schemas.microsoft.com/office/drawing/2014/main" id="{2697C05B-2243-449D-8A0F-09EC868038D3}"/>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50827" y="5333973"/>
              <a:ext cx="347513" cy="373136"/>
            </a:xfrm>
            <a:prstGeom prst="rect">
              <a:avLst/>
            </a:prstGeom>
          </p:spPr>
        </p:pic>
        <p:pic>
          <p:nvPicPr>
            <p:cNvPr id="148" name="Picture 147">
              <a:extLst>
                <a:ext uri="{FF2B5EF4-FFF2-40B4-BE49-F238E27FC236}">
                  <a16:creationId xmlns:a16="http://schemas.microsoft.com/office/drawing/2014/main" id="{D7B16A85-3804-490F-97EC-7FDDA13A33EA}"/>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90034" y="5634720"/>
              <a:ext cx="812590" cy="293125"/>
            </a:xfrm>
            <a:prstGeom prst="rect">
              <a:avLst/>
            </a:prstGeom>
          </p:spPr>
        </p:pic>
        <p:sp>
          <p:nvSpPr>
            <p:cNvPr id="149" name="TextBox 148">
              <a:extLst>
                <a:ext uri="{FF2B5EF4-FFF2-40B4-BE49-F238E27FC236}">
                  <a16:creationId xmlns:a16="http://schemas.microsoft.com/office/drawing/2014/main" id="{3A3C7002-283D-4C9D-AF12-4FF7B07AC82C}"/>
                </a:ext>
              </a:extLst>
            </p:cNvPr>
            <p:cNvSpPr txBox="1"/>
            <p:nvPr/>
          </p:nvSpPr>
          <p:spPr>
            <a:xfrm>
              <a:off x="576613" y="5954803"/>
              <a:ext cx="826012" cy="276999"/>
            </a:xfrm>
            <a:prstGeom prst="rect">
              <a:avLst/>
            </a:prstGeom>
            <a:noFill/>
          </p:spPr>
          <p:txBody>
            <a:bodyPr wrap="square" lIns="0" tIns="0" rIns="0" bIns="0" rtlCol="0">
              <a:spAutoFit/>
            </a:bodyPr>
            <a:lstStyle/>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D4647"/>
                  </a:solidFill>
                  <a:effectLst/>
                  <a:uLnTx/>
                  <a:uFillTx/>
                  <a:latin typeface="Century Gothic" panose="020F0302020204030204"/>
                  <a:ea typeface="+mn-ea"/>
                  <a:cs typeface="+mn-cs"/>
                </a:rPr>
                <a:t>Embedded System</a:t>
              </a:r>
            </a:p>
          </p:txBody>
        </p:sp>
      </p:grpSp>
      <p:grpSp>
        <p:nvGrpSpPr>
          <p:cNvPr id="150" name="Group 149">
            <a:extLst>
              <a:ext uri="{FF2B5EF4-FFF2-40B4-BE49-F238E27FC236}">
                <a16:creationId xmlns:a16="http://schemas.microsoft.com/office/drawing/2014/main" id="{73201CF9-7473-48E2-9EC1-E0D0E4EEF389}"/>
              </a:ext>
            </a:extLst>
          </p:cNvPr>
          <p:cNvGrpSpPr/>
          <p:nvPr/>
        </p:nvGrpSpPr>
        <p:grpSpPr>
          <a:xfrm>
            <a:off x="1550611" y="6006345"/>
            <a:ext cx="919546" cy="514238"/>
            <a:chOff x="11113612" y="3867942"/>
            <a:chExt cx="575548" cy="353833"/>
          </a:xfrm>
        </p:grpSpPr>
        <p:pic>
          <p:nvPicPr>
            <p:cNvPr id="151" name="Picture 150">
              <a:extLst>
                <a:ext uri="{FF2B5EF4-FFF2-40B4-BE49-F238E27FC236}">
                  <a16:creationId xmlns:a16="http://schemas.microsoft.com/office/drawing/2014/main" id="{AF186E79-DDC9-476F-B061-694C9A455048}"/>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1440834" y="3881589"/>
              <a:ext cx="184390" cy="171996"/>
            </a:xfrm>
            <a:prstGeom prst="rect">
              <a:avLst/>
            </a:prstGeom>
          </p:spPr>
        </p:pic>
        <p:pic>
          <p:nvPicPr>
            <p:cNvPr id="152" name="Picture 8" descr="Mill Icon image #15715">
              <a:extLst>
                <a:ext uri="{FF2B5EF4-FFF2-40B4-BE49-F238E27FC236}">
                  <a16:creationId xmlns:a16="http://schemas.microsoft.com/office/drawing/2014/main" id="{FA2ED313-629F-492B-A47F-3EB5D58AD548}"/>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1113612" y="3867942"/>
              <a:ext cx="289936" cy="319256"/>
            </a:xfrm>
            <a:prstGeom prst="rect">
              <a:avLst/>
            </a:prstGeom>
            <a:noFill/>
            <a:extLst>
              <a:ext uri="{909E8E84-426E-40DD-AFC4-6F175D3DCCD1}">
                <a14:hiddenFill xmlns:a14="http://schemas.microsoft.com/office/drawing/2010/main">
                  <a:solidFill>
                    <a:srgbClr val="FFFFFF"/>
                  </a:solidFill>
                </a14:hiddenFill>
              </a:ext>
            </a:extLst>
          </p:spPr>
        </p:pic>
        <p:sp>
          <p:nvSpPr>
            <p:cNvPr id="153" name="TextBox 152">
              <a:extLst>
                <a:ext uri="{FF2B5EF4-FFF2-40B4-BE49-F238E27FC236}">
                  <a16:creationId xmlns:a16="http://schemas.microsoft.com/office/drawing/2014/main" id="{00F15C57-E072-4784-BB1F-5E024D410352}"/>
                </a:ext>
              </a:extLst>
            </p:cNvPr>
            <p:cNvSpPr txBox="1"/>
            <p:nvPr/>
          </p:nvSpPr>
          <p:spPr>
            <a:xfrm>
              <a:off x="11438762" y="4083276"/>
              <a:ext cx="250398" cy="138499"/>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D4647"/>
                  </a:solidFill>
                  <a:effectLst/>
                  <a:uLnTx/>
                  <a:uFillTx/>
                  <a:latin typeface="Century Gothic" panose="020F0302020204030204"/>
                  <a:ea typeface="+mn-ea"/>
                  <a:cs typeface="+mn-cs"/>
                </a:rPr>
                <a:t>PLC</a:t>
              </a:r>
              <a:endParaRPr kumimoji="0" lang="en-US" sz="9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grpSp>
      <p:pic>
        <p:nvPicPr>
          <p:cNvPr id="16" name="Picture 15">
            <a:extLst>
              <a:ext uri="{FF2B5EF4-FFF2-40B4-BE49-F238E27FC236}">
                <a16:creationId xmlns:a16="http://schemas.microsoft.com/office/drawing/2014/main" id="{F3DD46C9-6526-4BF4-B1AA-8DD2331848BA}"/>
              </a:ext>
            </a:extLst>
          </p:cNvPr>
          <p:cNvPicPr>
            <a:picLocks noChangeAspect="1"/>
          </p:cNvPicPr>
          <p:nvPr/>
        </p:nvPicPr>
        <p:blipFill>
          <a:blip r:embed="rId19"/>
          <a:stretch>
            <a:fillRect/>
          </a:stretch>
        </p:blipFill>
        <p:spPr>
          <a:xfrm>
            <a:off x="221540" y="3811587"/>
            <a:ext cx="2445460" cy="1254939"/>
          </a:xfrm>
          <a:prstGeom prst="rect">
            <a:avLst/>
          </a:prstGeom>
          <a:ln>
            <a:solidFill>
              <a:schemeClr val="bg2">
                <a:lumMod val="50000"/>
              </a:schemeClr>
            </a:solidFill>
          </a:ln>
        </p:spPr>
      </p:pic>
      <p:pic>
        <p:nvPicPr>
          <p:cNvPr id="17" name="Picture 16">
            <a:extLst>
              <a:ext uri="{FF2B5EF4-FFF2-40B4-BE49-F238E27FC236}">
                <a16:creationId xmlns:a16="http://schemas.microsoft.com/office/drawing/2014/main" id="{1E7808C0-CC02-482C-9E82-022C30831751}"/>
              </a:ext>
            </a:extLst>
          </p:cNvPr>
          <p:cNvPicPr>
            <a:picLocks noChangeAspect="1"/>
          </p:cNvPicPr>
          <p:nvPr/>
        </p:nvPicPr>
        <p:blipFill>
          <a:blip r:embed="rId20"/>
          <a:stretch>
            <a:fillRect/>
          </a:stretch>
        </p:blipFill>
        <p:spPr>
          <a:xfrm>
            <a:off x="221540" y="2481965"/>
            <a:ext cx="2445460" cy="1247396"/>
          </a:xfrm>
          <a:prstGeom prst="rect">
            <a:avLst/>
          </a:prstGeom>
          <a:ln>
            <a:solidFill>
              <a:schemeClr val="bg2">
                <a:lumMod val="50000"/>
              </a:schemeClr>
            </a:solidFill>
          </a:ln>
        </p:spPr>
      </p:pic>
      <p:pic>
        <p:nvPicPr>
          <p:cNvPr id="19" name="Picture 18">
            <a:extLst>
              <a:ext uri="{FF2B5EF4-FFF2-40B4-BE49-F238E27FC236}">
                <a16:creationId xmlns:a16="http://schemas.microsoft.com/office/drawing/2014/main" id="{5D058130-FFC9-45FF-8994-D9B7270B0524}"/>
              </a:ext>
            </a:extLst>
          </p:cNvPr>
          <p:cNvPicPr>
            <a:picLocks noChangeAspect="1"/>
          </p:cNvPicPr>
          <p:nvPr/>
        </p:nvPicPr>
        <p:blipFill>
          <a:blip r:embed="rId21"/>
          <a:stretch>
            <a:fillRect/>
          </a:stretch>
        </p:blipFill>
        <p:spPr>
          <a:xfrm>
            <a:off x="1968501" y="841029"/>
            <a:ext cx="2286000" cy="1036520"/>
          </a:xfrm>
          <a:prstGeom prst="rect">
            <a:avLst/>
          </a:prstGeom>
        </p:spPr>
      </p:pic>
      <p:pic>
        <p:nvPicPr>
          <p:cNvPr id="20" name="Picture 19">
            <a:extLst>
              <a:ext uri="{FF2B5EF4-FFF2-40B4-BE49-F238E27FC236}">
                <a16:creationId xmlns:a16="http://schemas.microsoft.com/office/drawing/2014/main" id="{58187A76-0729-4205-B1B9-0D7A425CD1B2}"/>
              </a:ext>
            </a:extLst>
          </p:cNvPr>
          <p:cNvPicPr>
            <a:picLocks noChangeAspect="1"/>
          </p:cNvPicPr>
          <p:nvPr/>
        </p:nvPicPr>
        <p:blipFill>
          <a:blip r:embed="rId22"/>
          <a:stretch>
            <a:fillRect/>
          </a:stretch>
        </p:blipFill>
        <p:spPr>
          <a:xfrm>
            <a:off x="4468804" y="869601"/>
            <a:ext cx="1584179" cy="1036519"/>
          </a:xfrm>
          <a:prstGeom prst="rect">
            <a:avLst/>
          </a:prstGeom>
        </p:spPr>
      </p:pic>
      <p:pic>
        <p:nvPicPr>
          <p:cNvPr id="21" name="Picture 20">
            <a:extLst>
              <a:ext uri="{FF2B5EF4-FFF2-40B4-BE49-F238E27FC236}">
                <a16:creationId xmlns:a16="http://schemas.microsoft.com/office/drawing/2014/main" id="{F5940F32-42A8-4D1B-8DF1-EBFEFF16C552}"/>
              </a:ext>
            </a:extLst>
          </p:cNvPr>
          <p:cNvPicPr>
            <a:picLocks noChangeAspect="1"/>
          </p:cNvPicPr>
          <p:nvPr/>
        </p:nvPicPr>
        <p:blipFill>
          <a:blip r:embed="rId23"/>
          <a:stretch>
            <a:fillRect/>
          </a:stretch>
        </p:blipFill>
        <p:spPr>
          <a:xfrm>
            <a:off x="6122505" y="873838"/>
            <a:ext cx="2481749" cy="1144688"/>
          </a:xfrm>
          <a:prstGeom prst="rect">
            <a:avLst/>
          </a:prstGeom>
        </p:spPr>
      </p:pic>
      <p:pic>
        <p:nvPicPr>
          <p:cNvPr id="154" name="Picture Placeholder 3">
            <a:extLst>
              <a:ext uri="{FF2B5EF4-FFF2-40B4-BE49-F238E27FC236}">
                <a16:creationId xmlns:a16="http://schemas.microsoft.com/office/drawing/2014/main" id="{BFFF2289-32B9-45D7-A128-CB430B07D892}"/>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r="18792"/>
          <a:stretch/>
        </p:blipFill>
        <p:spPr>
          <a:xfrm>
            <a:off x="8521377" y="881673"/>
            <a:ext cx="1864930" cy="1136854"/>
          </a:xfrm>
          <a:prstGeom prst="rect">
            <a:avLst/>
          </a:prstGeom>
        </p:spPr>
      </p:pic>
      <p:pic>
        <p:nvPicPr>
          <p:cNvPr id="60421" name="Picture 5" descr="Kết quả hình ảnh cho Thingworx studio HBR">
            <a:extLst>
              <a:ext uri="{FF2B5EF4-FFF2-40B4-BE49-F238E27FC236}">
                <a16:creationId xmlns:a16="http://schemas.microsoft.com/office/drawing/2014/main" id="{C4E5EC5B-C082-4EA1-A5C9-B49A564D3CA5}"/>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0122025" y="4692717"/>
            <a:ext cx="1660297" cy="93391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5158AB95-F35A-4139-909A-EC124EA2D8B0}"/>
              </a:ext>
            </a:extLst>
          </p:cNvPr>
          <p:cNvSpPr/>
          <p:nvPr/>
        </p:nvSpPr>
        <p:spPr>
          <a:xfrm>
            <a:off x="1905000" y="762000"/>
            <a:ext cx="8597901" cy="1311543"/>
          </a:xfrm>
          <a:prstGeom prst="rect">
            <a:avLst/>
          </a:prstGeom>
          <a:noFill/>
          <a:ln w="381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
        <p:nvSpPr>
          <p:cNvPr id="155" name="Rectangle 154">
            <a:extLst>
              <a:ext uri="{FF2B5EF4-FFF2-40B4-BE49-F238E27FC236}">
                <a16:creationId xmlns:a16="http://schemas.microsoft.com/office/drawing/2014/main" id="{EB70DD75-ACA7-46E8-AA4B-14F76C640C63}"/>
              </a:ext>
            </a:extLst>
          </p:cNvPr>
          <p:cNvSpPr/>
          <p:nvPr/>
        </p:nvSpPr>
        <p:spPr>
          <a:xfrm>
            <a:off x="3063630" y="2144647"/>
            <a:ext cx="6432462" cy="721587"/>
          </a:xfrm>
          <a:prstGeom prst="rect">
            <a:avLst/>
          </a:prstGeom>
          <a:noFill/>
          <a:ln w="381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
        <p:nvSpPr>
          <p:cNvPr id="156" name="Rectangle 155">
            <a:extLst>
              <a:ext uri="{FF2B5EF4-FFF2-40B4-BE49-F238E27FC236}">
                <a16:creationId xmlns:a16="http://schemas.microsoft.com/office/drawing/2014/main" id="{4684E73D-B901-459C-AD7C-AB150F6A7BD9}"/>
              </a:ext>
            </a:extLst>
          </p:cNvPr>
          <p:cNvSpPr/>
          <p:nvPr/>
        </p:nvSpPr>
        <p:spPr>
          <a:xfrm>
            <a:off x="2795666" y="4650208"/>
            <a:ext cx="6548026" cy="1030809"/>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
        <p:nvSpPr>
          <p:cNvPr id="157" name="Rectangle 156">
            <a:extLst>
              <a:ext uri="{FF2B5EF4-FFF2-40B4-BE49-F238E27FC236}">
                <a16:creationId xmlns:a16="http://schemas.microsoft.com/office/drawing/2014/main" id="{91A3F48E-9884-425F-8B45-2496D059B4ED}"/>
              </a:ext>
            </a:extLst>
          </p:cNvPr>
          <p:cNvSpPr/>
          <p:nvPr/>
        </p:nvSpPr>
        <p:spPr>
          <a:xfrm>
            <a:off x="1552462" y="5785815"/>
            <a:ext cx="8597901" cy="1038562"/>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
        <p:nvSpPr>
          <p:cNvPr id="158" name="Rectangle 157">
            <a:extLst>
              <a:ext uri="{FF2B5EF4-FFF2-40B4-BE49-F238E27FC236}">
                <a16:creationId xmlns:a16="http://schemas.microsoft.com/office/drawing/2014/main" id="{38E17B82-B8B8-4C9C-B6C9-15B984EF6CDD}"/>
              </a:ext>
            </a:extLst>
          </p:cNvPr>
          <p:cNvSpPr/>
          <p:nvPr/>
        </p:nvSpPr>
        <p:spPr>
          <a:xfrm>
            <a:off x="9987374" y="2157787"/>
            <a:ext cx="1899826" cy="3468847"/>
          </a:xfrm>
          <a:prstGeom prst="rect">
            <a:avLst/>
          </a:prstGeom>
          <a:no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
        <p:nvSpPr>
          <p:cNvPr id="159" name="Rectangle 158">
            <a:extLst>
              <a:ext uri="{FF2B5EF4-FFF2-40B4-BE49-F238E27FC236}">
                <a16:creationId xmlns:a16="http://schemas.microsoft.com/office/drawing/2014/main" id="{ADB03261-262C-4FD2-8E5D-8DAAD1D9F0FE}"/>
              </a:ext>
            </a:extLst>
          </p:cNvPr>
          <p:cNvSpPr/>
          <p:nvPr/>
        </p:nvSpPr>
        <p:spPr>
          <a:xfrm>
            <a:off x="8628705" y="2938947"/>
            <a:ext cx="972495" cy="1652967"/>
          </a:xfrm>
          <a:prstGeom prst="rect">
            <a:avLst/>
          </a:prstGeom>
          <a:no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
        <p:nvSpPr>
          <p:cNvPr id="160" name="Rectangle 159">
            <a:extLst>
              <a:ext uri="{FF2B5EF4-FFF2-40B4-BE49-F238E27FC236}">
                <a16:creationId xmlns:a16="http://schemas.microsoft.com/office/drawing/2014/main" id="{036FB50E-090A-4E8E-8AA0-9CD1BE73EC22}"/>
              </a:ext>
            </a:extLst>
          </p:cNvPr>
          <p:cNvSpPr/>
          <p:nvPr/>
        </p:nvSpPr>
        <p:spPr>
          <a:xfrm>
            <a:off x="2948066" y="2922057"/>
            <a:ext cx="972495" cy="165296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
        <p:nvSpPr>
          <p:cNvPr id="161" name="Rectangle 160">
            <a:extLst>
              <a:ext uri="{FF2B5EF4-FFF2-40B4-BE49-F238E27FC236}">
                <a16:creationId xmlns:a16="http://schemas.microsoft.com/office/drawing/2014/main" id="{3F19ED1F-5331-4622-9F99-088C73DABD17}"/>
              </a:ext>
            </a:extLst>
          </p:cNvPr>
          <p:cNvSpPr/>
          <p:nvPr/>
        </p:nvSpPr>
        <p:spPr>
          <a:xfrm>
            <a:off x="221539" y="2406351"/>
            <a:ext cx="2459573" cy="266017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
        <p:nvSpPr>
          <p:cNvPr id="23" name="Arrow: Right 22">
            <a:extLst>
              <a:ext uri="{FF2B5EF4-FFF2-40B4-BE49-F238E27FC236}">
                <a16:creationId xmlns:a16="http://schemas.microsoft.com/office/drawing/2014/main" id="{A7C45653-9E6D-4F6B-808E-063E944D77FC}"/>
              </a:ext>
            </a:extLst>
          </p:cNvPr>
          <p:cNvSpPr/>
          <p:nvPr/>
        </p:nvSpPr>
        <p:spPr>
          <a:xfrm>
            <a:off x="9601200" y="3276600"/>
            <a:ext cx="343896" cy="762000"/>
          </a:xfrm>
          <a:prstGeom prst="rightArrow">
            <a:avLst/>
          </a:prstGeom>
          <a:solidFill>
            <a:srgbClr val="FF0000"/>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
        <p:nvSpPr>
          <p:cNvPr id="162" name="Arrow: Right 161">
            <a:extLst>
              <a:ext uri="{FF2B5EF4-FFF2-40B4-BE49-F238E27FC236}">
                <a16:creationId xmlns:a16="http://schemas.microsoft.com/office/drawing/2014/main" id="{7989B61E-010C-46B3-9F2D-10F0295587DC}"/>
              </a:ext>
            </a:extLst>
          </p:cNvPr>
          <p:cNvSpPr/>
          <p:nvPr/>
        </p:nvSpPr>
        <p:spPr>
          <a:xfrm flipH="1">
            <a:off x="2556006" y="3390127"/>
            <a:ext cx="339594" cy="762000"/>
          </a:xfrm>
          <a:prstGeom prst="rightArrow">
            <a:avLst/>
          </a:prstGeom>
          <a:solidFill>
            <a:srgbClr val="FF0000"/>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
        <p:nvSpPr>
          <p:cNvPr id="163" name="Arrow: Right 162">
            <a:extLst>
              <a:ext uri="{FF2B5EF4-FFF2-40B4-BE49-F238E27FC236}">
                <a16:creationId xmlns:a16="http://schemas.microsoft.com/office/drawing/2014/main" id="{B5EA104E-F42A-42BF-8C94-CB3A2ED2D0CD}"/>
              </a:ext>
            </a:extLst>
          </p:cNvPr>
          <p:cNvSpPr/>
          <p:nvPr/>
        </p:nvSpPr>
        <p:spPr>
          <a:xfrm rot="16200000" flipH="1">
            <a:off x="5783905" y="5380273"/>
            <a:ext cx="339594" cy="762000"/>
          </a:xfrm>
          <a:prstGeom prst="rightArrow">
            <a:avLst/>
          </a:prstGeom>
          <a:solidFill>
            <a:srgbClr val="FF0000"/>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
        <p:nvSpPr>
          <p:cNvPr id="164" name="Arrow: Right 163">
            <a:extLst>
              <a:ext uri="{FF2B5EF4-FFF2-40B4-BE49-F238E27FC236}">
                <a16:creationId xmlns:a16="http://schemas.microsoft.com/office/drawing/2014/main" id="{6C431F4E-8FAD-41AE-A58E-FDB2E4FD02D4}"/>
              </a:ext>
            </a:extLst>
          </p:cNvPr>
          <p:cNvSpPr/>
          <p:nvPr/>
        </p:nvSpPr>
        <p:spPr>
          <a:xfrm rot="5400000" flipH="1">
            <a:off x="6085217" y="1567829"/>
            <a:ext cx="339594" cy="762000"/>
          </a:xfrm>
          <a:prstGeom prst="rightArrow">
            <a:avLst/>
          </a:prstGeom>
          <a:solidFill>
            <a:srgbClr val="FF0000"/>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Tree>
    <p:extLst>
      <p:ext uri="{BB962C8B-B14F-4D97-AF65-F5344CB8AC3E}">
        <p14:creationId xmlns:p14="http://schemas.microsoft.com/office/powerpoint/2010/main" val="4276142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a:t>AGENDA</a:t>
            </a:r>
          </a:p>
        </p:txBody>
      </p:sp>
      <p:sp>
        <p:nvSpPr>
          <p:cNvPr id="5" name="Content Placeholder 4"/>
          <p:cNvSpPr>
            <a:spLocks noGrp="1"/>
          </p:cNvSpPr>
          <p:nvPr>
            <p:ph sz="half" idx="2"/>
          </p:nvPr>
        </p:nvSpPr>
        <p:spPr>
          <a:xfrm>
            <a:off x="2743200" y="1295400"/>
            <a:ext cx="5943600" cy="5145885"/>
          </a:xfrm>
        </p:spPr>
        <p:txBody>
          <a:bodyPr>
            <a:normAutofit/>
          </a:bodyPr>
          <a:lstStyle/>
          <a:p>
            <a:r>
              <a:rPr lang="fr-FR" dirty="0"/>
              <a:t>Introduction to PTC</a:t>
            </a:r>
          </a:p>
          <a:p>
            <a:r>
              <a:rPr lang="fr-FR" dirty="0"/>
              <a:t>Value proposition in IOT </a:t>
            </a:r>
            <a:r>
              <a:rPr lang="fr-FR" dirty="0" err="1"/>
              <a:t>with</a:t>
            </a:r>
            <a:r>
              <a:rPr lang="fr-FR" dirty="0"/>
              <a:t> </a:t>
            </a:r>
            <a:r>
              <a:rPr lang="fr-FR" dirty="0" err="1"/>
              <a:t>ThingWorx</a:t>
            </a:r>
            <a:endParaRPr lang="fr-FR" dirty="0"/>
          </a:p>
          <a:p>
            <a:r>
              <a:rPr lang="fr-FR" dirty="0" err="1"/>
              <a:t>Augmented</a:t>
            </a:r>
            <a:r>
              <a:rPr lang="fr-FR" dirty="0"/>
              <a:t> Reality</a:t>
            </a:r>
          </a:p>
          <a:p>
            <a:r>
              <a:rPr lang="fr-FR" dirty="0"/>
              <a:t>Feedback and Discussion</a:t>
            </a:r>
          </a:p>
          <a:p>
            <a:r>
              <a:rPr lang="fr-FR" dirty="0"/>
              <a:t>Next </a:t>
            </a:r>
            <a:r>
              <a:rPr lang="fr-FR" dirty="0" err="1"/>
              <a:t>Steps</a:t>
            </a:r>
            <a:endParaRPr lang="fr-FR" dirty="0"/>
          </a:p>
          <a:p>
            <a:endParaRPr lang="fr-FR" dirty="0"/>
          </a:p>
          <a:p>
            <a:endParaRPr lang="fr-FR" dirty="0"/>
          </a:p>
          <a:p>
            <a:endParaRPr lang="fr-FR" dirty="0"/>
          </a:p>
        </p:txBody>
      </p:sp>
    </p:spTree>
    <p:extLst>
      <p:ext uri="{BB962C8B-B14F-4D97-AF65-F5344CB8AC3E}">
        <p14:creationId xmlns:p14="http://schemas.microsoft.com/office/powerpoint/2010/main" val="3874268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err="1"/>
              <a:t>Thingworx</a:t>
            </a:r>
            <a:r>
              <a:rPr lang="en-US" sz="2800"/>
              <a:t> Mashup builder</a:t>
            </a:r>
          </a:p>
        </p:txBody>
      </p:sp>
      <p:sp>
        <p:nvSpPr>
          <p:cNvPr id="2" name="Content Placeholder 1"/>
          <p:cNvSpPr>
            <a:spLocks noGrp="1"/>
          </p:cNvSpPr>
          <p:nvPr>
            <p:ph sz="half" idx="4294967295"/>
          </p:nvPr>
        </p:nvSpPr>
        <p:spPr>
          <a:xfrm>
            <a:off x="406940" y="1222375"/>
            <a:ext cx="3498310" cy="4956175"/>
          </a:xfrm>
        </p:spPr>
        <p:txBody>
          <a:bodyPr/>
          <a:lstStyle/>
          <a:p>
            <a:r>
              <a:rPr lang="en-US"/>
              <a:t>Mashups are the fastest way to build IIoT solutions</a:t>
            </a:r>
          </a:p>
          <a:p>
            <a:r>
              <a:rPr lang="en-US"/>
              <a:t>Mashups allow you to see and interact with your Things</a:t>
            </a:r>
          </a:p>
          <a:p>
            <a:r>
              <a:rPr lang="en-US"/>
              <a:t>The Mashup Builder is the WYSIWYG developer tool for creating content</a:t>
            </a:r>
          </a:p>
          <a:p>
            <a:endParaRPr lang="en-US"/>
          </a:p>
        </p:txBody>
      </p:sp>
      <p:grpSp>
        <p:nvGrpSpPr>
          <p:cNvPr id="8" name="Group 7">
            <a:extLst>
              <a:ext uri="{FF2B5EF4-FFF2-40B4-BE49-F238E27FC236}">
                <a16:creationId xmlns:a16="http://schemas.microsoft.com/office/drawing/2014/main" id="{9146D2C5-E02C-48FF-9B53-92416FB04694}"/>
              </a:ext>
            </a:extLst>
          </p:cNvPr>
          <p:cNvGrpSpPr/>
          <p:nvPr/>
        </p:nvGrpSpPr>
        <p:grpSpPr>
          <a:xfrm>
            <a:off x="4932030" y="1222375"/>
            <a:ext cx="7098606" cy="3989269"/>
            <a:chOff x="4743771" y="1292575"/>
            <a:chExt cx="7098606" cy="3989269"/>
          </a:xfrm>
        </p:grpSpPr>
        <p:pic>
          <p:nvPicPr>
            <p:cNvPr id="6" name="Picture 5">
              <a:extLst>
                <a:ext uri="{FF2B5EF4-FFF2-40B4-BE49-F238E27FC236}">
                  <a16:creationId xmlns:a16="http://schemas.microsoft.com/office/drawing/2014/main" id="{0CF9D5BC-F888-491D-8CD8-D9BDCE69589F}"/>
                </a:ext>
              </a:extLst>
            </p:cNvPr>
            <p:cNvPicPr>
              <a:picLocks noChangeAspect="1"/>
            </p:cNvPicPr>
            <p:nvPr/>
          </p:nvPicPr>
          <p:blipFill>
            <a:blip r:embed="rId3"/>
            <a:stretch>
              <a:fillRect/>
            </a:stretch>
          </p:blipFill>
          <p:spPr>
            <a:xfrm>
              <a:off x="4743771" y="1292575"/>
              <a:ext cx="7098606" cy="3989269"/>
            </a:xfrm>
            <a:prstGeom prst="rect">
              <a:avLst/>
            </a:prstGeom>
            <a:ln>
              <a:solidFill>
                <a:schemeClr val="tx1"/>
              </a:solidFill>
            </a:ln>
          </p:spPr>
        </p:pic>
        <p:sp>
          <p:nvSpPr>
            <p:cNvPr id="19" name="Rounded Rectangle 8">
              <a:extLst>
                <a:ext uri="{FF2B5EF4-FFF2-40B4-BE49-F238E27FC236}">
                  <a16:creationId xmlns:a16="http://schemas.microsoft.com/office/drawing/2014/main" id="{83E5DCD7-558B-4636-A5CE-E287D8E5D6C3}"/>
                </a:ext>
              </a:extLst>
            </p:cNvPr>
            <p:cNvSpPr/>
            <p:nvPr/>
          </p:nvSpPr>
          <p:spPr>
            <a:xfrm>
              <a:off x="4776349" y="4077425"/>
              <a:ext cx="1112063" cy="50397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Properties</a:t>
              </a:r>
            </a:p>
          </p:txBody>
        </p:sp>
        <p:sp>
          <p:nvSpPr>
            <p:cNvPr id="20" name="Rounded Rectangle 9">
              <a:extLst>
                <a:ext uri="{FF2B5EF4-FFF2-40B4-BE49-F238E27FC236}">
                  <a16:creationId xmlns:a16="http://schemas.microsoft.com/office/drawing/2014/main" id="{4E5223FE-22B3-4219-9C4C-BBB94600BEA9}"/>
                </a:ext>
              </a:extLst>
            </p:cNvPr>
            <p:cNvSpPr/>
            <p:nvPr/>
          </p:nvSpPr>
          <p:spPr>
            <a:xfrm>
              <a:off x="4776349" y="2630707"/>
              <a:ext cx="1112063" cy="50397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Widgets</a:t>
              </a:r>
            </a:p>
          </p:txBody>
        </p:sp>
        <p:sp>
          <p:nvSpPr>
            <p:cNvPr id="21" name="Rounded Rectangle 10">
              <a:extLst>
                <a:ext uri="{FF2B5EF4-FFF2-40B4-BE49-F238E27FC236}">
                  <a16:creationId xmlns:a16="http://schemas.microsoft.com/office/drawing/2014/main" id="{75E2B146-3A92-4BBE-A56E-C7FBD8CE839B}"/>
                </a:ext>
              </a:extLst>
            </p:cNvPr>
            <p:cNvSpPr/>
            <p:nvPr/>
          </p:nvSpPr>
          <p:spPr>
            <a:xfrm>
              <a:off x="8041121" y="3221841"/>
              <a:ext cx="1112063" cy="50397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Canvas</a:t>
              </a:r>
            </a:p>
          </p:txBody>
        </p:sp>
        <p:sp>
          <p:nvSpPr>
            <p:cNvPr id="22" name="Rounded Rectangle 11">
              <a:extLst>
                <a:ext uri="{FF2B5EF4-FFF2-40B4-BE49-F238E27FC236}">
                  <a16:creationId xmlns:a16="http://schemas.microsoft.com/office/drawing/2014/main" id="{F3C13FD9-CE92-42EE-A16E-655B3FD8FE65}"/>
                </a:ext>
              </a:extLst>
            </p:cNvPr>
            <p:cNvSpPr/>
            <p:nvPr/>
          </p:nvSpPr>
          <p:spPr>
            <a:xfrm>
              <a:off x="8041121" y="4592187"/>
              <a:ext cx="1112063" cy="50397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rPr>
                <a:t>Connections</a:t>
              </a:r>
            </a:p>
          </p:txBody>
        </p:sp>
        <p:sp>
          <p:nvSpPr>
            <p:cNvPr id="23" name="Rounded Rectangle 12">
              <a:extLst>
                <a:ext uri="{FF2B5EF4-FFF2-40B4-BE49-F238E27FC236}">
                  <a16:creationId xmlns:a16="http://schemas.microsoft.com/office/drawing/2014/main" id="{8D3295F5-941B-4DE2-8375-2875C0DEC34B}"/>
                </a:ext>
              </a:extLst>
            </p:cNvPr>
            <p:cNvSpPr/>
            <p:nvPr/>
          </p:nvSpPr>
          <p:spPr>
            <a:xfrm>
              <a:off x="10630828" y="2563066"/>
              <a:ext cx="1112063" cy="50397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Data + Services</a:t>
              </a:r>
            </a:p>
          </p:txBody>
        </p:sp>
        <p:sp>
          <p:nvSpPr>
            <p:cNvPr id="24" name="Rounded Rectangle 13">
              <a:extLst>
                <a:ext uri="{FF2B5EF4-FFF2-40B4-BE49-F238E27FC236}">
                  <a16:creationId xmlns:a16="http://schemas.microsoft.com/office/drawing/2014/main" id="{2FF60028-DC9C-4540-8604-BBF3D0864572}"/>
                </a:ext>
              </a:extLst>
            </p:cNvPr>
            <p:cNvSpPr/>
            <p:nvPr/>
          </p:nvSpPr>
          <p:spPr>
            <a:xfrm>
              <a:off x="10630829" y="4077425"/>
              <a:ext cx="1112063" cy="50397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Functions</a:t>
              </a:r>
            </a:p>
          </p:txBody>
        </p:sp>
      </p:grpSp>
    </p:spTree>
    <p:extLst>
      <p:ext uri="{BB962C8B-B14F-4D97-AF65-F5344CB8AC3E}">
        <p14:creationId xmlns:p14="http://schemas.microsoft.com/office/powerpoint/2010/main" val="1835116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4C1C9-D9EE-450B-A1AF-D0FF6494FFCE}"/>
              </a:ext>
            </a:extLst>
          </p:cNvPr>
          <p:cNvSpPr>
            <a:spLocks noGrp="1"/>
          </p:cNvSpPr>
          <p:nvPr>
            <p:ph type="title"/>
          </p:nvPr>
        </p:nvSpPr>
        <p:spPr/>
        <p:txBody>
          <a:bodyPr>
            <a:normAutofit/>
          </a:bodyPr>
          <a:lstStyle/>
          <a:p>
            <a:r>
              <a:rPr lang="en-US"/>
              <a:t>PTC thingworx for Intelligent Monitoring</a:t>
            </a:r>
            <a:endParaRPr lang="vi-VN"/>
          </a:p>
        </p:txBody>
      </p:sp>
      <p:pic>
        <p:nvPicPr>
          <p:cNvPr id="3" name="Picture 2">
            <a:extLst>
              <a:ext uri="{FF2B5EF4-FFF2-40B4-BE49-F238E27FC236}">
                <a16:creationId xmlns:a16="http://schemas.microsoft.com/office/drawing/2014/main" id="{E3196EDF-7212-4F6A-8901-69D22C23231D}"/>
              </a:ext>
            </a:extLst>
          </p:cNvPr>
          <p:cNvPicPr>
            <a:picLocks noChangeAspect="1"/>
          </p:cNvPicPr>
          <p:nvPr/>
        </p:nvPicPr>
        <p:blipFill>
          <a:blip r:embed="rId2"/>
          <a:stretch>
            <a:fillRect/>
          </a:stretch>
        </p:blipFill>
        <p:spPr>
          <a:xfrm>
            <a:off x="0" y="709699"/>
            <a:ext cx="12192000" cy="5883965"/>
          </a:xfrm>
          <a:prstGeom prst="rect">
            <a:avLst/>
          </a:prstGeom>
        </p:spPr>
      </p:pic>
    </p:spTree>
    <p:extLst>
      <p:ext uri="{BB962C8B-B14F-4D97-AF65-F5344CB8AC3E}">
        <p14:creationId xmlns:p14="http://schemas.microsoft.com/office/powerpoint/2010/main" val="2325551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FC4CD-6727-457D-916E-F8EDD696CF8B}"/>
              </a:ext>
            </a:extLst>
          </p:cNvPr>
          <p:cNvSpPr>
            <a:spLocks noGrp="1"/>
          </p:cNvSpPr>
          <p:nvPr>
            <p:ph type="title"/>
          </p:nvPr>
        </p:nvSpPr>
        <p:spPr/>
        <p:txBody>
          <a:bodyPr/>
          <a:lstStyle/>
          <a:p>
            <a:r>
              <a:rPr lang="en-US" sz="2800"/>
              <a:t>Mashup 2.0 and </a:t>
            </a:r>
            <a:r>
              <a:rPr lang="en-US" sz="2800" err="1"/>
              <a:t>ptc</a:t>
            </a:r>
            <a:r>
              <a:rPr lang="en-US" sz="2800"/>
              <a:t> design system</a:t>
            </a:r>
          </a:p>
        </p:txBody>
      </p:sp>
      <p:pic>
        <p:nvPicPr>
          <p:cNvPr id="5" name="Picture 4">
            <a:extLst>
              <a:ext uri="{FF2B5EF4-FFF2-40B4-BE49-F238E27FC236}">
                <a16:creationId xmlns:a16="http://schemas.microsoft.com/office/drawing/2014/main" id="{FDFA5927-5893-4CAD-BF74-2651C6F2074C}"/>
              </a:ext>
            </a:extLst>
          </p:cNvPr>
          <p:cNvPicPr>
            <a:picLocks noChangeAspect="1"/>
          </p:cNvPicPr>
          <p:nvPr/>
        </p:nvPicPr>
        <p:blipFill>
          <a:blip r:embed="rId2"/>
          <a:stretch>
            <a:fillRect/>
          </a:stretch>
        </p:blipFill>
        <p:spPr>
          <a:xfrm>
            <a:off x="184302" y="826918"/>
            <a:ext cx="6769283" cy="5439505"/>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5A1CC0C7-962D-4D0C-9206-A4D4943BB2D4}"/>
              </a:ext>
            </a:extLst>
          </p:cNvPr>
          <p:cNvPicPr>
            <a:picLocks noChangeAspect="1"/>
          </p:cNvPicPr>
          <p:nvPr/>
        </p:nvPicPr>
        <p:blipFill rotWithShape="1">
          <a:blip r:embed="rId3"/>
          <a:srcRect r="12720"/>
          <a:stretch/>
        </p:blipFill>
        <p:spPr>
          <a:xfrm>
            <a:off x="5086842" y="1272190"/>
            <a:ext cx="6911671" cy="5394881"/>
          </a:xfrm>
          <a:prstGeom prst="rect">
            <a:avLst/>
          </a:prstGeom>
          <a:ln>
            <a:noFill/>
          </a:ln>
          <a:effectLst>
            <a:outerShdw blurRad="292100" dist="139700" dir="2700000" algn="tl" rotWithShape="0">
              <a:srgbClr val="333333">
                <a:alpha val="65000"/>
              </a:srgbClr>
            </a:outerShdw>
          </a:effectLst>
        </p:spPr>
      </p:pic>
      <p:sp>
        <p:nvSpPr>
          <p:cNvPr id="7" name="Rectangle: Rounded Corners 6">
            <a:extLst>
              <a:ext uri="{FF2B5EF4-FFF2-40B4-BE49-F238E27FC236}">
                <a16:creationId xmlns:a16="http://schemas.microsoft.com/office/drawing/2014/main" id="{D0B3B904-7306-4BC8-B3E6-D8818AAEE79D}"/>
              </a:ext>
            </a:extLst>
          </p:cNvPr>
          <p:cNvSpPr/>
          <p:nvPr/>
        </p:nvSpPr>
        <p:spPr>
          <a:xfrm>
            <a:off x="8595360" y="938236"/>
            <a:ext cx="2568272" cy="129996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PTC Design system is encoded within the Mashup Builder</a:t>
            </a:r>
          </a:p>
        </p:txBody>
      </p:sp>
    </p:spTree>
    <p:extLst>
      <p:ext uri="{BB962C8B-B14F-4D97-AF65-F5344CB8AC3E}">
        <p14:creationId xmlns:p14="http://schemas.microsoft.com/office/powerpoint/2010/main" val="1236659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7BED85D-E0E3-4770-88BB-5A3EB0448FA4}"/>
              </a:ext>
            </a:extLst>
          </p:cNvPr>
          <p:cNvSpPr>
            <a:spLocks noGrp="1"/>
          </p:cNvSpPr>
          <p:nvPr>
            <p:ph type="title"/>
          </p:nvPr>
        </p:nvSpPr>
        <p:spPr/>
        <p:txBody>
          <a:bodyPr/>
          <a:lstStyle/>
          <a:p>
            <a:r>
              <a:rPr lang="en-US" sz="2800"/>
              <a:t>widgets</a:t>
            </a:r>
          </a:p>
        </p:txBody>
      </p:sp>
      <p:sp>
        <p:nvSpPr>
          <p:cNvPr id="2" name="Content Placeholder 1">
            <a:extLst>
              <a:ext uri="{FF2B5EF4-FFF2-40B4-BE49-F238E27FC236}">
                <a16:creationId xmlns:a16="http://schemas.microsoft.com/office/drawing/2014/main" id="{AC8CD9F6-CC56-45CF-B456-972CF1624A16}"/>
              </a:ext>
            </a:extLst>
          </p:cNvPr>
          <p:cNvSpPr>
            <a:spLocks noGrp="1"/>
          </p:cNvSpPr>
          <p:nvPr>
            <p:ph sz="half" idx="4294967295"/>
          </p:nvPr>
        </p:nvSpPr>
        <p:spPr>
          <a:xfrm>
            <a:off x="406940" y="1222375"/>
            <a:ext cx="4974685" cy="4956175"/>
          </a:xfrm>
        </p:spPr>
        <p:txBody>
          <a:bodyPr/>
          <a:lstStyle/>
          <a:p>
            <a:r>
              <a:rPr lang="en-US"/>
              <a:t>65+ out-of-the box widgets</a:t>
            </a:r>
          </a:p>
          <a:p>
            <a:pPr lvl="1"/>
            <a:r>
              <a:rPr lang="en-US"/>
              <a:t>Newer widgets based on modern polymer web components</a:t>
            </a:r>
          </a:p>
          <a:p>
            <a:r>
              <a:rPr lang="en-US"/>
              <a:t>Drag and drop on canvas to quickly create powerful IIOT solutions</a:t>
            </a:r>
          </a:p>
          <a:p>
            <a:endParaRPr lang="en-US"/>
          </a:p>
          <a:p>
            <a:endParaRPr lang="en-US"/>
          </a:p>
          <a:p>
            <a:endParaRPr lang="en-US"/>
          </a:p>
        </p:txBody>
      </p:sp>
      <p:pic>
        <p:nvPicPr>
          <p:cNvPr id="12" name="Picture 11">
            <a:extLst>
              <a:ext uri="{FF2B5EF4-FFF2-40B4-BE49-F238E27FC236}">
                <a16:creationId xmlns:a16="http://schemas.microsoft.com/office/drawing/2014/main" id="{EBEB3343-80A3-42D3-AFD7-35AAEEA35E23}"/>
              </a:ext>
            </a:extLst>
          </p:cNvPr>
          <p:cNvPicPr>
            <a:picLocks noChangeAspect="1"/>
          </p:cNvPicPr>
          <p:nvPr/>
        </p:nvPicPr>
        <p:blipFill rotWithShape="1">
          <a:blip r:embed="rId3"/>
          <a:srcRect l="1" t="41145" r="82522" b="52964"/>
          <a:stretch/>
        </p:blipFill>
        <p:spPr>
          <a:xfrm>
            <a:off x="10042111" y="3487714"/>
            <a:ext cx="769782" cy="429577"/>
          </a:xfrm>
          <a:prstGeom prst="rect">
            <a:avLst/>
          </a:prstGeom>
        </p:spPr>
      </p:pic>
      <p:pic>
        <p:nvPicPr>
          <p:cNvPr id="3" name="Picture 4">
            <a:extLst>
              <a:ext uri="{FF2B5EF4-FFF2-40B4-BE49-F238E27FC236}">
                <a16:creationId xmlns:a16="http://schemas.microsoft.com/office/drawing/2014/main" id="{B5970372-99E7-4EAF-B3B1-216BF0C3E55F}"/>
              </a:ext>
            </a:extLst>
          </p:cNvPr>
          <p:cNvPicPr>
            <a:picLocks noChangeAspect="1"/>
          </p:cNvPicPr>
          <p:nvPr/>
        </p:nvPicPr>
        <p:blipFill>
          <a:blip r:embed="rId4"/>
          <a:stretch>
            <a:fillRect/>
          </a:stretch>
        </p:blipFill>
        <p:spPr>
          <a:xfrm>
            <a:off x="6846887" y="2749232"/>
            <a:ext cx="1038225" cy="485775"/>
          </a:xfrm>
          <a:prstGeom prst="rect">
            <a:avLst/>
          </a:prstGeom>
        </p:spPr>
      </p:pic>
      <p:pic>
        <p:nvPicPr>
          <p:cNvPr id="19" name="Picture 20">
            <a:extLst>
              <a:ext uri="{FF2B5EF4-FFF2-40B4-BE49-F238E27FC236}">
                <a16:creationId xmlns:a16="http://schemas.microsoft.com/office/drawing/2014/main" id="{2AE643F2-8EDF-4CE7-8118-750F4F50D612}"/>
              </a:ext>
            </a:extLst>
          </p:cNvPr>
          <p:cNvPicPr>
            <a:picLocks noChangeAspect="1"/>
          </p:cNvPicPr>
          <p:nvPr/>
        </p:nvPicPr>
        <p:blipFill>
          <a:blip r:embed="rId5"/>
          <a:stretch>
            <a:fillRect/>
          </a:stretch>
        </p:blipFill>
        <p:spPr>
          <a:xfrm>
            <a:off x="10005060" y="4077335"/>
            <a:ext cx="1325880" cy="501650"/>
          </a:xfrm>
          <a:prstGeom prst="rect">
            <a:avLst/>
          </a:prstGeom>
        </p:spPr>
      </p:pic>
      <p:pic>
        <p:nvPicPr>
          <p:cNvPr id="28" name="Picture 28" descr="A screenshot of a cell phone&#10;&#10;Description generated with high confidence">
            <a:extLst>
              <a:ext uri="{FF2B5EF4-FFF2-40B4-BE49-F238E27FC236}">
                <a16:creationId xmlns:a16="http://schemas.microsoft.com/office/drawing/2014/main" id="{00AC46A1-707A-45EF-8EAD-F298A8809690}"/>
              </a:ext>
            </a:extLst>
          </p:cNvPr>
          <p:cNvPicPr>
            <a:picLocks noChangeAspect="1"/>
          </p:cNvPicPr>
          <p:nvPr/>
        </p:nvPicPr>
        <p:blipFill>
          <a:blip r:embed="rId6"/>
          <a:stretch>
            <a:fillRect/>
          </a:stretch>
        </p:blipFill>
        <p:spPr>
          <a:xfrm>
            <a:off x="6908800" y="4146550"/>
            <a:ext cx="2743200" cy="373380"/>
          </a:xfrm>
          <a:prstGeom prst="rect">
            <a:avLst/>
          </a:prstGeom>
        </p:spPr>
      </p:pic>
      <p:pic>
        <p:nvPicPr>
          <p:cNvPr id="32" name="Picture 32" descr="A screenshot of a cell phone&#10;&#10;Description generated with very high confidence">
            <a:extLst>
              <a:ext uri="{FF2B5EF4-FFF2-40B4-BE49-F238E27FC236}">
                <a16:creationId xmlns:a16="http://schemas.microsoft.com/office/drawing/2014/main" id="{17C3C66E-12E1-4B02-89A2-7D89E1BE1FFC}"/>
              </a:ext>
            </a:extLst>
          </p:cNvPr>
          <p:cNvPicPr>
            <a:picLocks noChangeAspect="1"/>
          </p:cNvPicPr>
          <p:nvPr/>
        </p:nvPicPr>
        <p:blipFill>
          <a:blip r:embed="rId7"/>
          <a:stretch>
            <a:fillRect/>
          </a:stretch>
        </p:blipFill>
        <p:spPr>
          <a:xfrm>
            <a:off x="5457190" y="354330"/>
            <a:ext cx="1562100" cy="2247900"/>
          </a:xfrm>
          <a:prstGeom prst="rect">
            <a:avLst/>
          </a:prstGeom>
        </p:spPr>
      </p:pic>
      <p:pic>
        <p:nvPicPr>
          <p:cNvPr id="36" name="Picture 36" descr="A screenshot of a cell phone&#10;&#10;Description generated with very high confidence">
            <a:extLst>
              <a:ext uri="{FF2B5EF4-FFF2-40B4-BE49-F238E27FC236}">
                <a16:creationId xmlns:a16="http://schemas.microsoft.com/office/drawing/2014/main" id="{AA19FDA8-82D5-4CD3-A091-084A7C5CAA00}"/>
              </a:ext>
            </a:extLst>
          </p:cNvPr>
          <p:cNvPicPr>
            <a:picLocks noChangeAspect="1"/>
          </p:cNvPicPr>
          <p:nvPr/>
        </p:nvPicPr>
        <p:blipFill>
          <a:blip r:embed="rId8"/>
          <a:stretch>
            <a:fillRect/>
          </a:stretch>
        </p:blipFill>
        <p:spPr>
          <a:xfrm>
            <a:off x="6784975" y="2052637"/>
            <a:ext cx="1162050" cy="619125"/>
          </a:xfrm>
          <a:prstGeom prst="rect">
            <a:avLst/>
          </a:prstGeom>
        </p:spPr>
      </p:pic>
      <p:pic>
        <p:nvPicPr>
          <p:cNvPr id="38" name="Picture 38" descr="A close up of a device&#10;&#10;Description generated with very high confidence">
            <a:extLst>
              <a:ext uri="{FF2B5EF4-FFF2-40B4-BE49-F238E27FC236}">
                <a16:creationId xmlns:a16="http://schemas.microsoft.com/office/drawing/2014/main" id="{09148848-8605-4FDF-9D90-6B90E90499B9}"/>
              </a:ext>
            </a:extLst>
          </p:cNvPr>
          <p:cNvPicPr>
            <a:picLocks noChangeAspect="1"/>
          </p:cNvPicPr>
          <p:nvPr/>
        </p:nvPicPr>
        <p:blipFill>
          <a:blip r:embed="rId9"/>
          <a:stretch>
            <a:fillRect/>
          </a:stretch>
        </p:blipFill>
        <p:spPr>
          <a:xfrm>
            <a:off x="4913760" y="2578735"/>
            <a:ext cx="1751330" cy="1761490"/>
          </a:xfrm>
          <a:prstGeom prst="rect">
            <a:avLst/>
          </a:prstGeom>
        </p:spPr>
      </p:pic>
      <p:pic>
        <p:nvPicPr>
          <p:cNvPr id="44" name="Picture 44" descr="A close up of a logo&#10;&#10;Description generated with very high confidence">
            <a:extLst>
              <a:ext uri="{FF2B5EF4-FFF2-40B4-BE49-F238E27FC236}">
                <a16:creationId xmlns:a16="http://schemas.microsoft.com/office/drawing/2014/main" id="{5358E981-2469-44A4-8394-13B1F6AB01BF}"/>
              </a:ext>
            </a:extLst>
          </p:cNvPr>
          <p:cNvPicPr>
            <a:picLocks noChangeAspect="1"/>
          </p:cNvPicPr>
          <p:nvPr/>
        </p:nvPicPr>
        <p:blipFill>
          <a:blip r:embed="rId10"/>
          <a:stretch>
            <a:fillRect/>
          </a:stretch>
        </p:blipFill>
        <p:spPr>
          <a:xfrm>
            <a:off x="6697345" y="1164908"/>
            <a:ext cx="1581150" cy="809625"/>
          </a:xfrm>
          <a:prstGeom prst="rect">
            <a:avLst/>
          </a:prstGeom>
        </p:spPr>
      </p:pic>
      <p:pic>
        <p:nvPicPr>
          <p:cNvPr id="46" name="Picture 46" descr="A screenshot of a social media post&#10;&#10;Description generated with high confidence">
            <a:extLst>
              <a:ext uri="{FF2B5EF4-FFF2-40B4-BE49-F238E27FC236}">
                <a16:creationId xmlns:a16="http://schemas.microsoft.com/office/drawing/2014/main" id="{43097C5A-10E1-40DE-AD0F-BC133460A46E}"/>
              </a:ext>
            </a:extLst>
          </p:cNvPr>
          <p:cNvPicPr>
            <a:picLocks noChangeAspect="1"/>
          </p:cNvPicPr>
          <p:nvPr/>
        </p:nvPicPr>
        <p:blipFill>
          <a:blip r:embed="rId11"/>
          <a:stretch>
            <a:fillRect/>
          </a:stretch>
        </p:blipFill>
        <p:spPr>
          <a:xfrm>
            <a:off x="6908800" y="3229984"/>
            <a:ext cx="2743200" cy="824753"/>
          </a:xfrm>
          <a:prstGeom prst="rect">
            <a:avLst/>
          </a:prstGeom>
        </p:spPr>
      </p:pic>
      <p:pic>
        <p:nvPicPr>
          <p:cNvPr id="24" name="Picture 25" descr="A close up of a logo&#10;&#10;Description generated with high confidence">
            <a:extLst>
              <a:ext uri="{FF2B5EF4-FFF2-40B4-BE49-F238E27FC236}">
                <a16:creationId xmlns:a16="http://schemas.microsoft.com/office/drawing/2014/main" id="{17F2413F-2C8C-4A12-BAEA-17F33D2A46F6}"/>
              </a:ext>
            </a:extLst>
          </p:cNvPr>
          <p:cNvPicPr>
            <a:picLocks noChangeAspect="1"/>
          </p:cNvPicPr>
          <p:nvPr/>
        </p:nvPicPr>
        <p:blipFill>
          <a:blip r:embed="rId12"/>
          <a:stretch>
            <a:fillRect/>
          </a:stretch>
        </p:blipFill>
        <p:spPr>
          <a:xfrm>
            <a:off x="6641782" y="653415"/>
            <a:ext cx="1895475" cy="552450"/>
          </a:xfrm>
          <a:prstGeom prst="rect">
            <a:avLst/>
          </a:prstGeom>
        </p:spPr>
      </p:pic>
      <p:pic>
        <p:nvPicPr>
          <p:cNvPr id="48" name="Picture 48" descr="A close up of a map&#10;&#10;Description generated with high confidence">
            <a:extLst>
              <a:ext uri="{FF2B5EF4-FFF2-40B4-BE49-F238E27FC236}">
                <a16:creationId xmlns:a16="http://schemas.microsoft.com/office/drawing/2014/main" id="{3820CEF2-59E9-4DB1-AC25-B0B04A2DF931}"/>
              </a:ext>
            </a:extLst>
          </p:cNvPr>
          <p:cNvPicPr>
            <a:picLocks noChangeAspect="1"/>
          </p:cNvPicPr>
          <p:nvPr/>
        </p:nvPicPr>
        <p:blipFill>
          <a:blip r:embed="rId13"/>
          <a:stretch>
            <a:fillRect/>
          </a:stretch>
        </p:blipFill>
        <p:spPr>
          <a:xfrm>
            <a:off x="447040" y="3929126"/>
            <a:ext cx="4246880" cy="2758949"/>
          </a:xfrm>
          <a:prstGeom prst="rect">
            <a:avLst/>
          </a:prstGeom>
        </p:spPr>
      </p:pic>
      <p:pic>
        <p:nvPicPr>
          <p:cNvPr id="50" name="Picture 50" descr="A screenshot of a cell phone&#10;&#10;Description generated with high confidence">
            <a:extLst>
              <a:ext uri="{FF2B5EF4-FFF2-40B4-BE49-F238E27FC236}">
                <a16:creationId xmlns:a16="http://schemas.microsoft.com/office/drawing/2014/main" id="{4EFC3F6C-AE3D-4A3E-893A-25ACE4DF752E}"/>
              </a:ext>
            </a:extLst>
          </p:cNvPr>
          <p:cNvPicPr>
            <a:picLocks noChangeAspect="1"/>
          </p:cNvPicPr>
          <p:nvPr/>
        </p:nvPicPr>
        <p:blipFill>
          <a:blip r:embed="rId14"/>
          <a:stretch>
            <a:fillRect/>
          </a:stretch>
        </p:blipFill>
        <p:spPr>
          <a:xfrm>
            <a:off x="8615997" y="350203"/>
            <a:ext cx="2193925" cy="3038475"/>
          </a:xfrm>
          <a:prstGeom prst="rect">
            <a:avLst/>
          </a:prstGeom>
        </p:spPr>
      </p:pic>
      <p:pic>
        <p:nvPicPr>
          <p:cNvPr id="54" name="Picture 54" descr="A close up of a map&#10;&#10;Description generated with high confidence">
            <a:extLst>
              <a:ext uri="{FF2B5EF4-FFF2-40B4-BE49-F238E27FC236}">
                <a16:creationId xmlns:a16="http://schemas.microsoft.com/office/drawing/2014/main" id="{007A3527-0C00-4FDF-B3C5-B44A1863C1F6}"/>
              </a:ext>
            </a:extLst>
          </p:cNvPr>
          <p:cNvPicPr>
            <a:picLocks noChangeAspect="1"/>
          </p:cNvPicPr>
          <p:nvPr/>
        </p:nvPicPr>
        <p:blipFill>
          <a:blip r:embed="rId15"/>
          <a:stretch>
            <a:fillRect/>
          </a:stretch>
        </p:blipFill>
        <p:spPr>
          <a:xfrm>
            <a:off x="5506720" y="4599217"/>
            <a:ext cx="6085840" cy="2058846"/>
          </a:xfrm>
          <a:prstGeom prst="rect">
            <a:avLst/>
          </a:prstGeom>
        </p:spPr>
      </p:pic>
      <p:pic>
        <p:nvPicPr>
          <p:cNvPr id="56" name="Picture 56" descr="A close up of a logo&#10;&#10;Description generated with very high confidence">
            <a:extLst>
              <a:ext uri="{FF2B5EF4-FFF2-40B4-BE49-F238E27FC236}">
                <a16:creationId xmlns:a16="http://schemas.microsoft.com/office/drawing/2014/main" id="{3FE8C2AE-CFB6-4DCC-B5B9-FAB3F243DDDB}"/>
              </a:ext>
            </a:extLst>
          </p:cNvPr>
          <p:cNvPicPr>
            <a:picLocks noChangeAspect="1"/>
          </p:cNvPicPr>
          <p:nvPr/>
        </p:nvPicPr>
        <p:blipFill>
          <a:blip r:embed="rId16"/>
          <a:stretch>
            <a:fillRect/>
          </a:stretch>
        </p:blipFill>
        <p:spPr>
          <a:xfrm>
            <a:off x="2909253" y="3242310"/>
            <a:ext cx="1781175" cy="495300"/>
          </a:xfrm>
          <a:prstGeom prst="rect">
            <a:avLst/>
          </a:prstGeom>
        </p:spPr>
      </p:pic>
    </p:spTree>
    <p:extLst>
      <p:ext uri="{BB962C8B-B14F-4D97-AF65-F5344CB8AC3E}">
        <p14:creationId xmlns:p14="http://schemas.microsoft.com/office/powerpoint/2010/main" val="53420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0D0DE-C361-4DD4-8331-7B8C6FBFE681}"/>
              </a:ext>
            </a:extLst>
          </p:cNvPr>
          <p:cNvSpPr>
            <a:spLocks noGrp="1"/>
          </p:cNvSpPr>
          <p:nvPr>
            <p:ph type="title"/>
          </p:nvPr>
        </p:nvSpPr>
        <p:spPr/>
        <p:txBody>
          <a:bodyPr/>
          <a:lstStyle/>
          <a:p>
            <a:r>
              <a:rPr lang="en-US" sz="2800"/>
              <a:t>Responsive layout advanced</a:t>
            </a:r>
          </a:p>
        </p:txBody>
      </p:sp>
      <p:sp>
        <p:nvSpPr>
          <p:cNvPr id="5" name="Content Placeholder 4">
            <a:extLst>
              <a:ext uri="{FF2B5EF4-FFF2-40B4-BE49-F238E27FC236}">
                <a16:creationId xmlns:a16="http://schemas.microsoft.com/office/drawing/2014/main" id="{41901FE1-CF12-4E2D-AB92-1DF9CD2B18CC}"/>
              </a:ext>
            </a:extLst>
          </p:cNvPr>
          <p:cNvSpPr>
            <a:spLocks noGrp="1"/>
          </p:cNvSpPr>
          <p:nvPr>
            <p:ph sz="half" idx="4294967295"/>
          </p:nvPr>
        </p:nvSpPr>
        <p:spPr>
          <a:xfrm>
            <a:off x="406940" y="1222375"/>
            <a:ext cx="3109373" cy="4956175"/>
          </a:xfrm>
        </p:spPr>
        <p:txBody>
          <a:bodyPr/>
          <a:lstStyle/>
          <a:p>
            <a:r>
              <a:rPr lang="en-US" sz="2000"/>
              <a:t>Responsive layout editor, based on Flex</a:t>
            </a:r>
          </a:p>
          <a:p>
            <a:r>
              <a:rPr lang="en-US" sz="2000"/>
              <a:t>Ability to set orientation, justification, distribution, alignment, stretching, wrapping, growing and shrinking rules</a:t>
            </a:r>
          </a:p>
          <a:p>
            <a:r>
              <a:rPr lang="en-US" sz="2000"/>
              <a:t>Content lays out according to rules, adapts to the screen size and settings</a:t>
            </a:r>
          </a:p>
          <a:p>
            <a:endParaRPr lang="en-US" sz="2000"/>
          </a:p>
        </p:txBody>
      </p:sp>
      <p:pic>
        <p:nvPicPr>
          <p:cNvPr id="4" name="Picture 3">
            <a:extLst>
              <a:ext uri="{FF2B5EF4-FFF2-40B4-BE49-F238E27FC236}">
                <a16:creationId xmlns:a16="http://schemas.microsoft.com/office/drawing/2014/main" id="{8CCBCB9E-7B30-47BE-85C5-49FA6CFDAC82}"/>
              </a:ext>
            </a:extLst>
          </p:cNvPr>
          <p:cNvPicPr>
            <a:picLocks noChangeAspect="1"/>
          </p:cNvPicPr>
          <p:nvPr/>
        </p:nvPicPr>
        <p:blipFill rotWithShape="1">
          <a:blip r:embed="rId2"/>
          <a:srcRect r="6280"/>
          <a:stretch/>
        </p:blipFill>
        <p:spPr>
          <a:xfrm>
            <a:off x="4056931" y="1413293"/>
            <a:ext cx="7957269" cy="4271140"/>
          </a:xfrm>
          <a:prstGeom prst="rect">
            <a:avLst/>
          </a:prstGeom>
          <a:ln>
            <a:solidFill>
              <a:schemeClr val="tx1"/>
            </a:solidFill>
          </a:ln>
        </p:spPr>
      </p:pic>
    </p:spTree>
    <p:extLst>
      <p:ext uri="{BB962C8B-B14F-4D97-AF65-F5344CB8AC3E}">
        <p14:creationId xmlns:p14="http://schemas.microsoft.com/office/powerpoint/2010/main" val="2376623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260C9-B693-467A-AC7C-3280FA47BC94}"/>
              </a:ext>
            </a:extLst>
          </p:cNvPr>
          <p:cNvSpPr>
            <a:spLocks noGrp="1"/>
          </p:cNvSpPr>
          <p:nvPr>
            <p:ph type="title"/>
          </p:nvPr>
        </p:nvSpPr>
        <p:spPr/>
        <p:txBody>
          <a:bodyPr/>
          <a:lstStyle/>
          <a:p>
            <a:r>
              <a:rPr lang="en-US"/>
              <a:t>ThingWorx Analytics for Predictive Maintenance</a:t>
            </a:r>
            <a:endParaRPr lang="vi-VN"/>
          </a:p>
        </p:txBody>
      </p:sp>
      <p:pic>
        <p:nvPicPr>
          <p:cNvPr id="3" name="Picture 2">
            <a:extLst>
              <a:ext uri="{FF2B5EF4-FFF2-40B4-BE49-F238E27FC236}">
                <a16:creationId xmlns:a16="http://schemas.microsoft.com/office/drawing/2014/main" id="{E0689FF1-503A-43A8-B2D6-EBFF302DB52B}"/>
              </a:ext>
            </a:extLst>
          </p:cNvPr>
          <p:cNvPicPr>
            <a:picLocks noChangeAspect="1"/>
          </p:cNvPicPr>
          <p:nvPr/>
        </p:nvPicPr>
        <p:blipFill>
          <a:blip r:embed="rId2"/>
          <a:stretch>
            <a:fillRect/>
          </a:stretch>
        </p:blipFill>
        <p:spPr>
          <a:xfrm>
            <a:off x="29592" y="838200"/>
            <a:ext cx="12192000" cy="6179147"/>
          </a:xfrm>
          <a:prstGeom prst="rect">
            <a:avLst/>
          </a:prstGeom>
        </p:spPr>
      </p:pic>
    </p:spTree>
    <p:extLst>
      <p:ext uri="{BB962C8B-B14F-4D97-AF65-F5344CB8AC3E}">
        <p14:creationId xmlns:p14="http://schemas.microsoft.com/office/powerpoint/2010/main" val="235274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A2553-3586-4E2A-BECC-5A2834146F34}"/>
              </a:ext>
            </a:extLst>
          </p:cNvPr>
          <p:cNvSpPr>
            <a:spLocks noGrp="1"/>
          </p:cNvSpPr>
          <p:nvPr>
            <p:ph type="title"/>
          </p:nvPr>
        </p:nvSpPr>
        <p:spPr/>
        <p:txBody>
          <a:bodyPr/>
          <a:lstStyle/>
          <a:p>
            <a:r>
              <a:rPr lang="en-US"/>
              <a:t>ThingWorx applications</a:t>
            </a:r>
            <a:endParaRPr lang="vi-VN"/>
          </a:p>
        </p:txBody>
      </p:sp>
      <p:pic>
        <p:nvPicPr>
          <p:cNvPr id="61442" name="Picture 3" descr="image003">
            <a:extLst>
              <a:ext uri="{FF2B5EF4-FFF2-40B4-BE49-F238E27FC236}">
                <a16:creationId xmlns:a16="http://schemas.microsoft.com/office/drawing/2014/main" id="{9C2A84D9-519D-4EB7-9C0D-0B8AF40BF4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5645" y="936848"/>
            <a:ext cx="10259568" cy="557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623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1663716" y="6424327"/>
            <a:ext cx="452084" cy="4336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p:cNvSpPr>
            <a:spLocks noGrp="1"/>
          </p:cNvSpPr>
          <p:nvPr>
            <p:ph type="title"/>
          </p:nvPr>
        </p:nvSpPr>
        <p:spPr>
          <a:xfrm>
            <a:off x="194264" y="202527"/>
            <a:ext cx="10259568" cy="344710"/>
          </a:xfrm>
        </p:spPr>
        <p:txBody>
          <a:bodyPr>
            <a:normAutofit/>
          </a:bodyPr>
          <a:lstStyle/>
          <a:p>
            <a:r>
              <a:rPr lang="en-US" dirty="0">
                <a:solidFill>
                  <a:srgbClr val="6CC04A"/>
                </a:solidFill>
              </a:rPr>
              <a:t>Complete </a:t>
            </a:r>
            <a:r>
              <a:rPr lang="en-US" dirty="0" err="1">
                <a:solidFill>
                  <a:srgbClr val="6CC04A"/>
                </a:solidFill>
              </a:rPr>
              <a:t>iot</a:t>
            </a:r>
            <a:r>
              <a:rPr lang="en-US" dirty="0">
                <a:solidFill>
                  <a:srgbClr val="6CC04A"/>
                </a:solidFill>
              </a:rPr>
              <a:t> platform capabilities</a:t>
            </a:r>
          </a:p>
        </p:txBody>
      </p:sp>
      <p:sp>
        <p:nvSpPr>
          <p:cNvPr id="9" name="AutoShape 2" descr="Image result for synchronize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p:cNvPicPr>
            <a:picLocks noChangeAspect="1"/>
          </p:cNvPicPr>
          <p:nvPr/>
        </p:nvPicPr>
        <p:blipFill rotWithShape="1">
          <a:blip r:embed="rId3"/>
          <a:srcRect r="1080"/>
          <a:stretch/>
        </p:blipFill>
        <p:spPr>
          <a:xfrm>
            <a:off x="470439" y="1143000"/>
            <a:ext cx="11101897" cy="5213843"/>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67505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C7B2E2-1B29-4025-99A9-A4E5B796CC29}"/>
              </a:ext>
            </a:extLst>
          </p:cNvPr>
          <p:cNvSpPr>
            <a:spLocks noGrp="1"/>
          </p:cNvSpPr>
          <p:nvPr>
            <p:ph type="title"/>
          </p:nvPr>
        </p:nvSpPr>
        <p:spPr/>
        <p:txBody>
          <a:bodyPr/>
          <a:lstStyle/>
          <a:p>
            <a:r>
              <a:rPr lang="vi-VN"/>
              <a:t>Example Plant Performance Metrics</a:t>
            </a:r>
          </a:p>
        </p:txBody>
      </p:sp>
      <p:pic>
        <p:nvPicPr>
          <p:cNvPr id="3" name="Picture 2">
            <a:extLst>
              <a:ext uri="{FF2B5EF4-FFF2-40B4-BE49-F238E27FC236}">
                <a16:creationId xmlns:a16="http://schemas.microsoft.com/office/drawing/2014/main" id="{35730FFB-A51E-495A-889A-E59AEF25D742}"/>
              </a:ext>
            </a:extLst>
          </p:cNvPr>
          <p:cNvPicPr>
            <a:picLocks noChangeAspect="1"/>
          </p:cNvPicPr>
          <p:nvPr/>
        </p:nvPicPr>
        <p:blipFill>
          <a:blip r:embed="rId2"/>
          <a:stretch>
            <a:fillRect/>
          </a:stretch>
        </p:blipFill>
        <p:spPr>
          <a:xfrm>
            <a:off x="190500" y="845444"/>
            <a:ext cx="11811000" cy="5668281"/>
          </a:xfrm>
          <a:prstGeom prst="rect">
            <a:avLst/>
          </a:prstGeom>
        </p:spPr>
      </p:pic>
    </p:spTree>
    <p:extLst>
      <p:ext uri="{BB962C8B-B14F-4D97-AF65-F5344CB8AC3E}">
        <p14:creationId xmlns:p14="http://schemas.microsoft.com/office/powerpoint/2010/main" val="1237332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4235BEE-0BAD-4F02-BDA3-6ABDBCEF83B0}"/>
              </a:ext>
            </a:extLst>
          </p:cNvPr>
          <p:cNvSpPr>
            <a:spLocks noGrp="1"/>
          </p:cNvSpPr>
          <p:nvPr>
            <p:ph type="title"/>
          </p:nvPr>
        </p:nvSpPr>
        <p:spPr/>
        <p:txBody>
          <a:bodyPr>
            <a:normAutofit/>
          </a:bodyPr>
          <a:lstStyle/>
          <a:p>
            <a:r>
              <a:rPr lang="en-US" dirty="0"/>
              <a:t>ThingWorx Platform</a:t>
            </a:r>
            <a:endParaRPr lang="en-US" sz="2800" dirty="0"/>
          </a:p>
        </p:txBody>
      </p:sp>
      <p:sp>
        <p:nvSpPr>
          <p:cNvPr id="23" name="Rounded Rectangle 49">
            <a:extLst>
              <a:ext uri="{FF2B5EF4-FFF2-40B4-BE49-F238E27FC236}">
                <a16:creationId xmlns:a16="http://schemas.microsoft.com/office/drawing/2014/main" id="{4A4B35A3-3D0D-4147-B35D-F6DDA2076C54}"/>
              </a:ext>
            </a:extLst>
          </p:cNvPr>
          <p:cNvSpPr/>
          <p:nvPr/>
        </p:nvSpPr>
        <p:spPr>
          <a:xfrm>
            <a:off x="288709" y="890476"/>
            <a:ext cx="8829451" cy="1412458"/>
          </a:xfrm>
          <a:prstGeom prst="round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09D139"/>
                </a:solidFill>
              </a:rPr>
              <a:t>ThingWorx</a:t>
            </a:r>
            <a:r>
              <a:rPr lang="en-US" b="1" dirty="0">
                <a:solidFill>
                  <a:schemeClr val="bg1"/>
                </a:solidFill>
              </a:rPr>
              <a:t> Foundation</a:t>
            </a:r>
          </a:p>
        </p:txBody>
      </p:sp>
      <p:sp>
        <p:nvSpPr>
          <p:cNvPr id="24" name="Rounded Rectangle 115">
            <a:extLst>
              <a:ext uri="{FF2B5EF4-FFF2-40B4-BE49-F238E27FC236}">
                <a16:creationId xmlns:a16="http://schemas.microsoft.com/office/drawing/2014/main" id="{DEA5ECF9-3F26-4241-A7B9-1BB9615B6AA8}"/>
              </a:ext>
            </a:extLst>
          </p:cNvPr>
          <p:cNvSpPr/>
          <p:nvPr/>
        </p:nvSpPr>
        <p:spPr>
          <a:xfrm>
            <a:off x="406940" y="1465848"/>
            <a:ext cx="8407700" cy="652834"/>
          </a:xfrm>
          <a:prstGeom prst="roundRect">
            <a:avLst/>
          </a:prstGeom>
          <a:solidFill>
            <a:schemeClr val="bg1">
              <a:lumMod val="6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Enablement Services</a:t>
            </a:r>
          </a:p>
        </p:txBody>
      </p:sp>
      <p:sp>
        <p:nvSpPr>
          <p:cNvPr id="26" name="Rounded Rectangle 116">
            <a:extLst>
              <a:ext uri="{FF2B5EF4-FFF2-40B4-BE49-F238E27FC236}">
                <a16:creationId xmlns:a16="http://schemas.microsoft.com/office/drawing/2014/main" id="{69A77927-23AB-4E07-A797-9F7A1E0BDC6E}"/>
              </a:ext>
            </a:extLst>
          </p:cNvPr>
          <p:cNvSpPr/>
          <p:nvPr/>
        </p:nvSpPr>
        <p:spPr>
          <a:xfrm>
            <a:off x="2910213" y="1659796"/>
            <a:ext cx="1751663" cy="322947"/>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Composer</a:t>
            </a:r>
          </a:p>
        </p:txBody>
      </p:sp>
      <p:sp>
        <p:nvSpPr>
          <p:cNvPr id="29" name="Rounded Rectangle 117">
            <a:extLst>
              <a:ext uri="{FF2B5EF4-FFF2-40B4-BE49-F238E27FC236}">
                <a16:creationId xmlns:a16="http://schemas.microsoft.com/office/drawing/2014/main" id="{5456F665-2CC9-4B6F-8F7D-3832A8C6AD37}"/>
              </a:ext>
            </a:extLst>
          </p:cNvPr>
          <p:cNvSpPr/>
          <p:nvPr/>
        </p:nvSpPr>
        <p:spPr>
          <a:xfrm>
            <a:off x="4815289" y="1656523"/>
            <a:ext cx="1755648" cy="32294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Mashup Builder</a:t>
            </a:r>
          </a:p>
        </p:txBody>
      </p:sp>
      <p:sp>
        <p:nvSpPr>
          <p:cNvPr id="30" name="Rounded Rectangle 118">
            <a:extLst>
              <a:ext uri="{FF2B5EF4-FFF2-40B4-BE49-F238E27FC236}">
                <a16:creationId xmlns:a16="http://schemas.microsoft.com/office/drawing/2014/main" id="{4104AC6C-D57A-4EAD-A146-90BA320E7CB1}"/>
              </a:ext>
            </a:extLst>
          </p:cNvPr>
          <p:cNvSpPr/>
          <p:nvPr/>
        </p:nvSpPr>
        <p:spPr>
          <a:xfrm>
            <a:off x="6744372" y="1659796"/>
            <a:ext cx="1755648" cy="322947"/>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REST API</a:t>
            </a:r>
          </a:p>
        </p:txBody>
      </p:sp>
      <p:pic>
        <p:nvPicPr>
          <p:cNvPr id="31" name="Picture 30" descr="http://www.thingworx.com/wp-content/themes/twxc/images/mashups.png">
            <a:extLst>
              <a:ext uri="{FF2B5EF4-FFF2-40B4-BE49-F238E27FC236}">
                <a16:creationId xmlns:a16="http://schemas.microsoft.com/office/drawing/2014/main" id="{D04F2757-8DB5-44BC-BAF2-F52E4DC33EE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637427" y="3032613"/>
            <a:ext cx="3194993" cy="2227692"/>
          </a:xfrm>
          <a:prstGeom prst="rect">
            <a:avLst/>
          </a:prstGeom>
          <a:noFill/>
          <a:ln>
            <a:noFill/>
          </a:ln>
        </p:spPr>
      </p:pic>
      <p:pic>
        <p:nvPicPr>
          <p:cNvPr id="32" name="Picture 31">
            <a:extLst>
              <a:ext uri="{FF2B5EF4-FFF2-40B4-BE49-F238E27FC236}">
                <a16:creationId xmlns:a16="http://schemas.microsoft.com/office/drawing/2014/main" id="{1D115513-2A73-49E7-943F-EF58DF2F1754}"/>
              </a:ext>
            </a:extLst>
          </p:cNvPr>
          <p:cNvPicPr>
            <a:picLocks noChangeAspect="1"/>
          </p:cNvPicPr>
          <p:nvPr/>
        </p:nvPicPr>
        <p:blipFill>
          <a:blip r:embed="rId4"/>
          <a:stretch>
            <a:fillRect/>
          </a:stretch>
        </p:blipFill>
        <p:spPr>
          <a:xfrm>
            <a:off x="883514" y="3188287"/>
            <a:ext cx="6573730" cy="3463013"/>
          </a:xfrm>
          <a:prstGeom prst="rect">
            <a:avLst/>
          </a:prstGeom>
        </p:spPr>
      </p:pic>
      <p:sp>
        <p:nvSpPr>
          <p:cNvPr id="33" name="Arrow: Right 32">
            <a:extLst>
              <a:ext uri="{FF2B5EF4-FFF2-40B4-BE49-F238E27FC236}">
                <a16:creationId xmlns:a16="http://schemas.microsoft.com/office/drawing/2014/main" id="{FF3685A0-B961-4EE9-9366-4E5DE8E3BE1F}"/>
              </a:ext>
            </a:extLst>
          </p:cNvPr>
          <p:cNvSpPr/>
          <p:nvPr/>
        </p:nvSpPr>
        <p:spPr>
          <a:xfrm>
            <a:off x="7622196" y="4138961"/>
            <a:ext cx="768042" cy="75376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4" name="TextBox 33">
            <a:extLst>
              <a:ext uri="{FF2B5EF4-FFF2-40B4-BE49-F238E27FC236}">
                <a16:creationId xmlns:a16="http://schemas.microsoft.com/office/drawing/2014/main" id="{CE0594EA-BE29-49E0-9ACE-A9F4E143140A}"/>
              </a:ext>
            </a:extLst>
          </p:cNvPr>
          <p:cNvSpPr txBox="1"/>
          <p:nvPr/>
        </p:nvSpPr>
        <p:spPr>
          <a:xfrm>
            <a:off x="8720506" y="5497541"/>
            <a:ext cx="3028834" cy="984885"/>
          </a:xfrm>
          <a:prstGeom prst="rect">
            <a:avLst/>
          </a:prstGeom>
          <a:noFill/>
        </p:spPr>
        <p:txBody>
          <a:bodyPr wrap="square" lIns="0" tIns="0" rIns="0" bIns="0" rtlCol="0">
            <a:spAutoFit/>
          </a:bodyPr>
          <a:lstStyle/>
          <a:p>
            <a:r>
              <a:rPr lang="en-US" sz="1600" b="1" dirty="0"/>
              <a:t>User can access to the developed </a:t>
            </a:r>
            <a:r>
              <a:rPr lang="en-US" sz="1600" b="1" dirty="0" err="1"/>
              <a:t>ThingWorx</a:t>
            </a:r>
            <a:r>
              <a:rPr lang="en-US" sz="1600" b="1" dirty="0"/>
              <a:t> application through Computer or Mobile Devices  </a:t>
            </a:r>
          </a:p>
        </p:txBody>
      </p:sp>
      <p:sp>
        <p:nvSpPr>
          <p:cNvPr id="35" name="Rectangle 34">
            <a:extLst>
              <a:ext uri="{FF2B5EF4-FFF2-40B4-BE49-F238E27FC236}">
                <a16:creationId xmlns:a16="http://schemas.microsoft.com/office/drawing/2014/main" id="{04D1701A-5094-47CE-BB39-E1FC17DC9FA2}"/>
              </a:ext>
            </a:extLst>
          </p:cNvPr>
          <p:cNvSpPr/>
          <p:nvPr/>
        </p:nvSpPr>
        <p:spPr>
          <a:xfrm>
            <a:off x="242260" y="2375357"/>
            <a:ext cx="8737060" cy="646331"/>
          </a:xfrm>
          <a:prstGeom prst="rect">
            <a:avLst/>
          </a:prstGeom>
          <a:solidFill>
            <a:schemeClr val="accent5"/>
          </a:solidFill>
        </p:spPr>
        <p:txBody>
          <a:bodyPr wrap="square">
            <a:spAutoFit/>
          </a:bodyPr>
          <a:lstStyle/>
          <a:p>
            <a:r>
              <a:rPr lang="en-US" sz="1800" b="1" dirty="0">
                <a:solidFill>
                  <a:srgbClr val="3D4647"/>
                </a:solidFill>
                <a:latin typeface="Century Gothic" panose="020B0502020202020204" pitchFamily="34" charset="0"/>
                <a:ea typeface="Calibri" panose="020F0502020204030204" pitchFamily="34" charset="0"/>
                <a:cs typeface="Times New Roman" panose="02020603050405020304" pitchFamily="18" charset="0"/>
              </a:rPr>
              <a:t>Drag and Drop</a:t>
            </a:r>
            <a:r>
              <a:rPr lang="en-US" sz="1800" dirty="0">
                <a:solidFill>
                  <a:srgbClr val="3D4647"/>
                </a:solidFill>
                <a:latin typeface="Century Gothic" panose="020B0502020202020204" pitchFamily="34" charset="0"/>
                <a:ea typeface="Calibri" panose="020F0502020204030204" pitchFamily="34" charset="0"/>
                <a:cs typeface="Times New Roman" panose="02020603050405020304" pitchFamily="18" charset="0"/>
              </a:rPr>
              <a:t>” Mashup Builder empowers developers and business users to rapidly create rich, interactive applications.</a:t>
            </a:r>
            <a:endParaRPr lang="en-US" sz="1800" dirty="0"/>
          </a:p>
        </p:txBody>
      </p:sp>
    </p:spTree>
    <p:extLst>
      <p:ext uri="{BB962C8B-B14F-4D97-AF65-F5344CB8AC3E}">
        <p14:creationId xmlns:p14="http://schemas.microsoft.com/office/powerpoint/2010/main" val="1415445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623096" y="1882444"/>
            <a:ext cx="2913454" cy="3354673"/>
            <a:chOff x="4619443" y="1878607"/>
            <a:chExt cx="2920680" cy="3362993"/>
          </a:xfrm>
        </p:grpSpPr>
        <p:sp>
          <p:nvSpPr>
            <p:cNvPr id="3" name="Freeform 2"/>
            <p:cNvSpPr/>
            <p:nvPr/>
          </p:nvSpPr>
          <p:spPr>
            <a:xfrm>
              <a:off x="4619443" y="1878607"/>
              <a:ext cx="2920678" cy="2010137"/>
            </a:xfrm>
            <a:custGeom>
              <a:avLst/>
              <a:gdLst>
                <a:gd name="connsiteX0" fmla="*/ 0 w 2920678"/>
                <a:gd name="connsiteY0" fmla="*/ 833377 h 2010137"/>
                <a:gd name="connsiteX1" fmla="*/ 0 w 2920678"/>
                <a:gd name="connsiteY1" fmla="*/ 1581874 h 2010137"/>
                <a:gd name="connsiteX2" fmla="*/ 1446835 w 2920678"/>
                <a:gd name="connsiteY2" fmla="*/ 736922 h 2010137"/>
                <a:gd name="connsiteX3" fmla="*/ 2280213 w 2920678"/>
                <a:gd name="connsiteY3" fmla="*/ 1207626 h 2010137"/>
                <a:gd name="connsiteX4" fmla="*/ 2118167 w 2920678"/>
                <a:gd name="connsiteY4" fmla="*/ 1292507 h 2010137"/>
                <a:gd name="connsiteX5" fmla="*/ 1454552 w 2920678"/>
                <a:gd name="connsiteY5" fmla="*/ 922117 h 2010137"/>
                <a:gd name="connsiteX6" fmla="*/ 883534 w 2920678"/>
                <a:gd name="connsiteY6" fmla="*/ 1250066 h 2010137"/>
                <a:gd name="connsiteX7" fmla="*/ 2183757 w 2920678"/>
                <a:gd name="connsiteY7" fmla="*/ 2010137 h 2010137"/>
                <a:gd name="connsiteX8" fmla="*/ 2920678 w 2920678"/>
                <a:gd name="connsiteY8" fmla="*/ 1581874 h 2010137"/>
                <a:gd name="connsiteX9" fmla="*/ 2916820 w 2920678"/>
                <a:gd name="connsiteY9" fmla="*/ 833377 h 2010137"/>
                <a:gd name="connsiteX10" fmla="*/ 1462268 w 2920678"/>
                <a:gd name="connsiteY10" fmla="*/ 0 h 2010137"/>
                <a:gd name="connsiteX11" fmla="*/ 0 w 2920678"/>
                <a:gd name="connsiteY11" fmla="*/ 833377 h 201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20678" h="2010137">
                  <a:moveTo>
                    <a:pt x="0" y="833377"/>
                  </a:moveTo>
                  <a:lnTo>
                    <a:pt x="0" y="1581874"/>
                  </a:lnTo>
                  <a:lnTo>
                    <a:pt x="1446835" y="736922"/>
                  </a:lnTo>
                  <a:lnTo>
                    <a:pt x="2280213" y="1207626"/>
                  </a:lnTo>
                  <a:lnTo>
                    <a:pt x="2118167" y="1292507"/>
                  </a:lnTo>
                  <a:lnTo>
                    <a:pt x="1454552" y="922117"/>
                  </a:lnTo>
                  <a:lnTo>
                    <a:pt x="883534" y="1250066"/>
                  </a:lnTo>
                  <a:lnTo>
                    <a:pt x="2183757" y="2010137"/>
                  </a:lnTo>
                  <a:lnTo>
                    <a:pt x="2920678" y="1581874"/>
                  </a:lnTo>
                  <a:lnTo>
                    <a:pt x="2916820" y="833377"/>
                  </a:lnTo>
                  <a:lnTo>
                    <a:pt x="1462268" y="0"/>
                  </a:lnTo>
                  <a:lnTo>
                    <a:pt x="0" y="833377"/>
                  </a:lnTo>
                  <a:close/>
                </a:path>
              </a:pathLst>
            </a:custGeom>
            <a:solidFill>
              <a:srgbClr val="4E5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sp>
          <p:nvSpPr>
            <p:cNvPr id="9" name="Freeform 8"/>
            <p:cNvSpPr/>
            <p:nvPr/>
          </p:nvSpPr>
          <p:spPr>
            <a:xfrm rot="10800000">
              <a:off x="4619445" y="3231463"/>
              <a:ext cx="2920678" cy="2010137"/>
            </a:xfrm>
            <a:custGeom>
              <a:avLst/>
              <a:gdLst>
                <a:gd name="connsiteX0" fmla="*/ 0 w 2920678"/>
                <a:gd name="connsiteY0" fmla="*/ 833377 h 2010137"/>
                <a:gd name="connsiteX1" fmla="*/ 0 w 2920678"/>
                <a:gd name="connsiteY1" fmla="*/ 1581874 h 2010137"/>
                <a:gd name="connsiteX2" fmla="*/ 1446835 w 2920678"/>
                <a:gd name="connsiteY2" fmla="*/ 736922 h 2010137"/>
                <a:gd name="connsiteX3" fmla="*/ 2280213 w 2920678"/>
                <a:gd name="connsiteY3" fmla="*/ 1207626 h 2010137"/>
                <a:gd name="connsiteX4" fmla="*/ 2118167 w 2920678"/>
                <a:gd name="connsiteY4" fmla="*/ 1292507 h 2010137"/>
                <a:gd name="connsiteX5" fmla="*/ 1454552 w 2920678"/>
                <a:gd name="connsiteY5" fmla="*/ 922117 h 2010137"/>
                <a:gd name="connsiteX6" fmla="*/ 883534 w 2920678"/>
                <a:gd name="connsiteY6" fmla="*/ 1250066 h 2010137"/>
                <a:gd name="connsiteX7" fmla="*/ 2183757 w 2920678"/>
                <a:gd name="connsiteY7" fmla="*/ 2010137 h 2010137"/>
                <a:gd name="connsiteX8" fmla="*/ 2920678 w 2920678"/>
                <a:gd name="connsiteY8" fmla="*/ 1581874 h 2010137"/>
                <a:gd name="connsiteX9" fmla="*/ 2916820 w 2920678"/>
                <a:gd name="connsiteY9" fmla="*/ 833377 h 2010137"/>
                <a:gd name="connsiteX10" fmla="*/ 1462268 w 2920678"/>
                <a:gd name="connsiteY10" fmla="*/ 0 h 2010137"/>
                <a:gd name="connsiteX11" fmla="*/ 0 w 2920678"/>
                <a:gd name="connsiteY11" fmla="*/ 833377 h 201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20678" h="2010137">
                  <a:moveTo>
                    <a:pt x="0" y="833377"/>
                  </a:moveTo>
                  <a:lnTo>
                    <a:pt x="0" y="1581874"/>
                  </a:lnTo>
                  <a:lnTo>
                    <a:pt x="1446835" y="736922"/>
                  </a:lnTo>
                  <a:lnTo>
                    <a:pt x="2280213" y="1207626"/>
                  </a:lnTo>
                  <a:lnTo>
                    <a:pt x="2118167" y="1292507"/>
                  </a:lnTo>
                  <a:lnTo>
                    <a:pt x="1454552" y="922117"/>
                  </a:lnTo>
                  <a:lnTo>
                    <a:pt x="883534" y="1250066"/>
                  </a:lnTo>
                  <a:lnTo>
                    <a:pt x="2183757" y="2010137"/>
                  </a:lnTo>
                  <a:lnTo>
                    <a:pt x="2920678" y="1581874"/>
                  </a:lnTo>
                  <a:lnTo>
                    <a:pt x="2916820" y="833377"/>
                  </a:lnTo>
                  <a:lnTo>
                    <a:pt x="1462268" y="0"/>
                  </a:lnTo>
                  <a:lnTo>
                    <a:pt x="0" y="83337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grpSp>
      <p:sp>
        <p:nvSpPr>
          <p:cNvPr id="6" name="Title 5"/>
          <p:cNvSpPr>
            <a:spLocks noGrp="1"/>
          </p:cNvSpPr>
          <p:nvPr>
            <p:ph type="title"/>
          </p:nvPr>
        </p:nvSpPr>
        <p:spPr/>
        <p:txBody>
          <a:bodyPr>
            <a:normAutofit/>
          </a:bodyPr>
          <a:lstStyle/>
          <a:p>
            <a:r>
              <a:rPr lang="en-US" dirty="0" err="1"/>
              <a:t>Ptc</a:t>
            </a:r>
            <a:r>
              <a:rPr lang="en-US" dirty="0"/>
              <a:t> is uniquely positioned to help you succeed</a:t>
            </a:r>
          </a:p>
        </p:txBody>
      </p:sp>
      <p:sp>
        <p:nvSpPr>
          <p:cNvPr id="10" name="TextBox 9"/>
          <p:cNvSpPr txBox="1"/>
          <p:nvPr/>
        </p:nvSpPr>
        <p:spPr>
          <a:xfrm>
            <a:off x="841170" y="3729880"/>
            <a:ext cx="3432141" cy="1473673"/>
          </a:xfrm>
          <a:prstGeom prst="rect">
            <a:avLst/>
          </a:prstGeom>
          <a:noFill/>
        </p:spPr>
        <p:txBody>
          <a:bodyPr wrap="square" lIns="0" tIns="0" rIns="0" bIns="0" rtlCol="0">
            <a:spAutoFit/>
          </a:bodyPr>
          <a:lstStyle/>
          <a:p>
            <a:r>
              <a:rPr lang="en-US" sz="2394" dirty="0"/>
              <a:t>30 year heritage in the </a:t>
            </a:r>
            <a:r>
              <a:rPr lang="en-US" sz="2394" b="1" dirty="0"/>
              <a:t>DIGITAL</a:t>
            </a:r>
            <a:r>
              <a:rPr lang="en-US" sz="2394" dirty="0"/>
              <a:t> definition, software, and lifecycle management of things</a:t>
            </a:r>
          </a:p>
        </p:txBody>
      </p:sp>
      <p:sp>
        <p:nvSpPr>
          <p:cNvPr id="8" name="TextBox 7"/>
          <p:cNvSpPr txBox="1"/>
          <p:nvPr/>
        </p:nvSpPr>
        <p:spPr>
          <a:xfrm>
            <a:off x="7920274" y="1955328"/>
            <a:ext cx="3918179" cy="1473673"/>
          </a:xfrm>
          <a:prstGeom prst="rect">
            <a:avLst/>
          </a:prstGeom>
          <a:noFill/>
        </p:spPr>
        <p:txBody>
          <a:bodyPr wrap="square" lIns="0" tIns="0" rIns="0" bIns="0" rtlCol="0">
            <a:spAutoFit/>
          </a:bodyPr>
          <a:lstStyle/>
          <a:p>
            <a:r>
              <a:rPr lang="en-US" sz="2394" dirty="0"/>
              <a:t>$1Billion technology investment connects to the </a:t>
            </a:r>
            <a:r>
              <a:rPr lang="en-US" sz="2394" b="1" dirty="0"/>
              <a:t>PHYSICAL</a:t>
            </a:r>
            <a:r>
              <a:rPr lang="en-US" sz="2394" dirty="0"/>
              <a:t> world and enables new experiences</a:t>
            </a:r>
          </a:p>
        </p:txBody>
      </p:sp>
    </p:spTree>
    <p:extLst>
      <p:ext uri="{BB962C8B-B14F-4D97-AF65-F5344CB8AC3E}">
        <p14:creationId xmlns:p14="http://schemas.microsoft.com/office/powerpoint/2010/main" val="822309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7466" t="29337" r="21744" b="29332"/>
          <a:stretch/>
        </p:blipFill>
        <p:spPr bwMode="auto">
          <a:xfrm>
            <a:off x="3490785" y="2721983"/>
            <a:ext cx="6253767" cy="2862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23"/>
          <p:cNvPicPr/>
          <p:nvPr/>
        </p:nvPicPr>
        <p:blipFill rotWithShape="1">
          <a:blip r:embed="rId4"/>
          <a:srcRect t="50143" b="9971"/>
          <a:stretch/>
        </p:blipFill>
        <p:spPr bwMode="auto">
          <a:xfrm>
            <a:off x="3124200" y="926545"/>
            <a:ext cx="6163430" cy="1710818"/>
          </a:xfrm>
          <a:prstGeom prst="rect">
            <a:avLst/>
          </a:prstGeom>
          <a:ln>
            <a:noFill/>
          </a:ln>
          <a:extLst>
            <a:ext uri="{53640926-AAD7-44D8-BBD7-CCE9431645EC}">
              <a14:shadowObscured xmlns:a14="http://schemas.microsoft.com/office/drawing/2010/main"/>
            </a:ext>
          </a:extLst>
        </p:spPr>
      </p:pic>
      <p:sp>
        <p:nvSpPr>
          <p:cNvPr id="41" name="Line Callout 1 40"/>
          <p:cNvSpPr/>
          <p:nvPr/>
        </p:nvSpPr>
        <p:spPr>
          <a:xfrm>
            <a:off x="9449012" y="1177823"/>
            <a:ext cx="2590588" cy="744647"/>
          </a:xfrm>
          <a:prstGeom prst="borderCallout1">
            <a:avLst>
              <a:gd name="adj1" fmla="val 51677"/>
              <a:gd name="adj2" fmla="val -641"/>
              <a:gd name="adj3" fmla="val 41191"/>
              <a:gd name="adj4" fmla="val -9364"/>
            </a:avLst>
          </a:prstGeom>
          <a:solidFill>
            <a:schemeClr val="tx1"/>
          </a:solidFill>
          <a:ln w="12700">
            <a:solidFill>
              <a:schemeClr val="tx1">
                <a:lumMod val="50000"/>
              </a:schemeClr>
            </a:solidFill>
            <a:headEnd/>
            <a:tailEnd/>
          </a:ln>
          <a:effectLst/>
        </p:spPr>
        <p:style>
          <a:lnRef idx="1">
            <a:schemeClr val="accent5"/>
          </a:lnRef>
          <a:fillRef idx="2">
            <a:schemeClr val="accent5"/>
          </a:fillRef>
          <a:effectRef idx="1">
            <a:schemeClr val="accent5"/>
          </a:effectRef>
          <a:fontRef idx="minor">
            <a:schemeClr val="dk1"/>
          </a:fontRef>
        </p:style>
        <p:txBody>
          <a:bodyPr wrap="square" lIns="91440" tIns="0" rIns="91440" bIns="0" anchor="ctr">
            <a:noAutofit/>
          </a:bodyPr>
          <a:lstStyle/>
          <a:p>
            <a:pPr marL="0" marR="0" lvl="0" indent="-114300" algn="ctr" defTabSz="108677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Century Gothic" panose="020F0302020204030204"/>
                <a:ea typeface="+mn-ea"/>
                <a:cs typeface="Times New Roman" pitchFamily="18" charset="0"/>
              </a:rPr>
              <a:t>Time</a:t>
            </a:r>
            <a:r>
              <a:rPr kumimoji="0" lang="en-US" sz="1200" b="0" i="0" u="none" strike="noStrike" kern="0" cap="none" spc="0" normalizeH="0" noProof="0" dirty="0">
                <a:ln>
                  <a:noFill/>
                </a:ln>
                <a:solidFill>
                  <a:srgbClr val="FFFFFF"/>
                </a:solidFill>
                <a:effectLst/>
                <a:uLnTx/>
                <a:uFillTx/>
                <a:latin typeface="Century Gothic" panose="020F0302020204030204"/>
                <a:ea typeface="+mn-ea"/>
                <a:cs typeface="Times New Roman" pitchFamily="18" charset="0"/>
              </a:rPr>
              <a:t> Phased Order Planning</a:t>
            </a:r>
            <a:endParaRPr kumimoji="0" lang="en-US" sz="1200" b="0" i="0" u="none" strike="noStrike" kern="0" cap="none" spc="0" normalizeH="0" baseline="0" noProof="0" dirty="0">
              <a:ln>
                <a:noFill/>
              </a:ln>
              <a:solidFill>
                <a:srgbClr val="FFFFFF"/>
              </a:solidFill>
              <a:effectLst/>
              <a:uLnTx/>
              <a:uFillTx/>
              <a:latin typeface="Century Gothic" panose="020F0302020204030204"/>
              <a:ea typeface="+mn-ea"/>
              <a:cs typeface="Times New Roman" pitchFamily="18" charset="0"/>
            </a:endParaRPr>
          </a:p>
        </p:txBody>
      </p:sp>
      <p:sp>
        <p:nvSpPr>
          <p:cNvPr id="3" name="Title 2"/>
          <p:cNvSpPr>
            <a:spLocks noGrp="1"/>
          </p:cNvSpPr>
          <p:nvPr>
            <p:ph type="title"/>
          </p:nvPr>
        </p:nvSpPr>
        <p:spPr/>
        <p:txBody>
          <a:bodyPr/>
          <a:lstStyle/>
          <a:p>
            <a:r>
              <a:rPr lang="en-US" dirty="0"/>
              <a:t>PTC Service Parts Management</a:t>
            </a:r>
          </a:p>
        </p:txBody>
      </p:sp>
      <p:sp>
        <p:nvSpPr>
          <p:cNvPr id="18" name="Rectangle 17"/>
          <p:cNvSpPr/>
          <p:nvPr/>
        </p:nvSpPr>
        <p:spPr>
          <a:xfrm>
            <a:off x="15082" y="813663"/>
            <a:ext cx="3050766" cy="60443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nvGrpSpPr>
          <p:cNvPr id="21" name="Group 20"/>
          <p:cNvGrpSpPr/>
          <p:nvPr/>
        </p:nvGrpSpPr>
        <p:grpSpPr>
          <a:xfrm>
            <a:off x="15082" y="5710728"/>
            <a:ext cx="12161838" cy="1030640"/>
            <a:chOff x="0" y="5563887"/>
            <a:chExt cx="9144000" cy="1030640"/>
          </a:xfrm>
          <a:solidFill>
            <a:schemeClr val="bg2"/>
          </a:solidFill>
        </p:grpSpPr>
        <p:sp>
          <p:nvSpPr>
            <p:cNvPr id="22" name="Rectangle 21"/>
            <p:cNvSpPr/>
            <p:nvPr/>
          </p:nvSpPr>
          <p:spPr>
            <a:xfrm>
              <a:off x="0" y="5563887"/>
              <a:ext cx="9144000" cy="10306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cxnSp>
          <p:nvCxnSpPr>
            <p:cNvPr id="28" name="Straight Connector 27"/>
            <p:cNvCxnSpPr/>
            <p:nvPr/>
          </p:nvCxnSpPr>
          <p:spPr>
            <a:xfrm>
              <a:off x="3657600" y="5690502"/>
              <a:ext cx="0" cy="777410"/>
            </a:xfrm>
            <a:prstGeom prst="line">
              <a:avLst/>
            </a:prstGeom>
            <a:grpFill/>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486400" y="5690502"/>
              <a:ext cx="0" cy="777410"/>
            </a:xfrm>
            <a:prstGeom prst="line">
              <a:avLst/>
            </a:prstGeom>
            <a:grpFill/>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315200" y="5690502"/>
              <a:ext cx="0" cy="777410"/>
            </a:xfrm>
            <a:prstGeom prst="line">
              <a:avLst/>
            </a:prstGeom>
            <a:grpFill/>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989711" y="5832987"/>
              <a:ext cx="1506979" cy="492443"/>
            </a:xfrm>
            <a:prstGeom prst="rect">
              <a:avLst/>
            </a:prstGeom>
            <a:grpFill/>
          </p:spPr>
          <p:txBody>
            <a:bodyPr wrap="square" lIns="0" tIns="0" rIns="0" bIns="0" rtlCol="0" anchor="ctr">
              <a:spAutoFit/>
            </a:bodyPr>
            <a:lstStyle/>
            <a:p>
              <a:pPr lvl="0" algn="ctr">
                <a:defRPr/>
              </a:pPr>
              <a:r>
                <a:rPr lang="en-US" sz="1600" b="1" dirty="0">
                  <a:solidFill>
                    <a:srgbClr val="FFFFFF"/>
                  </a:solidFill>
                  <a:latin typeface="+mj-lt"/>
                </a:rPr>
                <a:t>Increase Equipment Availability </a:t>
              </a:r>
              <a:endParaRPr kumimoji="0" lang="en-US" sz="1600" b="1" i="0" u="none" strike="noStrike" kern="1200" cap="none" spc="0" normalizeH="0" baseline="0" noProof="0" dirty="0">
                <a:ln>
                  <a:noFill/>
                </a:ln>
                <a:solidFill>
                  <a:srgbClr val="FFFFFF"/>
                </a:solidFill>
                <a:effectLst/>
                <a:uLnTx/>
                <a:uFillTx/>
                <a:latin typeface="+mj-lt"/>
                <a:ea typeface="+mn-ea"/>
                <a:cs typeface="+mn-cs"/>
              </a:endParaRPr>
            </a:p>
          </p:txBody>
        </p:sp>
        <p:sp>
          <p:nvSpPr>
            <p:cNvPr id="32" name="TextBox 31"/>
            <p:cNvSpPr txBox="1"/>
            <p:nvPr/>
          </p:nvSpPr>
          <p:spPr>
            <a:xfrm>
              <a:off x="3742716" y="5832987"/>
              <a:ext cx="1658568" cy="492443"/>
            </a:xfrm>
            <a:prstGeom prst="rect">
              <a:avLst/>
            </a:prstGeom>
            <a:grpFill/>
          </p:spPr>
          <p:txBody>
            <a:bodyPr wrap="square" lIns="0" tIns="0" rIns="0" bIns="0" rtlCol="0" anchor="ctr">
              <a:spAutoFit/>
            </a:bodyPr>
            <a:lstStyle/>
            <a:p>
              <a:pPr lvl="0" algn="ctr">
                <a:defRPr/>
              </a:pPr>
              <a:r>
                <a:rPr lang="en-US" sz="1600" b="1" dirty="0">
                  <a:solidFill>
                    <a:srgbClr val="FFFFFF"/>
                  </a:solidFill>
                  <a:latin typeface="+mj-lt"/>
                </a:rPr>
                <a:t>Reduce Excess Inventory </a:t>
              </a:r>
              <a:endParaRPr kumimoji="0" lang="en-US" sz="1600" b="1" i="0" u="none" strike="noStrike" kern="1200" cap="none" spc="0" normalizeH="0" baseline="0" noProof="0" dirty="0">
                <a:ln>
                  <a:noFill/>
                </a:ln>
                <a:solidFill>
                  <a:srgbClr val="FFFFFF"/>
                </a:solidFill>
                <a:effectLst/>
                <a:uLnTx/>
                <a:uFillTx/>
                <a:latin typeface="+mj-lt"/>
                <a:ea typeface="+mn-ea"/>
                <a:cs typeface="+mn-cs"/>
              </a:endParaRPr>
            </a:p>
          </p:txBody>
        </p:sp>
        <p:sp>
          <p:nvSpPr>
            <p:cNvPr id="33" name="TextBox 32"/>
            <p:cNvSpPr txBox="1"/>
            <p:nvPr/>
          </p:nvSpPr>
          <p:spPr>
            <a:xfrm>
              <a:off x="7415720" y="5832988"/>
              <a:ext cx="1627760" cy="492443"/>
            </a:xfrm>
            <a:prstGeom prst="rect">
              <a:avLst/>
            </a:prstGeom>
            <a:grpFill/>
          </p:spPr>
          <p:txBody>
            <a:bodyPr wrap="square" lIns="0" tIns="0" rIns="0" bIns="0" rtlCol="0" anchor="ctr">
              <a:spAutoFit/>
            </a:bodyPr>
            <a:lstStyle/>
            <a:p>
              <a:pPr lvl="0" algn="ctr">
                <a:defRPr/>
              </a:pPr>
              <a:r>
                <a:rPr lang="en-US" sz="1600" b="1" dirty="0">
                  <a:solidFill>
                    <a:srgbClr val="FFFFFF"/>
                  </a:solidFill>
                  <a:latin typeface="+mj-lt"/>
                </a:rPr>
                <a:t>Improve Service Levels</a:t>
              </a:r>
              <a:endParaRPr kumimoji="0" lang="en-US" sz="1600" b="1" i="0" u="none" strike="noStrike" kern="1200" cap="none" spc="0" normalizeH="0" baseline="0" noProof="0" dirty="0">
                <a:ln>
                  <a:noFill/>
                </a:ln>
                <a:solidFill>
                  <a:srgbClr val="FFFFFF"/>
                </a:solidFill>
                <a:effectLst/>
                <a:uLnTx/>
                <a:uFillTx/>
                <a:latin typeface="+mj-lt"/>
                <a:ea typeface="+mn-ea"/>
                <a:cs typeface="+mn-cs"/>
              </a:endParaRPr>
            </a:p>
          </p:txBody>
        </p:sp>
        <p:sp>
          <p:nvSpPr>
            <p:cNvPr id="34" name="TextBox 33"/>
            <p:cNvSpPr txBox="1"/>
            <p:nvPr/>
          </p:nvSpPr>
          <p:spPr>
            <a:xfrm>
              <a:off x="5681440" y="5832989"/>
              <a:ext cx="1438720" cy="492443"/>
            </a:xfrm>
            <a:prstGeom prst="rect">
              <a:avLst/>
            </a:prstGeom>
            <a:grpFill/>
          </p:spPr>
          <p:txBody>
            <a:bodyPr wrap="square" lIns="0" tIns="0" rIns="0" bIns="0" rtlCol="0" anchor="ctr">
              <a:spAutoFit/>
            </a:bodyPr>
            <a:lstStyle/>
            <a:p>
              <a:pPr lvl="0" algn="ctr">
                <a:defRPr/>
              </a:pPr>
              <a:r>
                <a:rPr lang="en-US" sz="1600" b="1" dirty="0">
                  <a:solidFill>
                    <a:srgbClr val="FFFFFF"/>
                  </a:solidFill>
                  <a:latin typeface="+mj-lt"/>
                </a:rPr>
                <a:t>Increase Part Availability </a:t>
              </a:r>
              <a:endParaRPr kumimoji="0" lang="en-US" sz="1600" b="1" i="0" u="none" strike="noStrike" kern="1200" cap="none" spc="0" normalizeH="0" baseline="0" noProof="0" dirty="0">
                <a:ln>
                  <a:noFill/>
                </a:ln>
                <a:solidFill>
                  <a:srgbClr val="FFFFFF"/>
                </a:solidFill>
                <a:effectLst/>
                <a:uLnTx/>
                <a:uFillTx/>
                <a:latin typeface="+mj-lt"/>
                <a:ea typeface="+mn-ea"/>
                <a:cs typeface="+mn-cs"/>
              </a:endParaRPr>
            </a:p>
          </p:txBody>
        </p:sp>
        <p:sp>
          <p:nvSpPr>
            <p:cNvPr id="35" name="TextBox 34"/>
            <p:cNvSpPr txBox="1"/>
            <p:nvPr/>
          </p:nvSpPr>
          <p:spPr>
            <a:xfrm>
              <a:off x="285780" y="5909931"/>
              <a:ext cx="1357039" cy="338554"/>
            </a:xfrm>
            <a:prstGeom prst="rect">
              <a:avLst/>
            </a:prstGeom>
            <a:grpFill/>
            <a:ln w="9525">
              <a:noFill/>
              <a:miter lim="800000"/>
              <a:headEnd/>
              <a:tailEnd/>
            </a:ln>
            <a:effectLst/>
          </p:spPr>
          <p:txBody>
            <a:bodyPr wrap="square" lIns="0" tIns="0" rIns="0" bIns="0" rtlCol="0" anchor="ctr">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entury Gothic" panose="020F0302020204030204"/>
                  <a:ea typeface="+mn-ea"/>
                  <a:cs typeface="+mn-cs"/>
                </a:rPr>
                <a:t>BENEFITS</a:t>
              </a:r>
            </a:p>
          </p:txBody>
        </p:sp>
        <p:cxnSp>
          <p:nvCxnSpPr>
            <p:cNvPr id="36" name="Straight Connector 35"/>
            <p:cNvCxnSpPr/>
            <p:nvPr/>
          </p:nvCxnSpPr>
          <p:spPr>
            <a:xfrm>
              <a:off x="1828800" y="5690502"/>
              <a:ext cx="0" cy="777410"/>
            </a:xfrm>
            <a:prstGeom prst="line">
              <a:avLst/>
            </a:prstGeom>
            <a:grpFill/>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6" name="Content Placeholder 1"/>
          <p:cNvSpPr txBox="1">
            <a:spLocks/>
          </p:cNvSpPr>
          <p:nvPr/>
        </p:nvSpPr>
        <p:spPr>
          <a:xfrm>
            <a:off x="228600" y="1085868"/>
            <a:ext cx="2675771" cy="4004173"/>
          </a:xfrm>
          <a:prstGeom prst="rect">
            <a:avLst/>
          </a:prstGeom>
        </p:spPr>
        <p:txBody>
          <a:bodyPr wrap="square">
            <a:spAutoFit/>
          </a:bodyPr>
          <a:lstStyle>
            <a:lvl1pPr marL="273582" indent="-273582" algn="l" defTabSz="1086775" rtl="0" eaLnBrk="1" latinLnBrk="0" hangingPunct="1">
              <a:lnSpc>
                <a:spcPct val="90000"/>
              </a:lnSpc>
              <a:spcBef>
                <a:spcPts val="2139"/>
              </a:spcBef>
              <a:buClr>
                <a:schemeClr val="bg2"/>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6775" rtl="0" eaLnBrk="1" fontAlgn="auto" latinLnBrk="0" hangingPunct="1">
              <a:lnSpc>
                <a:spcPct val="90000"/>
              </a:lnSpc>
              <a:spcBef>
                <a:spcPts val="800"/>
              </a:spcBef>
              <a:spcAft>
                <a:spcPts val="0"/>
              </a:spcAft>
              <a:buClr>
                <a:srgbClr val="3D4647"/>
              </a:buClr>
              <a:buSzTx/>
              <a:buFont typeface="Arial" pitchFamily="34" charset="0"/>
              <a:buNone/>
              <a:tabLst/>
              <a:defRPr/>
            </a:pPr>
            <a:r>
              <a:rPr kumimoji="0" lang="en-US" sz="2200" b="1" i="0" u="none" strike="noStrike" kern="1200" cap="none" spc="0" normalizeH="0" baseline="0" noProof="0" dirty="0">
                <a:ln>
                  <a:noFill/>
                </a:ln>
                <a:solidFill>
                  <a:srgbClr val="FFFFFF"/>
                </a:solidFill>
                <a:effectLst/>
                <a:uLnTx/>
                <a:uFillTx/>
                <a:latin typeface="+mj-lt"/>
                <a:ea typeface="+mn-ea"/>
                <a:cs typeface="+mn-cs"/>
              </a:rPr>
              <a:t>CAPABILITIES</a:t>
            </a:r>
          </a:p>
          <a:p>
            <a:pPr marL="174625" lvl="0" indent="-174625">
              <a:spcBef>
                <a:spcPts val="1200"/>
              </a:spcBef>
              <a:buClr>
                <a:srgbClr val="FFFFFF"/>
              </a:buClr>
              <a:defRPr/>
            </a:pPr>
            <a:r>
              <a:rPr lang="en-US" sz="1800" b="1" dirty="0">
                <a:solidFill>
                  <a:srgbClr val="FFFFFF"/>
                </a:solidFill>
                <a:latin typeface="+mj-lt"/>
              </a:rPr>
              <a:t>Optimizes inventory globally across stocking locations</a:t>
            </a:r>
          </a:p>
          <a:p>
            <a:pPr marL="174625" lvl="0" indent="-174625">
              <a:spcBef>
                <a:spcPts val="1200"/>
              </a:spcBef>
              <a:buClr>
                <a:srgbClr val="FFFFFF"/>
              </a:buClr>
              <a:defRPr/>
            </a:pPr>
            <a:r>
              <a:rPr lang="en-US" sz="1800" b="1" dirty="0">
                <a:solidFill>
                  <a:srgbClr val="FFFFFF"/>
                </a:solidFill>
                <a:latin typeface="+mj-lt"/>
              </a:rPr>
              <a:t>Mitigates excess and shortage conditions</a:t>
            </a:r>
          </a:p>
          <a:p>
            <a:pPr marL="174625" lvl="0" indent="-174625">
              <a:spcBef>
                <a:spcPts val="1200"/>
              </a:spcBef>
              <a:buClr>
                <a:srgbClr val="FFFFFF"/>
              </a:buClr>
              <a:defRPr/>
            </a:pPr>
            <a:r>
              <a:rPr lang="en-US" sz="1800" b="1" dirty="0">
                <a:solidFill>
                  <a:srgbClr val="FFFFFF"/>
                </a:solidFill>
                <a:latin typeface="+mj-lt"/>
              </a:rPr>
              <a:t>Forecasts parts demand </a:t>
            </a:r>
          </a:p>
          <a:p>
            <a:pPr marL="174625" lvl="0" indent="-174625">
              <a:spcBef>
                <a:spcPts val="1200"/>
              </a:spcBef>
              <a:buClr>
                <a:srgbClr val="FFFFFF"/>
              </a:buClr>
              <a:defRPr/>
            </a:pPr>
            <a:r>
              <a:rPr lang="en-US" sz="1800" b="1" dirty="0">
                <a:solidFill>
                  <a:srgbClr val="FFFFFF"/>
                </a:solidFill>
                <a:latin typeface="+mj-lt"/>
              </a:rPr>
              <a:t>Analyzes simulation/KPI analysis to measure and tune the model</a:t>
            </a:r>
          </a:p>
        </p:txBody>
      </p:sp>
      <p:sp>
        <p:nvSpPr>
          <p:cNvPr id="43" name="Line Callout 1 42"/>
          <p:cNvSpPr/>
          <p:nvPr/>
        </p:nvSpPr>
        <p:spPr>
          <a:xfrm>
            <a:off x="9586332" y="2738341"/>
            <a:ext cx="2590588" cy="612249"/>
          </a:xfrm>
          <a:prstGeom prst="borderCallout1">
            <a:avLst>
              <a:gd name="adj1" fmla="val 51677"/>
              <a:gd name="adj2" fmla="val -641"/>
              <a:gd name="adj3" fmla="val 132489"/>
              <a:gd name="adj4" fmla="val -7066"/>
            </a:avLst>
          </a:prstGeom>
          <a:solidFill>
            <a:schemeClr val="tx1"/>
          </a:solidFill>
          <a:ln w="12700">
            <a:solidFill>
              <a:schemeClr val="tx1">
                <a:lumMod val="50000"/>
              </a:schemeClr>
            </a:solidFill>
            <a:headEnd/>
            <a:tailEnd/>
          </a:ln>
          <a:effectLst/>
        </p:spPr>
        <p:style>
          <a:lnRef idx="1">
            <a:schemeClr val="accent5"/>
          </a:lnRef>
          <a:fillRef idx="2">
            <a:schemeClr val="accent5"/>
          </a:fillRef>
          <a:effectRef idx="1">
            <a:schemeClr val="accent5"/>
          </a:effectRef>
          <a:fontRef idx="minor">
            <a:schemeClr val="dk1"/>
          </a:fontRef>
        </p:style>
        <p:txBody>
          <a:bodyPr wrap="square" lIns="91440" tIns="0" rIns="91440" bIns="0" anchor="ctr">
            <a:noAutofit/>
          </a:bodyPr>
          <a:lstStyle/>
          <a:p>
            <a:pPr marL="0" marR="0" lvl="0" indent="-114300" algn="ctr" defTabSz="108677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Century Gothic" panose="020F0302020204030204"/>
                <a:ea typeface="+mn-ea"/>
                <a:cs typeface="Times New Roman" pitchFamily="18" charset="0"/>
              </a:rPr>
              <a:t>Demand Forecasting</a:t>
            </a:r>
          </a:p>
        </p:txBody>
      </p:sp>
    </p:spTree>
    <p:extLst>
      <p:ext uri="{BB962C8B-B14F-4D97-AF65-F5344CB8AC3E}">
        <p14:creationId xmlns:p14="http://schemas.microsoft.com/office/powerpoint/2010/main" val="230774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19">
            <a:extLst>
              <a:ext uri="{FF2B5EF4-FFF2-40B4-BE49-F238E27FC236}">
                <a16:creationId xmlns:a16="http://schemas.microsoft.com/office/drawing/2014/main" id="{7BDD312D-46D4-438D-82A8-225194D807D9}"/>
              </a:ext>
            </a:extLst>
          </p:cNvPr>
          <p:cNvSpPr/>
          <p:nvPr/>
        </p:nvSpPr>
        <p:spPr>
          <a:xfrm>
            <a:off x="1740021" y="4599113"/>
            <a:ext cx="1976299" cy="912138"/>
          </a:xfrm>
          <a:prstGeom prst="round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defRPr/>
            </a:pPr>
            <a:r>
              <a:rPr lang="it-IT" sz="1795" b="1" kern="0" dirty="0">
                <a:solidFill>
                  <a:schemeClr val="bg1"/>
                </a:solidFill>
              </a:rPr>
              <a:t>DESCRIPTIVE ANALITYCS</a:t>
            </a:r>
          </a:p>
        </p:txBody>
      </p:sp>
      <p:sp>
        <p:nvSpPr>
          <p:cNvPr id="10" name="Rounded Rectangle 21">
            <a:extLst>
              <a:ext uri="{FF2B5EF4-FFF2-40B4-BE49-F238E27FC236}">
                <a16:creationId xmlns:a16="http://schemas.microsoft.com/office/drawing/2014/main" id="{F7DA0190-BB14-42D1-B665-C508EC74D872}"/>
              </a:ext>
            </a:extLst>
          </p:cNvPr>
          <p:cNvSpPr/>
          <p:nvPr/>
        </p:nvSpPr>
        <p:spPr>
          <a:xfrm>
            <a:off x="2728170" y="3591372"/>
            <a:ext cx="1976299" cy="91213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defRPr/>
            </a:pPr>
            <a:r>
              <a:rPr lang="it-IT" sz="1795" b="1" kern="0" dirty="0">
                <a:solidFill>
                  <a:schemeClr val="bg1"/>
                </a:solidFill>
              </a:rPr>
              <a:t>EXPLANATORY</a:t>
            </a:r>
          </a:p>
          <a:p>
            <a:pPr algn="ctr" defTabSz="912114">
              <a:defRPr/>
            </a:pPr>
            <a:r>
              <a:rPr lang="it-IT" sz="1795" b="1" kern="0" dirty="0">
                <a:solidFill>
                  <a:schemeClr val="bg1"/>
                </a:solidFill>
              </a:rPr>
              <a:t>ANALITYCS</a:t>
            </a:r>
          </a:p>
        </p:txBody>
      </p:sp>
      <p:sp>
        <p:nvSpPr>
          <p:cNvPr id="11" name="Rounded Rectangle 22">
            <a:extLst>
              <a:ext uri="{FF2B5EF4-FFF2-40B4-BE49-F238E27FC236}">
                <a16:creationId xmlns:a16="http://schemas.microsoft.com/office/drawing/2014/main" id="{ED8F529C-EF0B-4FAB-8165-CC9B521C8C09}"/>
              </a:ext>
            </a:extLst>
          </p:cNvPr>
          <p:cNvSpPr/>
          <p:nvPr/>
        </p:nvSpPr>
        <p:spPr>
          <a:xfrm>
            <a:off x="3640308" y="2583633"/>
            <a:ext cx="1976299" cy="912138"/>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defRPr/>
            </a:pPr>
            <a:r>
              <a:rPr lang="it-IT" sz="1795" b="1" kern="0" dirty="0">
                <a:solidFill>
                  <a:schemeClr val="bg1"/>
                </a:solidFill>
              </a:rPr>
              <a:t>PREDICTIVE</a:t>
            </a:r>
          </a:p>
          <a:p>
            <a:pPr algn="ctr" defTabSz="912114">
              <a:defRPr/>
            </a:pPr>
            <a:r>
              <a:rPr lang="it-IT" sz="1795" b="1" kern="0" dirty="0">
                <a:solidFill>
                  <a:schemeClr val="bg1"/>
                </a:solidFill>
              </a:rPr>
              <a:t>ANALITYCS</a:t>
            </a:r>
          </a:p>
        </p:txBody>
      </p:sp>
      <p:sp>
        <p:nvSpPr>
          <p:cNvPr id="12" name="Rounded Rectangle 23">
            <a:extLst>
              <a:ext uri="{FF2B5EF4-FFF2-40B4-BE49-F238E27FC236}">
                <a16:creationId xmlns:a16="http://schemas.microsoft.com/office/drawing/2014/main" id="{BD039376-78D2-4BF5-8343-3F676AEA2783}"/>
              </a:ext>
            </a:extLst>
          </p:cNvPr>
          <p:cNvSpPr/>
          <p:nvPr/>
        </p:nvSpPr>
        <p:spPr>
          <a:xfrm>
            <a:off x="4628457" y="1575893"/>
            <a:ext cx="2052310" cy="912138"/>
          </a:xfrm>
          <a:prstGeom prst="round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defRPr/>
            </a:pPr>
            <a:r>
              <a:rPr lang="it-IT" sz="1795" b="1" kern="0" dirty="0">
                <a:solidFill>
                  <a:schemeClr val="bg1"/>
                </a:solidFill>
              </a:rPr>
              <a:t>PRESCRIPTIVE</a:t>
            </a:r>
          </a:p>
          <a:p>
            <a:pPr algn="ctr" defTabSz="912114">
              <a:defRPr/>
            </a:pPr>
            <a:r>
              <a:rPr lang="it-IT" sz="1795" b="1" kern="0" dirty="0">
                <a:solidFill>
                  <a:schemeClr val="bg1"/>
                </a:solidFill>
              </a:rPr>
              <a:t>ANALITYCS</a:t>
            </a:r>
          </a:p>
        </p:txBody>
      </p:sp>
      <p:sp>
        <p:nvSpPr>
          <p:cNvPr id="13" name="Down Arrow 20">
            <a:extLst>
              <a:ext uri="{FF2B5EF4-FFF2-40B4-BE49-F238E27FC236}">
                <a16:creationId xmlns:a16="http://schemas.microsoft.com/office/drawing/2014/main" id="{20F85372-2012-4D39-8E2C-C46023FF362D}"/>
              </a:ext>
            </a:extLst>
          </p:cNvPr>
          <p:cNvSpPr/>
          <p:nvPr/>
        </p:nvSpPr>
        <p:spPr>
          <a:xfrm flipV="1">
            <a:off x="1359963" y="1482643"/>
            <a:ext cx="304046" cy="4028609"/>
          </a:xfrm>
          <a:prstGeom prst="downArrow">
            <a:avLst/>
          </a:prstGeom>
          <a:solidFill>
            <a:srgbClr val="6DAD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defRPr/>
            </a:pPr>
            <a:endParaRPr lang="it-IT" sz="1795" kern="0" dirty="0">
              <a:solidFill>
                <a:schemeClr val="bg1"/>
              </a:solidFill>
            </a:endParaRPr>
          </a:p>
        </p:txBody>
      </p:sp>
      <p:sp>
        <p:nvSpPr>
          <p:cNvPr id="14" name="TextBox 13">
            <a:extLst>
              <a:ext uri="{FF2B5EF4-FFF2-40B4-BE49-F238E27FC236}">
                <a16:creationId xmlns:a16="http://schemas.microsoft.com/office/drawing/2014/main" id="{36F5914D-63AD-4660-BD62-B69F93808B25}"/>
              </a:ext>
            </a:extLst>
          </p:cNvPr>
          <p:cNvSpPr txBox="1"/>
          <p:nvPr/>
        </p:nvSpPr>
        <p:spPr>
          <a:xfrm>
            <a:off x="903894" y="1178599"/>
            <a:ext cx="1216184" cy="171929"/>
          </a:xfrm>
          <a:prstGeom prst="rect">
            <a:avLst/>
          </a:prstGeom>
          <a:noFill/>
        </p:spPr>
        <p:txBody>
          <a:bodyPr wrap="square" lIns="0" tIns="0" rIns="0" bIns="0" rtlCol="0">
            <a:spAutoFit/>
          </a:bodyPr>
          <a:lstStyle/>
          <a:p>
            <a:pPr algn="ctr" defTabSz="912114">
              <a:lnSpc>
                <a:spcPct val="80000"/>
              </a:lnSpc>
              <a:defRPr/>
            </a:pPr>
            <a:r>
              <a:rPr lang="it-IT" sz="1397" kern="0" dirty="0">
                <a:solidFill>
                  <a:schemeClr val="bg2"/>
                </a:solidFill>
              </a:rPr>
              <a:t>VALUE</a:t>
            </a:r>
          </a:p>
        </p:txBody>
      </p:sp>
      <p:sp>
        <p:nvSpPr>
          <p:cNvPr id="15" name="Down Arrow 26">
            <a:extLst>
              <a:ext uri="{FF2B5EF4-FFF2-40B4-BE49-F238E27FC236}">
                <a16:creationId xmlns:a16="http://schemas.microsoft.com/office/drawing/2014/main" id="{28962D04-223E-4156-B69C-7280AAA0ACA9}"/>
              </a:ext>
            </a:extLst>
          </p:cNvPr>
          <p:cNvSpPr/>
          <p:nvPr/>
        </p:nvSpPr>
        <p:spPr>
          <a:xfrm rot="5400000" flipV="1">
            <a:off x="4799483" y="2413784"/>
            <a:ext cx="304046" cy="6651005"/>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defRPr/>
            </a:pPr>
            <a:endParaRPr lang="it-IT" sz="1795" kern="0" dirty="0">
              <a:solidFill>
                <a:schemeClr val="bg1"/>
              </a:solidFill>
            </a:endParaRPr>
          </a:p>
        </p:txBody>
      </p:sp>
      <p:sp>
        <p:nvSpPr>
          <p:cNvPr id="16" name="TextBox 15">
            <a:extLst>
              <a:ext uri="{FF2B5EF4-FFF2-40B4-BE49-F238E27FC236}">
                <a16:creationId xmlns:a16="http://schemas.microsoft.com/office/drawing/2014/main" id="{F141C711-3701-4828-85E1-55BB7E357007}"/>
              </a:ext>
            </a:extLst>
          </p:cNvPr>
          <p:cNvSpPr txBox="1"/>
          <p:nvPr/>
        </p:nvSpPr>
        <p:spPr>
          <a:xfrm>
            <a:off x="8429031" y="5630598"/>
            <a:ext cx="1216184" cy="171929"/>
          </a:xfrm>
          <a:prstGeom prst="rect">
            <a:avLst/>
          </a:prstGeom>
          <a:noFill/>
        </p:spPr>
        <p:txBody>
          <a:bodyPr wrap="square" lIns="0" tIns="0" rIns="0" bIns="0" rtlCol="0">
            <a:spAutoFit/>
          </a:bodyPr>
          <a:lstStyle/>
          <a:p>
            <a:pPr algn="ctr" defTabSz="912114">
              <a:lnSpc>
                <a:spcPct val="80000"/>
              </a:lnSpc>
              <a:defRPr/>
            </a:pPr>
            <a:r>
              <a:rPr lang="it-IT" sz="1397" kern="0" dirty="0">
                <a:solidFill>
                  <a:srgbClr val="FF0000"/>
                </a:solidFill>
              </a:rPr>
              <a:t>COMPLEXITY</a:t>
            </a:r>
          </a:p>
        </p:txBody>
      </p:sp>
      <p:sp>
        <p:nvSpPr>
          <p:cNvPr id="17" name="TextBox 16">
            <a:extLst>
              <a:ext uri="{FF2B5EF4-FFF2-40B4-BE49-F238E27FC236}">
                <a16:creationId xmlns:a16="http://schemas.microsoft.com/office/drawing/2014/main" id="{08FA9359-A5E2-4F12-8EAD-73F98B868721}"/>
              </a:ext>
            </a:extLst>
          </p:cNvPr>
          <p:cNvSpPr txBox="1"/>
          <p:nvPr/>
        </p:nvSpPr>
        <p:spPr>
          <a:xfrm>
            <a:off x="4020365" y="4969218"/>
            <a:ext cx="1216184" cy="343857"/>
          </a:xfrm>
          <a:prstGeom prst="rect">
            <a:avLst/>
          </a:prstGeom>
          <a:noFill/>
        </p:spPr>
        <p:txBody>
          <a:bodyPr wrap="square" lIns="0" tIns="0" rIns="0" bIns="0" rtlCol="0">
            <a:spAutoFit/>
          </a:bodyPr>
          <a:lstStyle/>
          <a:p>
            <a:pPr algn="ctr" defTabSz="912114">
              <a:lnSpc>
                <a:spcPct val="80000"/>
              </a:lnSpc>
              <a:defRPr/>
            </a:pPr>
            <a:r>
              <a:rPr lang="it-IT" sz="1397" kern="0" dirty="0">
                <a:solidFill>
                  <a:schemeClr val="bg1"/>
                </a:solidFill>
              </a:rPr>
              <a:t>WHAT </a:t>
            </a:r>
            <a:r>
              <a:rPr lang="it-IT" sz="1397" kern="0" dirty="0">
                <a:solidFill>
                  <a:schemeClr val="accent1">
                    <a:lumMod val="60000"/>
                    <a:lumOff val="40000"/>
                  </a:schemeClr>
                </a:solidFill>
              </a:rPr>
              <a:t>HAPPENED</a:t>
            </a:r>
            <a:r>
              <a:rPr lang="it-IT" sz="1397" kern="0" dirty="0">
                <a:solidFill>
                  <a:schemeClr val="bg1"/>
                </a:solidFill>
              </a:rPr>
              <a:t>?</a:t>
            </a:r>
          </a:p>
        </p:txBody>
      </p:sp>
      <p:sp>
        <p:nvSpPr>
          <p:cNvPr id="18" name="TextBox 17">
            <a:extLst>
              <a:ext uri="{FF2B5EF4-FFF2-40B4-BE49-F238E27FC236}">
                <a16:creationId xmlns:a16="http://schemas.microsoft.com/office/drawing/2014/main" id="{FFD1F2AC-8014-47B7-82DC-EA9F132BBD47}"/>
              </a:ext>
            </a:extLst>
          </p:cNvPr>
          <p:cNvSpPr txBox="1"/>
          <p:nvPr/>
        </p:nvSpPr>
        <p:spPr>
          <a:xfrm>
            <a:off x="5025995" y="3875471"/>
            <a:ext cx="1216184" cy="343940"/>
          </a:xfrm>
          <a:prstGeom prst="rect">
            <a:avLst/>
          </a:prstGeom>
          <a:noFill/>
        </p:spPr>
        <p:txBody>
          <a:bodyPr wrap="square" lIns="0" tIns="0" rIns="0" bIns="0" rtlCol="0">
            <a:spAutoFit/>
          </a:bodyPr>
          <a:lstStyle/>
          <a:p>
            <a:pPr algn="ctr" defTabSz="912114">
              <a:lnSpc>
                <a:spcPct val="80000"/>
              </a:lnSpc>
              <a:defRPr/>
            </a:pPr>
            <a:r>
              <a:rPr lang="it-IT" sz="1397" kern="0" dirty="0">
                <a:solidFill>
                  <a:schemeClr val="accent1">
                    <a:lumMod val="60000"/>
                    <a:lumOff val="40000"/>
                  </a:schemeClr>
                </a:solidFill>
              </a:rPr>
              <a:t>WHY  DID IT HAPPEN?</a:t>
            </a:r>
          </a:p>
        </p:txBody>
      </p:sp>
      <p:sp>
        <p:nvSpPr>
          <p:cNvPr id="19" name="TextBox 18">
            <a:extLst>
              <a:ext uri="{FF2B5EF4-FFF2-40B4-BE49-F238E27FC236}">
                <a16:creationId xmlns:a16="http://schemas.microsoft.com/office/drawing/2014/main" id="{DE8AA60B-94A1-4682-BEF9-A04B9C83D426}"/>
              </a:ext>
            </a:extLst>
          </p:cNvPr>
          <p:cNvSpPr txBox="1"/>
          <p:nvPr/>
        </p:nvSpPr>
        <p:spPr>
          <a:xfrm>
            <a:off x="6148686" y="2880780"/>
            <a:ext cx="1216184" cy="343857"/>
          </a:xfrm>
          <a:prstGeom prst="rect">
            <a:avLst/>
          </a:prstGeom>
          <a:noFill/>
        </p:spPr>
        <p:txBody>
          <a:bodyPr wrap="square" lIns="0" tIns="0" rIns="0" bIns="0" rtlCol="0">
            <a:spAutoFit/>
          </a:bodyPr>
          <a:lstStyle/>
          <a:p>
            <a:pPr algn="ctr" defTabSz="912114">
              <a:lnSpc>
                <a:spcPct val="80000"/>
              </a:lnSpc>
              <a:defRPr/>
            </a:pPr>
            <a:r>
              <a:rPr lang="it-IT" sz="1397" kern="0" dirty="0">
                <a:solidFill>
                  <a:schemeClr val="accent1">
                    <a:lumMod val="60000"/>
                    <a:lumOff val="40000"/>
                  </a:schemeClr>
                </a:solidFill>
              </a:rPr>
              <a:t>WHAT WILL HAPPEN?</a:t>
            </a:r>
          </a:p>
        </p:txBody>
      </p:sp>
      <p:sp>
        <p:nvSpPr>
          <p:cNvPr id="20" name="TextBox 19">
            <a:extLst>
              <a:ext uri="{FF2B5EF4-FFF2-40B4-BE49-F238E27FC236}">
                <a16:creationId xmlns:a16="http://schemas.microsoft.com/office/drawing/2014/main" id="{DB3D5312-14C7-4352-8500-10C0BE155A5A}"/>
              </a:ext>
            </a:extLst>
          </p:cNvPr>
          <p:cNvSpPr txBox="1"/>
          <p:nvPr/>
        </p:nvSpPr>
        <p:spPr>
          <a:xfrm>
            <a:off x="7060824" y="1860035"/>
            <a:ext cx="1216184" cy="515910"/>
          </a:xfrm>
          <a:prstGeom prst="rect">
            <a:avLst/>
          </a:prstGeom>
          <a:noFill/>
        </p:spPr>
        <p:txBody>
          <a:bodyPr wrap="square" lIns="0" tIns="0" rIns="0" bIns="0" rtlCol="0">
            <a:spAutoFit/>
          </a:bodyPr>
          <a:lstStyle/>
          <a:p>
            <a:pPr algn="ctr" defTabSz="912114">
              <a:lnSpc>
                <a:spcPct val="80000"/>
              </a:lnSpc>
              <a:defRPr/>
            </a:pPr>
            <a:r>
              <a:rPr lang="it-IT" sz="1397" kern="0" dirty="0">
                <a:solidFill>
                  <a:schemeClr val="accent1">
                    <a:lumMod val="60000"/>
                    <a:lumOff val="40000"/>
                  </a:schemeClr>
                </a:solidFill>
              </a:rPr>
              <a:t>HOW CAN WE MAKE IT BETTER?</a:t>
            </a:r>
          </a:p>
        </p:txBody>
      </p:sp>
      <p:sp>
        <p:nvSpPr>
          <p:cNvPr id="21" name="Rectangle 20">
            <a:extLst>
              <a:ext uri="{FF2B5EF4-FFF2-40B4-BE49-F238E27FC236}">
                <a16:creationId xmlns:a16="http://schemas.microsoft.com/office/drawing/2014/main" id="{AB3AC9D7-589A-412A-A165-B0D266F10D04}"/>
              </a:ext>
            </a:extLst>
          </p:cNvPr>
          <p:cNvSpPr/>
          <p:nvPr/>
        </p:nvSpPr>
        <p:spPr>
          <a:xfrm>
            <a:off x="2652159" y="1406633"/>
            <a:ext cx="8008887" cy="3152985"/>
          </a:xfrm>
          <a:prstGeom prst="rect">
            <a:avLst/>
          </a:prstGeom>
          <a:noFill/>
          <a:ln w="38100">
            <a:solidFill>
              <a:schemeClr val="accent5">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defRPr/>
            </a:pPr>
            <a:endParaRPr lang="it-IT" sz="1795" kern="0" dirty="0">
              <a:solidFill>
                <a:schemeClr val="bg1"/>
              </a:solidFill>
            </a:endParaRPr>
          </a:p>
        </p:txBody>
      </p:sp>
      <p:sp>
        <p:nvSpPr>
          <p:cNvPr id="22" name="TextBox 21">
            <a:extLst>
              <a:ext uri="{FF2B5EF4-FFF2-40B4-BE49-F238E27FC236}">
                <a16:creationId xmlns:a16="http://schemas.microsoft.com/office/drawing/2014/main" id="{5B41F4C6-6327-4142-B77A-0749FFBB7796}"/>
              </a:ext>
            </a:extLst>
          </p:cNvPr>
          <p:cNvSpPr txBox="1"/>
          <p:nvPr/>
        </p:nvSpPr>
        <p:spPr>
          <a:xfrm>
            <a:off x="7027405" y="3703629"/>
            <a:ext cx="3633641" cy="687624"/>
          </a:xfrm>
          <a:prstGeom prst="rect">
            <a:avLst/>
          </a:prstGeom>
          <a:noFill/>
        </p:spPr>
        <p:txBody>
          <a:bodyPr wrap="square" lIns="0" tIns="0" rIns="0" bIns="0" rtlCol="0">
            <a:spAutoFit/>
          </a:bodyPr>
          <a:lstStyle/>
          <a:p>
            <a:pPr defTabSz="912114">
              <a:lnSpc>
                <a:spcPct val="80000"/>
              </a:lnSpc>
              <a:defRPr/>
            </a:pPr>
            <a:r>
              <a:rPr lang="it-IT" sz="2793" b="1" kern="0" dirty="0">
                <a:solidFill>
                  <a:schemeClr val="accent3"/>
                </a:solidFill>
              </a:rPr>
              <a:t>Thingworx Advanced Analytics</a:t>
            </a:r>
          </a:p>
        </p:txBody>
      </p:sp>
      <p:sp>
        <p:nvSpPr>
          <p:cNvPr id="23" name="Title 2">
            <a:extLst>
              <a:ext uri="{FF2B5EF4-FFF2-40B4-BE49-F238E27FC236}">
                <a16:creationId xmlns:a16="http://schemas.microsoft.com/office/drawing/2014/main" id="{BFAC5490-9731-4F77-B5E4-7F0DC2435B79}"/>
              </a:ext>
            </a:extLst>
          </p:cNvPr>
          <p:cNvSpPr txBox="1">
            <a:spLocks/>
          </p:cNvSpPr>
          <p:nvPr/>
        </p:nvSpPr>
        <p:spPr>
          <a:xfrm>
            <a:off x="403274" y="442612"/>
            <a:ext cx="9577447" cy="343857"/>
          </a:xfrm>
          <a:prstGeom prst="rect">
            <a:avLst/>
          </a:prstGeom>
        </p:spPr>
        <p:txBody>
          <a:bodyPr>
            <a:normAutofit fontScale="92500" lnSpcReduction="20000"/>
          </a:bodyPr>
          <a:lstStyle>
            <a:lvl1pPr algn="l" defTabSz="1086775" rtl="0" eaLnBrk="1" latinLnBrk="0" hangingPunct="1">
              <a:lnSpc>
                <a:spcPct val="80000"/>
              </a:lnSpc>
              <a:spcBef>
                <a:spcPct val="0"/>
              </a:spcBef>
              <a:buNone/>
              <a:defRPr sz="2800" b="0" kern="1200" cap="all" baseline="0">
                <a:solidFill>
                  <a:schemeClr val="bg2"/>
                </a:solidFill>
                <a:latin typeface="+mj-lt"/>
                <a:ea typeface="+mj-ea"/>
                <a:cs typeface="+mj-cs"/>
              </a:defRPr>
            </a:lvl1pPr>
          </a:lstStyle>
          <a:p>
            <a:r>
              <a:rPr lang="en-US" dirty="0"/>
              <a:t>Analytics Maturity model</a:t>
            </a:r>
          </a:p>
        </p:txBody>
      </p:sp>
      <p:sp>
        <p:nvSpPr>
          <p:cNvPr id="24" name="TextBox 23">
            <a:extLst>
              <a:ext uri="{FF2B5EF4-FFF2-40B4-BE49-F238E27FC236}">
                <a16:creationId xmlns:a16="http://schemas.microsoft.com/office/drawing/2014/main" id="{C58ED678-BB19-4993-A73F-1BA6C3F8A010}"/>
              </a:ext>
            </a:extLst>
          </p:cNvPr>
          <p:cNvSpPr txBox="1"/>
          <p:nvPr/>
        </p:nvSpPr>
        <p:spPr>
          <a:xfrm>
            <a:off x="6226206" y="4860681"/>
            <a:ext cx="3884629" cy="689420"/>
          </a:xfrm>
          <a:prstGeom prst="rect">
            <a:avLst/>
          </a:prstGeom>
          <a:noFill/>
        </p:spPr>
        <p:txBody>
          <a:bodyPr wrap="square" lIns="0" tIns="0" rIns="0" bIns="0" rtlCol="0">
            <a:spAutoFit/>
          </a:bodyPr>
          <a:lstStyle/>
          <a:p>
            <a:pPr>
              <a:lnSpc>
                <a:spcPct val="80000"/>
              </a:lnSpc>
            </a:pPr>
            <a:r>
              <a:rPr lang="it-IT" sz="2800" b="1" dirty="0">
                <a:solidFill>
                  <a:schemeClr val="accent3"/>
                </a:solidFill>
              </a:rPr>
              <a:t>ThingWorx Foundation (Standard)</a:t>
            </a:r>
          </a:p>
        </p:txBody>
      </p:sp>
    </p:spTree>
    <p:extLst>
      <p:ext uri="{BB962C8B-B14F-4D97-AF65-F5344CB8AC3E}">
        <p14:creationId xmlns:p14="http://schemas.microsoft.com/office/powerpoint/2010/main" val="138809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7" name="Elbow Connector 176"/>
          <p:cNvCxnSpPr>
            <a:stCxn id="383" idx="3"/>
            <a:endCxn id="182" idx="2"/>
          </p:cNvCxnSpPr>
          <p:nvPr/>
        </p:nvCxnSpPr>
        <p:spPr>
          <a:xfrm>
            <a:off x="10238554" y="4052286"/>
            <a:ext cx="738411" cy="530851"/>
          </a:xfrm>
          <a:prstGeom prst="bentConnector4">
            <a:avLst>
              <a:gd name="adj1" fmla="val 38420"/>
              <a:gd name="adj2" fmla="val 50722"/>
            </a:avLst>
          </a:prstGeom>
          <a:ln>
            <a:solidFill>
              <a:schemeClr val="tx1"/>
            </a:solidFill>
            <a:headEnd type="none"/>
            <a:tailEnd type="triangle"/>
          </a:ln>
        </p:spPr>
        <p:style>
          <a:lnRef idx="2">
            <a:schemeClr val="accent4"/>
          </a:lnRef>
          <a:fillRef idx="0">
            <a:schemeClr val="accent4"/>
          </a:fillRef>
          <a:effectRef idx="1">
            <a:schemeClr val="accent4"/>
          </a:effectRef>
          <a:fontRef idx="minor">
            <a:schemeClr val="tx1"/>
          </a:fontRef>
        </p:style>
      </p:cxnSp>
      <p:pic>
        <p:nvPicPr>
          <p:cNvPr id="104" name="Picture 10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32734" y="5617559"/>
            <a:ext cx="646705" cy="657666"/>
          </a:xfrm>
          <a:prstGeom prst="rect">
            <a:avLst/>
          </a:prstGeom>
        </p:spPr>
      </p:pic>
      <p:cxnSp>
        <p:nvCxnSpPr>
          <p:cNvPr id="190" name="Elbow Connector 189"/>
          <p:cNvCxnSpPr>
            <a:stCxn id="163" idx="2"/>
            <a:endCxn id="131" idx="3"/>
          </p:cNvCxnSpPr>
          <p:nvPr/>
        </p:nvCxnSpPr>
        <p:spPr>
          <a:xfrm rot="16200000" flipH="1">
            <a:off x="4321555" y="1726522"/>
            <a:ext cx="924369" cy="1252267"/>
          </a:xfrm>
          <a:prstGeom prst="bentConnector3">
            <a:avLst>
              <a:gd name="adj1" fmla="val 50000"/>
            </a:avLst>
          </a:prstGeom>
          <a:ln>
            <a:solidFill>
              <a:schemeClr val="tx1"/>
            </a:solidFill>
            <a:headEnd type="triangle"/>
            <a:tailEnd type="triangle"/>
          </a:ln>
          <a:effectLst/>
        </p:spPr>
        <p:style>
          <a:lnRef idx="2">
            <a:schemeClr val="accent4"/>
          </a:lnRef>
          <a:fillRef idx="0">
            <a:schemeClr val="accent4"/>
          </a:fillRef>
          <a:effectRef idx="1">
            <a:schemeClr val="accent4"/>
          </a:effectRef>
          <a:fontRef idx="minor">
            <a:schemeClr val="tx1"/>
          </a:fontRef>
        </p:style>
      </p:cxnSp>
      <p:pic>
        <p:nvPicPr>
          <p:cNvPr id="174" name="Picture 173" descr="Cloud by cinemacookie"/>
          <p:cNvPicPr>
            <a:picLocks noChangeAspect="1"/>
          </p:cNvPicPr>
          <p:nvPr/>
        </p:nvPicPr>
        <p:blipFill>
          <a:blip r:embed="rId4"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867440" y="1054589"/>
            <a:ext cx="1083988" cy="486258"/>
          </a:xfrm>
          <a:prstGeom prst="rect">
            <a:avLst/>
          </a:prstGeom>
        </p:spPr>
      </p:pic>
      <p:sp>
        <p:nvSpPr>
          <p:cNvPr id="3" name="Title 2"/>
          <p:cNvSpPr>
            <a:spLocks noGrp="1"/>
          </p:cNvSpPr>
          <p:nvPr>
            <p:ph type="title"/>
          </p:nvPr>
        </p:nvSpPr>
        <p:spPr>
          <a:xfrm>
            <a:off x="297586" y="316748"/>
            <a:ext cx="4177760" cy="344710"/>
          </a:xfrm>
        </p:spPr>
        <p:txBody>
          <a:bodyPr/>
          <a:lstStyle/>
          <a:p>
            <a:r>
              <a:rPr lang="en-US" dirty="0"/>
              <a:t>Connect anything</a:t>
            </a:r>
          </a:p>
        </p:txBody>
      </p:sp>
      <p:grpSp>
        <p:nvGrpSpPr>
          <p:cNvPr id="14" name="Group 13"/>
          <p:cNvGrpSpPr/>
          <p:nvPr/>
        </p:nvGrpSpPr>
        <p:grpSpPr>
          <a:xfrm>
            <a:off x="4430589" y="2814841"/>
            <a:ext cx="1958568" cy="2053682"/>
            <a:chOff x="4363109" y="2975209"/>
            <a:chExt cx="1538088" cy="1714044"/>
          </a:xfrm>
        </p:grpSpPr>
        <p:sp>
          <p:nvSpPr>
            <p:cNvPr id="131" name="Hexagon 130"/>
            <p:cNvSpPr/>
            <p:nvPr/>
          </p:nvSpPr>
          <p:spPr>
            <a:xfrm rot="5400000">
              <a:off x="4275131" y="3063187"/>
              <a:ext cx="1714044" cy="1538088"/>
            </a:xfrm>
            <a:prstGeom prst="hexagon">
              <a:avLst>
                <a:gd name="adj" fmla="val 29546"/>
                <a:gd name="vf" fmla="val 115470"/>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132" name="Hexagon 131"/>
            <p:cNvSpPr/>
            <p:nvPr/>
          </p:nvSpPr>
          <p:spPr>
            <a:xfrm rot="5400000">
              <a:off x="4580353" y="3337076"/>
              <a:ext cx="1103601" cy="990309"/>
            </a:xfrm>
            <a:prstGeom prst="hexagon">
              <a:avLst>
                <a:gd name="adj" fmla="val 29546"/>
                <a:gd name="vf" fmla="val 11547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13" name="Group 12"/>
          <p:cNvGrpSpPr/>
          <p:nvPr/>
        </p:nvGrpSpPr>
        <p:grpSpPr>
          <a:xfrm>
            <a:off x="5001529" y="3362430"/>
            <a:ext cx="816696" cy="912418"/>
            <a:chOff x="4811475" y="3432237"/>
            <a:chExt cx="641362" cy="761522"/>
          </a:xfrm>
        </p:grpSpPr>
        <p:grpSp>
          <p:nvGrpSpPr>
            <p:cNvPr id="134" name="Group 133"/>
            <p:cNvGrpSpPr/>
            <p:nvPr/>
          </p:nvGrpSpPr>
          <p:grpSpPr>
            <a:xfrm>
              <a:off x="4996221" y="3668963"/>
              <a:ext cx="271863" cy="307681"/>
              <a:chOff x="5991224" y="2787015"/>
              <a:chExt cx="204352" cy="238978"/>
            </a:xfrm>
            <a:solidFill>
              <a:schemeClr val="bg1"/>
            </a:solidFill>
          </p:grpSpPr>
          <p:sp>
            <p:nvSpPr>
              <p:cNvPr id="137" name="Isosceles Triangle 136"/>
              <p:cNvSpPr/>
              <p:nvPr/>
            </p:nvSpPr>
            <p:spPr>
              <a:xfrm rot="5400000">
                <a:off x="5986527" y="2862431"/>
                <a:ext cx="97541" cy="8814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138" name="Diamond 137"/>
              <p:cNvSpPr/>
              <p:nvPr/>
            </p:nvSpPr>
            <p:spPr>
              <a:xfrm>
                <a:off x="5998844" y="2787015"/>
                <a:ext cx="188595" cy="110106"/>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139" name="Diamond 138"/>
              <p:cNvSpPr/>
              <p:nvPr/>
            </p:nvSpPr>
            <p:spPr>
              <a:xfrm>
                <a:off x="5998844" y="2915887"/>
                <a:ext cx="188595" cy="110106"/>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140" name="Isosceles Triangle 139"/>
              <p:cNvSpPr/>
              <p:nvPr/>
            </p:nvSpPr>
            <p:spPr>
              <a:xfrm rot="16200000" flipH="1">
                <a:off x="6102732" y="2862431"/>
                <a:ext cx="97541" cy="8814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sp>
          <p:nvSpPr>
            <p:cNvPr id="135" name="TextBox 134"/>
            <p:cNvSpPr txBox="1"/>
            <p:nvPr/>
          </p:nvSpPr>
          <p:spPr>
            <a:xfrm>
              <a:off x="4885228" y="3432237"/>
              <a:ext cx="493848" cy="237767"/>
            </a:xfrm>
            <a:prstGeom prst="rect">
              <a:avLst/>
            </a:prstGeom>
            <a:noFill/>
          </p:spPr>
          <p:txBody>
            <a:bodyPr wrap="non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FFFFFF"/>
                  </a:solidFill>
                  <a:effectLst/>
                  <a:uLnTx/>
                  <a:uFillTx/>
                  <a:latin typeface="Century Gothic" panose="020F0302020204030204"/>
                  <a:ea typeface="+mn-ea"/>
                  <a:cs typeface="+mn-cs"/>
                </a:rPr>
                <a:t>thing</a:t>
              </a:r>
            </a:p>
          </p:txBody>
        </p:sp>
        <p:sp>
          <p:nvSpPr>
            <p:cNvPr id="136" name="TextBox 135"/>
            <p:cNvSpPr txBox="1"/>
            <p:nvPr/>
          </p:nvSpPr>
          <p:spPr>
            <a:xfrm>
              <a:off x="4811475" y="3955992"/>
              <a:ext cx="641362" cy="237767"/>
            </a:xfrm>
            <a:prstGeom prst="rect">
              <a:avLst/>
            </a:prstGeom>
            <a:noFill/>
          </p:spPr>
          <p:txBody>
            <a:bodyPr wrap="non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FFFFFF"/>
                  </a:solidFill>
                  <a:effectLst/>
                  <a:uLnTx/>
                  <a:uFillTx/>
                  <a:latin typeface="Century Gothic" panose="020F0302020204030204"/>
                  <a:ea typeface="+mn-ea"/>
                  <a:cs typeface="+mn-cs"/>
                </a:rPr>
                <a:t>model</a:t>
              </a:r>
            </a:p>
          </p:txBody>
        </p:sp>
      </p:grpSp>
      <p:sp>
        <p:nvSpPr>
          <p:cNvPr id="130" name="TextBox 129"/>
          <p:cNvSpPr txBox="1"/>
          <p:nvPr/>
        </p:nvSpPr>
        <p:spPr>
          <a:xfrm>
            <a:off x="5101085" y="2963257"/>
            <a:ext cx="542960" cy="284866"/>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CC04A"/>
                </a:solidFill>
                <a:effectLst/>
                <a:uLnTx/>
                <a:uFillTx/>
                <a:latin typeface="Century Gothic" panose="020F0302020204030204"/>
                <a:ea typeface="+mn-ea"/>
                <a:cs typeface="+mn-cs"/>
              </a:rPr>
              <a:t>API</a:t>
            </a:r>
          </a:p>
        </p:txBody>
      </p:sp>
      <p:pic>
        <p:nvPicPr>
          <p:cNvPr id="102" name="Picture 10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179363" y="683507"/>
            <a:ext cx="391765" cy="365802"/>
          </a:xfrm>
          <a:prstGeom prst="rect">
            <a:avLst/>
          </a:prstGeom>
        </p:spPr>
      </p:pic>
      <p:grpSp>
        <p:nvGrpSpPr>
          <p:cNvPr id="73" name="Group 72"/>
          <p:cNvGrpSpPr/>
          <p:nvPr/>
        </p:nvGrpSpPr>
        <p:grpSpPr>
          <a:xfrm>
            <a:off x="996898" y="3051894"/>
            <a:ext cx="596556" cy="664889"/>
            <a:chOff x="837778" y="2988970"/>
            <a:chExt cx="675646" cy="753039"/>
          </a:xfrm>
        </p:grpSpPr>
        <p:sp>
          <p:nvSpPr>
            <p:cNvPr id="38" name="TextBox 37"/>
            <p:cNvSpPr txBox="1"/>
            <p:nvPr/>
          </p:nvSpPr>
          <p:spPr>
            <a:xfrm>
              <a:off x="837778" y="3576066"/>
              <a:ext cx="675646" cy="165943"/>
            </a:xfrm>
            <a:prstGeom prst="rect">
              <a:avLst/>
            </a:prstGeom>
            <a:noFill/>
          </p:spPr>
          <p:txBody>
            <a:bodyPr wrap="none" lIns="0" tIns="0" rIns="0" bIns="0" rtlCol="0">
              <a:spAutoFit/>
            </a:bodyPr>
            <a:lstStyle/>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D4647"/>
                  </a:solidFill>
                  <a:effectLst/>
                  <a:uLnTx/>
                  <a:uFillTx/>
                  <a:latin typeface="Century Gothic" panose="020F0302020204030204"/>
                  <a:ea typeface="+mn-ea"/>
                  <a:cs typeface="+mn-cs"/>
                </a:rPr>
                <a:t>Gateway</a:t>
              </a:r>
            </a:p>
          </p:txBody>
        </p:sp>
        <p:pic>
          <p:nvPicPr>
            <p:cNvPr id="40" name="Picture 3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5910" y="2988970"/>
              <a:ext cx="618984" cy="582416"/>
            </a:xfrm>
            <a:prstGeom prst="rect">
              <a:avLst/>
            </a:prstGeom>
          </p:spPr>
        </p:pic>
      </p:grpSp>
      <p:cxnSp>
        <p:nvCxnSpPr>
          <p:cNvPr id="51" name="Straight Arrow Connector 50"/>
          <p:cNvCxnSpPr/>
          <p:nvPr/>
        </p:nvCxnSpPr>
        <p:spPr>
          <a:xfrm flipH="1" flipV="1">
            <a:off x="6403948" y="3405892"/>
            <a:ext cx="4174355" cy="26427"/>
          </a:xfrm>
          <a:prstGeom prst="straightConnector1">
            <a:avLst/>
          </a:prstGeom>
          <a:ln>
            <a:solidFill>
              <a:schemeClr val="tx1"/>
            </a:solidFill>
            <a:headEnd type="triangle"/>
            <a:tailEnd type="triangle"/>
          </a:ln>
        </p:spPr>
        <p:style>
          <a:lnRef idx="2">
            <a:schemeClr val="accent4"/>
          </a:lnRef>
          <a:fillRef idx="0">
            <a:schemeClr val="accent4"/>
          </a:fillRef>
          <a:effectRef idx="1">
            <a:schemeClr val="accent4"/>
          </a:effectRef>
          <a:fontRef idx="minor">
            <a:schemeClr val="tx1"/>
          </a:fontRef>
        </p:style>
      </p:cxnSp>
      <p:cxnSp>
        <p:nvCxnSpPr>
          <p:cNvPr id="53" name="Straight Arrow Connector 52"/>
          <p:cNvCxnSpPr/>
          <p:nvPr/>
        </p:nvCxnSpPr>
        <p:spPr>
          <a:xfrm>
            <a:off x="5402925" y="1904303"/>
            <a:ext cx="6948" cy="910538"/>
          </a:xfrm>
          <a:prstGeom prst="straightConnector1">
            <a:avLst/>
          </a:prstGeom>
          <a:ln>
            <a:solidFill>
              <a:schemeClr val="tx1"/>
            </a:solidFill>
            <a:headEnd type="triangle"/>
            <a:tailEnd type="triangle"/>
          </a:ln>
          <a:effectLst>
            <a:outerShdw blurRad="40000" dist="20000" dir="5400000" rotWithShape="0">
              <a:srgbClr val="000000">
                <a:alpha val="38000"/>
              </a:srgbClr>
            </a:outerShdw>
          </a:effectLst>
        </p:spPr>
        <p:style>
          <a:lnRef idx="2">
            <a:schemeClr val="accent4"/>
          </a:lnRef>
          <a:fillRef idx="0">
            <a:schemeClr val="accent4"/>
          </a:fillRef>
          <a:effectRef idx="1">
            <a:schemeClr val="accent4"/>
          </a:effectRef>
          <a:fontRef idx="minor">
            <a:schemeClr val="tx1"/>
          </a:fontRef>
        </p:style>
      </p:cxnSp>
      <p:cxnSp>
        <p:nvCxnSpPr>
          <p:cNvPr id="68" name="Elbow Connector 67"/>
          <p:cNvCxnSpPr/>
          <p:nvPr/>
        </p:nvCxnSpPr>
        <p:spPr>
          <a:xfrm rot="16200000" flipV="1">
            <a:off x="8265922" y="1779341"/>
            <a:ext cx="1665173" cy="405827"/>
          </a:xfrm>
          <a:prstGeom prst="bentConnector3">
            <a:avLst>
              <a:gd name="adj1" fmla="val 100096"/>
            </a:avLst>
          </a:prstGeom>
          <a:ln>
            <a:solidFill>
              <a:schemeClr val="tx1"/>
            </a:solidFill>
            <a:headEnd type="none"/>
            <a:tailEnd type="triangle"/>
          </a:ln>
        </p:spPr>
        <p:style>
          <a:lnRef idx="2">
            <a:schemeClr val="accent4"/>
          </a:lnRef>
          <a:fillRef idx="0">
            <a:schemeClr val="accent4"/>
          </a:fillRef>
          <a:effectRef idx="1">
            <a:schemeClr val="accent4"/>
          </a:effectRef>
          <a:fontRef idx="minor">
            <a:schemeClr val="tx1"/>
          </a:fontRef>
        </p:style>
      </p:cxnSp>
      <p:grpSp>
        <p:nvGrpSpPr>
          <p:cNvPr id="121" name="Group 120"/>
          <p:cNvGrpSpPr/>
          <p:nvPr/>
        </p:nvGrpSpPr>
        <p:grpSpPr>
          <a:xfrm>
            <a:off x="1755524" y="2425669"/>
            <a:ext cx="667232" cy="686437"/>
            <a:chOff x="576613" y="5333973"/>
            <a:chExt cx="826012" cy="897829"/>
          </a:xfrm>
        </p:grpSpPr>
        <p:pic>
          <p:nvPicPr>
            <p:cNvPr id="122" name="Picture 12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0827" y="5333973"/>
              <a:ext cx="347513" cy="373136"/>
            </a:xfrm>
            <a:prstGeom prst="rect">
              <a:avLst/>
            </a:prstGeom>
          </p:spPr>
        </p:pic>
        <p:pic>
          <p:nvPicPr>
            <p:cNvPr id="123" name="Picture 12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90034" y="5634720"/>
              <a:ext cx="812590" cy="293125"/>
            </a:xfrm>
            <a:prstGeom prst="rect">
              <a:avLst/>
            </a:prstGeom>
          </p:spPr>
        </p:pic>
        <p:sp>
          <p:nvSpPr>
            <p:cNvPr id="124" name="TextBox 123"/>
            <p:cNvSpPr txBox="1"/>
            <p:nvPr/>
          </p:nvSpPr>
          <p:spPr>
            <a:xfrm>
              <a:off x="576613" y="5954803"/>
              <a:ext cx="826012" cy="276999"/>
            </a:xfrm>
            <a:prstGeom prst="rect">
              <a:avLst/>
            </a:prstGeom>
            <a:noFill/>
          </p:spPr>
          <p:txBody>
            <a:bodyPr wrap="square" lIns="0" tIns="0" rIns="0" bIns="0" rtlCol="0">
              <a:spAutoFit/>
            </a:bodyPr>
            <a:lstStyle/>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D4647"/>
                  </a:solidFill>
                  <a:effectLst/>
                  <a:uLnTx/>
                  <a:uFillTx/>
                  <a:latin typeface="Century Gothic" panose="020F0302020204030204"/>
                  <a:ea typeface="+mn-ea"/>
                  <a:cs typeface="+mn-cs"/>
                </a:rPr>
                <a:t>Embedded System</a:t>
              </a:r>
            </a:p>
          </p:txBody>
        </p:sp>
      </p:grpSp>
      <p:pic>
        <p:nvPicPr>
          <p:cNvPr id="126" name="Picture 12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66384" y="906274"/>
            <a:ext cx="365426" cy="213436"/>
          </a:xfrm>
          <a:prstGeom prst="rect">
            <a:avLst/>
          </a:prstGeom>
        </p:spPr>
      </p:pic>
      <p:pic>
        <p:nvPicPr>
          <p:cNvPr id="127" name="Picture 126"/>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301031" y="660600"/>
            <a:ext cx="209197" cy="283317"/>
          </a:xfrm>
          <a:prstGeom prst="rect">
            <a:avLst/>
          </a:prstGeom>
        </p:spPr>
      </p:pic>
      <p:pic>
        <p:nvPicPr>
          <p:cNvPr id="128" name="Picture 12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295303" y="1061462"/>
            <a:ext cx="228259" cy="329422"/>
          </a:xfrm>
          <a:prstGeom prst="rect">
            <a:avLst/>
          </a:prstGeom>
        </p:spPr>
      </p:pic>
      <p:sp>
        <p:nvSpPr>
          <p:cNvPr id="142" name="Freeform 141"/>
          <p:cNvSpPr/>
          <p:nvPr/>
        </p:nvSpPr>
        <p:spPr>
          <a:xfrm>
            <a:off x="7035543" y="700464"/>
            <a:ext cx="211489" cy="267601"/>
          </a:xfrm>
          <a:custGeom>
            <a:avLst/>
            <a:gdLst>
              <a:gd name="connsiteX0" fmla="*/ 1538582 w 3077164"/>
              <a:gd name="connsiteY0" fmla="*/ 1616377 h 3868752"/>
              <a:gd name="connsiteX1" fmla="*/ 747274 w 3077164"/>
              <a:gd name="connsiteY1" fmla="*/ 2407685 h 3868752"/>
              <a:gd name="connsiteX2" fmla="*/ 751108 w 3077164"/>
              <a:gd name="connsiteY2" fmla="*/ 2483610 h 3868752"/>
              <a:gd name="connsiteX3" fmla="*/ 769562 w 3077164"/>
              <a:gd name="connsiteY3" fmla="*/ 2469697 h 3868752"/>
              <a:gd name="connsiteX4" fmla="*/ 1018886 w 3077164"/>
              <a:gd name="connsiteY4" fmla="*/ 2415748 h 3868752"/>
              <a:gd name="connsiteX5" fmla="*/ 1247486 w 3077164"/>
              <a:gd name="connsiteY5" fmla="*/ 2389371 h 3868752"/>
              <a:gd name="connsiteX6" fmla="*/ 1493670 w 3077164"/>
              <a:gd name="connsiteY6" fmla="*/ 2415748 h 3868752"/>
              <a:gd name="connsiteX7" fmla="*/ 1713478 w 3077164"/>
              <a:gd name="connsiteY7" fmla="*/ 2512463 h 3868752"/>
              <a:gd name="connsiteX8" fmla="*/ 1871740 w 3077164"/>
              <a:gd name="connsiteY8" fmla="*/ 2600386 h 3868752"/>
              <a:gd name="connsiteX9" fmla="*/ 2030001 w 3077164"/>
              <a:gd name="connsiteY9" fmla="*/ 2653140 h 3868752"/>
              <a:gd name="connsiteX10" fmla="*/ 2197055 w 3077164"/>
              <a:gd name="connsiteY10" fmla="*/ 2670724 h 3868752"/>
              <a:gd name="connsiteX11" fmla="*/ 2283329 w 3077164"/>
              <a:gd name="connsiteY11" fmla="*/ 2642506 h 3868752"/>
              <a:gd name="connsiteX12" fmla="*/ 2295277 w 3077164"/>
              <a:gd name="connsiteY12" fmla="*/ 2639253 h 3868752"/>
              <a:gd name="connsiteX13" fmla="*/ 2313814 w 3077164"/>
              <a:gd name="connsiteY13" fmla="*/ 2567161 h 3868752"/>
              <a:gd name="connsiteX14" fmla="*/ 2329890 w 3077164"/>
              <a:gd name="connsiteY14" fmla="*/ 2407685 h 3868752"/>
              <a:gd name="connsiteX15" fmla="*/ 1538582 w 3077164"/>
              <a:gd name="connsiteY15" fmla="*/ 1616377 h 3868752"/>
              <a:gd name="connsiteX16" fmla="*/ 1538582 w 3077164"/>
              <a:gd name="connsiteY16" fmla="*/ 1504697 h 3868752"/>
              <a:gd name="connsiteX17" fmla="*/ 2450831 w 3077164"/>
              <a:gd name="connsiteY17" fmla="*/ 2416946 h 3868752"/>
              <a:gd name="connsiteX18" fmla="*/ 1538582 w 3077164"/>
              <a:gd name="connsiteY18" fmla="*/ 3329195 h 3868752"/>
              <a:gd name="connsiteX19" fmla="*/ 626333 w 3077164"/>
              <a:gd name="connsiteY19" fmla="*/ 2416946 h 3868752"/>
              <a:gd name="connsiteX20" fmla="*/ 1538582 w 3077164"/>
              <a:gd name="connsiteY20" fmla="*/ 1504697 h 3868752"/>
              <a:gd name="connsiteX21" fmla="*/ 1538583 w 3077164"/>
              <a:gd name="connsiteY21" fmla="*/ 1278342 h 3868752"/>
              <a:gd name="connsiteX22" fmla="*/ 399979 w 3077164"/>
              <a:gd name="connsiteY22" fmla="*/ 2416946 h 3868752"/>
              <a:gd name="connsiteX23" fmla="*/ 1538583 w 3077164"/>
              <a:gd name="connsiteY23" fmla="*/ 3555550 h 3868752"/>
              <a:gd name="connsiteX24" fmla="*/ 2677187 w 3077164"/>
              <a:gd name="connsiteY24" fmla="*/ 2416946 h 3868752"/>
              <a:gd name="connsiteX25" fmla="*/ 1538583 w 3077164"/>
              <a:gd name="connsiteY25" fmla="*/ 1278342 h 3868752"/>
              <a:gd name="connsiteX26" fmla="*/ 0 w 3077164"/>
              <a:gd name="connsiteY26" fmla="*/ 998802 h 3868752"/>
              <a:gd name="connsiteX27" fmla="*/ 3077164 w 3077164"/>
              <a:gd name="connsiteY27" fmla="*/ 998802 h 3868752"/>
              <a:gd name="connsiteX28" fmla="*/ 3077164 w 3077164"/>
              <a:gd name="connsiteY28" fmla="*/ 3868752 h 3868752"/>
              <a:gd name="connsiteX29" fmla="*/ 0 w 3077164"/>
              <a:gd name="connsiteY29" fmla="*/ 3868752 h 3868752"/>
              <a:gd name="connsiteX30" fmla="*/ 2590515 w 3077164"/>
              <a:gd name="connsiteY30" fmla="*/ 246640 h 3868752"/>
              <a:gd name="connsiteX31" fmla="*/ 2441832 w 3077164"/>
              <a:gd name="connsiteY31" fmla="*/ 395323 h 3868752"/>
              <a:gd name="connsiteX32" fmla="*/ 2590515 w 3077164"/>
              <a:gd name="connsiteY32" fmla="*/ 544006 h 3868752"/>
              <a:gd name="connsiteX33" fmla="*/ 2739198 w 3077164"/>
              <a:gd name="connsiteY33" fmla="*/ 395323 h 3868752"/>
              <a:gd name="connsiteX34" fmla="*/ 2590515 w 3077164"/>
              <a:gd name="connsiteY34" fmla="*/ 246640 h 3868752"/>
              <a:gd name="connsiteX35" fmla="*/ 2107295 w 3077164"/>
              <a:gd name="connsiteY35" fmla="*/ 246640 h 3868752"/>
              <a:gd name="connsiteX36" fmla="*/ 1958612 w 3077164"/>
              <a:gd name="connsiteY36" fmla="*/ 395323 h 3868752"/>
              <a:gd name="connsiteX37" fmla="*/ 2107295 w 3077164"/>
              <a:gd name="connsiteY37" fmla="*/ 544006 h 3868752"/>
              <a:gd name="connsiteX38" fmla="*/ 2255978 w 3077164"/>
              <a:gd name="connsiteY38" fmla="*/ 395323 h 3868752"/>
              <a:gd name="connsiteX39" fmla="*/ 2107295 w 3077164"/>
              <a:gd name="connsiteY39" fmla="*/ 246640 h 3868752"/>
              <a:gd name="connsiteX40" fmla="*/ 334536 w 3077164"/>
              <a:gd name="connsiteY40" fmla="*/ 216903 h 3868752"/>
              <a:gd name="connsiteX41" fmla="*/ 334536 w 3077164"/>
              <a:gd name="connsiteY41" fmla="*/ 573743 h 3868752"/>
              <a:gd name="connsiteX42" fmla="*/ 1196897 w 3077164"/>
              <a:gd name="connsiteY42" fmla="*/ 573743 h 3868752"/>
              <a:gd name="connsiteX43" fmla="*/ 1196897 w 3077164"/>
              <a:gd name="connsiteY43" fmla="*/ 216903 h 3868752"/>
              <a:gd name="connsiteX44" fmla="*/ 0 w 3077164"/>
              <a:gd name="connsiteY44" fmla="*/ 0 h 3868752"/>
              <a:gd name="connsiteX45" fmla="*/ 3077164 w 3077164"/>
              <a:gd name="connsiteY45" fmla="*/ 0 h 3868752"/>
              <a:gd name="connsiteX46" fmla="*/ 3077164 w 3077164"/>
              <a:gd name="connsiteY46" fmla="*/ 759596 h 3868752"/>
              <a:gd name="connsiteX47" fmla="*/ 0 w 3077164"/>
              <a:gd name="connsiteY47" fmla="*/ 759596 h 386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077164" h="3868752">
                <a:moveTo>
                  <a:pt x="1538582" y="1616377"/>
                </a:moveTo>
                <a:cubicBezTo>
                  <a:pt x="1101555" y="1616377"/>
                  <a:pt x="747274" y="1970658"/>
                  <a:pt x="747274" y="2407685"/>
                </a:cubicBezTo>
                <a:lnTo>
                  <a:pt x="751108" y="2483610"/>
                </a:lnTo>
                <a:lnTo>
                  <a:pt x="769562" y="2469697"/>
                </a:lnTo>
                <a:cubicBezTo>
                  <a:pt x="837050" y="2431025"/>
                  <a:pt x="948658" y="2426519"/>
                  <a:pt x="1018886" y="2415748"/>
                </a:cubicBezTo>
                <a:cubicBezTo>
                  <a:pt x="1112524" y="2401387"/>
                  <a:pt x="1168355" y="2389371"/>
                  <a:pt x="1247486" y="2389371"/>
                </a:cubicBezTo>
                <a:cubicBezTo>
                  <a:pt x="1326617" y="2389371"/>
                  <a:pt x="1416005" y="2395233"/>
                  <a:pt x="1493670" y="2415748"/>
                </a:cubicBezTo>
                <a:cubicBezTo>
                  <a:pt x="1571335" y="2436263"/>
                  <a:pt x="1660724" y="2483155"/>
                  <a:pt x="1713478" y="2512463"/>
                </a:cubicBezTo>
                <a:lnTo>
                  <a:pt x="1871740" y="2600386"/>
                </a:lnTo>
                <a:cubicBezTo>
                  <a:pt x="1924494" y="2623832"/>
                  <a:pt x="1974316" y="2647279"/>
                  <a:pt x="2030001" y="2653140"/>
                </a:cubicBezTo>
                <a:cubicBezTo>
                  <a:pt x="2085686" y="2659001"/>
                  <a:pt x="2144790" y="2671921"/>
                  <a:pt x="2197055" y="2670724"/>
                </a:cubicBezTo>
                <a:cubicBezTo>
                  <a:pt x="2223188" y="2670126"/>
                  <a:pt x="2255426" y="2653677"/>
                  <a:pt x="2283329" y="2642506"/>
                </a:cubicBezTo>
                <a:lnTo>
                  <a:pt x="2295277" y="2639253"/>
                </a:lnTo>
                <a:lnTo>
                  <a:pt x="2313814" y="2567161"/>
                </a:lnTo>
                <a:cubicBezTo>
                  <a:pt x="2324354" y="2515649"/>
                  <a:pt x="2329890" y="2462314"/>
                  <a:pt x="2329890" y="2407685"/>
                </a:cubicBezTo>
                <a:cubicBezTo>
                  <a:pt x="2329890" y="1970658"/>
                  <a:pt x="1975609" y="1616377"/>
                  <a:pt x="1538582" y="1616377"/>
                </a:cubicBezTo>
                <a:close/>
                <a:moveTo>
                  <a:pt x="1538582" y="1504697"/>
                </a:moveTo>
                <a:cubicBezTo>
                  <a:pt x="2042403" y="1504697"/>
                  <a:pt x="2450831" y="1913125"/>
                  <a:pt x="2450831" y="2416946"/>
                </a:cubicBezTo>
                <a:cubicBezTo>
                  <a:pt x="2450831" y="2920767"/>
                  <a:pt x="2042403" y="3329195"/>
                  <a:pt x="1538582" y="3329195"/>
                </a:cubicBezTo>
                <a:cubicBezTo>
                  <a:pt x="1034761" y="3329195"/>
                  <a:pt x="626333" y="2920767"/>
                  <a:pt x="626333" y="2416946"/>
                </a:cubicBezTo>
                <a:cubicBezTo>
                  <a:pt x="626333" y="1913125"/>
                  <a:pt x="1034761" y="1504697"/>
                  <a:pt x="1538582" y="1504697"/>
                </a:cubicBezTo>
                <a:close/>
                <a:moveTo>
                  <a:pt x="1538583" y="1278342"/>
                </a:moveTo>
                <a:cubicBezTo>
                  <a:pt x="909749" y="1278342"/>
                  <a:pt x="399979" y="1788112"/>
                  <a:pt x="399979" y="2416946"/>
                </a:cubicBezTo>
                <a:cubicBezTo>
                  <a:pt x="399979" y="3045780"/>
                  <a:pt x="909749" y="3555550"/>
                  <a:pt x="1538583" y="3555550"/>
                </a:cubicBezTo>
                <a:cubicBezTo>
                  <a:pt x="2167417" y="3555550"/>
                  <a:pt x="2677187" y="3045780"/>
                  <a:pt x="2677187" y="2416946"/>
                </a:cubicBezTo>
                <a:cubicBezTo>
                  <a:pt x="2677187" y="1788112"/>
                  <a:pt x="2167417" y="1278342"/>
                  <a:pt x="1538583" y="1278342"/>
                </a:cubicBezTo>
                <a:close/>
                <a:moveTo>
                  <a:pt x="0" y="998802"/>
                </a:moveTo>
                <a:lnTo>
                  <a:pt x="3077164" y="998802"/>
                </a:lnTo>
                <a:lnTo>
                  <a:pt x="3077164" y="3868752"/>
                </a:lnTo>
                <a:lnTo>
                  <a:pt x="0" y="3868752"/>
                </a:lnTo>
                <a:close/>
                <a:moveTo>
                  <a:pt x="2590515" y="246640"/>
                </a:moveTo>
                <a:cubicBezTo>
                  <a:pt x="2508400" y="246640"/>
                  <a:pt x="2441832" y="313208"/>
                  <a:pt x="2441832" y="395323"/>
                </a:cubicBezTo>
                <a:cubicBezTo>
                  <a:pt x="2441832" y="477438"/>
                  <a:pt x="2508400" y="544006"/>
                  <a:pt x="2590515" y="544006"/>
                </a:cubicBezTo>
                <a:cubicBezTo>
                  <a:pt x="2672630" y="544006"/>
                  <a:pt x="2739198" y="477438"/>
                  <a:pt x="2739198" y="395323"/>
                </a:cubicBezTo>
                <a:cubicBezTo>
                  <a:pt x="2739198" y="313208"/>
                  <a:pt x="2672630" y="246640"/>
                  <a:pt x="2590515" y="246640"/>
                </a:cubicBezTo>
                <a:close/>
                <a:moveTo>
                  <a:pt x="2107295" y="246640"/>
                </a:moveTo>
                <a:cubicBezTo>
                  <a:pt x="2025180" y="246640"/>
                  <a:pt x="1958612" y="313208"/>
                  <a:pt x="1958612" y="395323"/>
                </a:cubicBezTo>
                <a:cubicBezTo>
                  <a:pt x="1958612" y="477438"/>
                  <a:pt x="2025180" y="544006"/>
                  <a:pt x="2107295" y="544006"/>
                </a:cubicBezTo>
                <a:cubicBezTo>
                  <a:pt x="2189410" y="544006"/>
                  <a:pt x="2255978" y="477438"/>
                  <a:pt x="2255978" y="395323"/>
                </a:cubicBezTo>
                <a:cubicBezTo>
                  <a:pt x="2255978" y="313208"/>
                  <a:pt x="2189410" y="246640"/>
                  <a:pt x="2107295" y="246640"/>
                </a:cubicBezTo>
                <a:close/>
                <a:moveTo>
                  <a:pt x="334536" y="216903"/>
                </a:moveTo>
                <a:lnTo>
                  <a:pt x="334536" y="573743"/>
                </a:lnTo>
                <a:lnTo>
                  <a:pt x="1196897" y="573743"/>
                </a:lnTo>
                <a:lnTo>
                  <a:pt x="1196897" y="216903"/>
                </a:lnTo>
                <a:close/>
                <a:moveTo>
                  <a:pt x="0" y="0"/>
                </a:moveTo>
                <a:lnTo>
                  <a:pt x="3077164" y="0"/>
                </a:lnTo>
                <a:lnTo>
                  <a:pt x="3077164" y="759596"/>
                </a:lnTo>
                <a:lnTo>
                  <a:pt x="0" y="759596"/>
                </a:lnTo>
                <a:close/>
              </a:path>
            </a:pathLst>
          </a:custGeom>
          <a:solidFill>
            <a:srgbClr val="4D5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2195"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pic>
        <p:nvPicPr>
          <p:cNvPr id="149" name="Picture 148"/>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466492" y="5553880"/>
            <a:ext cx="1015804" cy="677203"/>
          </a:xfrm>
          <a:prstGeom prst="rect">
            <a:avLst/>
          </a:prstGeom>
        </p:spPr>
      </p:pic>
      <p:pic>
        <p:nvPicPr>
          <p:cNvPr id="150" name="Picture 149"/>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148545" y="5589127"/>
            <a:ext cx="615380" cy="615380"/>
          </a:xfrm>
          <a:prstGeom prst="rect">
            <a:avLst/>
          </a:prstGeom>
        </p:spPr>
      </p:pic>
      <p:pic>
        <p:nvPicPr>
          <p:cNvPr id="151" name="Picture 150"/>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886685" y="5584790"/>
            <a:ext cx="600337" cy="615380"/>
          </a:xfrm>
          <a:prstGeom prst="rect">
            <a:avLst/>
          </a:prstGeom>
        </p:spPr>
      </p:pic>
      <p:pic>
        <p:nvPicPr>
          <p:cNvPr id="152" name="Picture 15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535205" y="5619559"/>
            <a:ext cx="577453" cy="577453"/>
          </a:xfrm>
          <a:prstGeom prst="rect">
            <a:avLst/>
          </a:prstGeom>
        </p:spPr>
      </p:pic>
      <p:pic>
        <p:nvPicPr>
          <p:cNvPr id="153" name="Picture 15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275947" y="5602745"/>
            <a:ext cx="588567" cy="598121"/>
          </a:xfrm>
          <a:prstGeom prst="rect">
            <a:avLst/>
          </a:prstGeom>
        </p:spPr>
      </p:pic>
      <p:sp>
        <p:nvSpPr>
          <p:cNvPr id="154" name="TextBox 153"/>
          <p:cNvSpPr txBox="1"/>
          <p:nvPr/>
        </p:nvSpPr>
        <p:spPr>
          <a:xfrm>
            <a:off x="3878628" y="6310310"/>
            <a:ext cx="3578862" cy="138499"/>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3D4647"/>
                </a:solidFill>
                <a:effectLst/>
                <a:uLnTx/>
                <a:uFillTx/>
                <a:latin typeface="Century Gothic" panose="020F0302020204030204"/>
                <a:ea typeface="+mn-ea"/>
                <a:cs typeface="+mn-cs"/>
              </a:rPr>
              <a:t>ERP            PLM             SLM          Analytics      CRM        Historian</a:t>
            </a:r>
          </a:p>
        </p:txBody>
      </p:sp>
      <p:sp>
        <p:nvSpPr>
          <p:cNvPr id="156" name="Can 155"/>
          <p:cNvSpPr/>
          <p:nvPr/>
        </p:nvSpPr>
        <p:spPr>
          <a:xfrm>
            <a:off x="6086913" y="4756858"/>
            <a:ext cx="417550" cy="318410"/>
          </a:xfrm>
          <a:prstGeom prst="can">
            <a:avLst>
              <a:gd name="adj" fmla="val 32062"/>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158" name="TextBox 157"/>
          <p:cNvSpPr txBox="1"/>
          <p:nvPr/>
        </p:nvSpPr>
        <p:spPr>
          <a:xfrm>
            <a:off x="6513238" y="4836605"/>
            <a:ext cx="977051" cy="138499"/>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3D4647"/>
                </a:solidFill>
                <a:effectLst/>
                <a:uLnTx/>
                <a:uFillTx/>
                <a:latin typeface="Century Gothic" panose="020F0302020204030204"/>
                <a:ea typeface="+mn-ea"/>
                <a:cs typeface="+mn-cs"/>
              </a:rPr>
              <a:t>SQL Databases</a:t>
            </a:r>
          </a:p>
        </p:txBody>
      </p:sp>
      <p:sp>
        <p:nvSpPr>
          <p:cNvPr id="178" name="Content Placeholder 9"/>
          <p:cNvSpPr txBox="1">
            <a:spLocks/>
          </p:cNvSpPr>
          <p:nvPr/>
        </p:nvSpPr>
        <p:spPr>
          <a:xfrm>
            <a:off x="982836" y="1695290"/>
            <a:ext cx="1389219" cy="709768"/>
          </a:xfrm>
          <a:prstGeom prst="rect">
            <a:avLst/>
          </a:prstGeom>
        </p:spPr>
        <p:txBody>
          <a:bodyPr vert="horz" lIns="0" tIns="0" rIns="0" bIns="0" rtlCol="0" anchor="t">
            <a:noAutofit/>
          </a:bodyPr>
          <a:lst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6775" rtl="0" eaLnBrk="1" fontAlgn="auto" latinLnBrk="0" hangingPunct="1">
              <a:lnSpc>
                <a:spcPct val="90000"/>
              </a:lnSpc>
              <a:spcBef>
                <a:spcPts val="2139"/>
              </a:spcBef>
              <a:spcAft>
                <a:spcPts val="0"/>
              </a:spcAft>
              <a:buClr>
                <a:srgbClr val="3D4647"/>
              </a:buClr>
              <a:buSzTx/>
              <a:buFont typeface="Arial" pitchFamily="34" charset="0"/>
              <a:buNone/>
              <a:tabLst/>
              <a:defRPr/>
            </a:pPr>
            <a:r>
              <a:rPr kumimoji="0" lang="en-US" sz="2800" b="0" i="0" u="none" strike="noStrike" kern="1200" cap="none" spc="0" normalizeH="0" baseline="0" noProof="0" dirty="0">
                <a:ln>
                  <a:noFill/>
                </a:ln>
                <a:solidFill>
                  <a:srgbClr val="007A3E"/>
                </a:solidFill>
                <a:effectLst/>
                <a:uLnTx/>
                <a:uFillTx/>
                <a:latin typeface="Century Gothic" panose="020F0302020204030204"/>
                <a:ea typeface="+mn-ea"/>
                <a:cs typeface="+mn-cs"/>
              </a:rPr>
              <a:t> </a:t>
            </a:r>
            <a:r>
              <a:rPr kumimoji="0" lang="en-US" sz="2800" b="1" i="0" u="none" strike="noStrike" kern="1200" cap="none" spc="0" normalizeH="0" baseline="0" noProof="0" dirty="0">
                <a:ln>
                  <a:noFill/>
                </a:ln>
                <a:solidFill>
                  <a:srgbClr val="3D4647">
                    <a:lumMod val="50000"/>
                  </a:srgbClr>
                </a:solidFill>
                <a:effectLst/>
                <a:uLnTx/>
                <a:uFillTx/>
                <a:latin typeface="Century Gothic" panose="020F0302020204030204"/>
                <a:ea typeface="+mn-ea"/>
                <a:cs typeface="+mn-cs"/>
              </a:rPr>
              <a:t>Smart Devices</a:t>
            </a:r>
          </a:p>
        </p:txBody>
      </p:sp>
      <p:sp>
        <p:nvSpPr>
          <p:cNvPr id="179" name="Content Placeholder 9"/>
          <p:cNvSpPr txBox="1">
            <a:spLocks/>
          </p:cNvSpPr>
          <p:nvPr/>
        </p:nvSpPr>
        <p:spPr>
          <a:xfrm>
            <a:off x="3789254" y="6450925"/>
            <a:ext cx="3240360" cy="417176"/>
          </a:xfrm>
          <a:prstGeom prst="rect">
            <a:avLst/>
          </a:prstGeom>
        </p:spPr>
        <p:txBody>
          <a:bodyPr vert="horz" lIns="0" tIns="0" rIns="0" bIns="0" rtlCol="0" anchor="t">
            <a:normAutofit/>
          </a:bodyPr>
          <a:lst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6775" rtl="0" eaLnBrk="1" fontAlgn="auto" latinLnBrk="0" hangingPunct="1">
              <a:lnSpc>
                <a:spcPct val="90000"/>
              </a:lnSpc>
              <a:spcBef>
                <a:spcPts val="2139"/>
              </a:spcBef>
              <a:spcAft>
                <a:spcPts val="0"/>
              </a:spcAft>
              <a:buClr>
                <a:srgbClr val="3D4647"/>
              </a:buClr>
              <a:buSzTx/>
              <a:buFont typeface="Arial" pitchFamily="34" charset="0"/>
              <a:buNone/>
              <a:tabLst/>
              <a:defRPr/>
            </a:pPr>
            <a:r>
              <a:rPr kumimoji="0" lang="en-US" sz="2800" b="1" i="0" u="none" strike="noStrike" kern="1200" cap="none" spc="0" normalizeH="0" baseline="0" noProof="0" dirty="0">
                <a:ln>
                  <a:noFill/>
                </a:ln>
                <a:solidFill>
                  <a:srgbClr val="3D4647">
                    <a:lumMod val="50000"/>
                  </a:srgbClr>
                </a:solidFill>
                <a:effectLst/>
                <a:uLnTx/>
                <a:uFillTx/>
                <a:latin typeface="Century Gothic" panose="020F0302020204030204"/>
                <a:ea typeface="+mn-ea"/>
                <a:cs typeface="+mn-cs"/>
              </a:rPr>
              <a:t>Enterprise Systems</a:t>
            </a:r>
          </a:p>
        </p:txBody>
      </p:sp>
      <p:cxnSp>
        <p:nvCxnSpPr>
          <p:cNvPr id="180" name="Straight Arrow Connector 179"/>
          <p:cNvCxnSpPr/>
          <p:nvPr/>
        </p:nvCxnSpPr>
        <p:spPr>
          <a:xfrm>
            <a:off x="5421718" y="4866076"/>
            <a:ext cx="439" cy="662065"/>
          </a:xfrm>
          <a:prstGeom prst="straightConnector1">
            <a:avLst/>
          </a:prstGeom>
          <a:ln>
            <a:solidFill>
              <a:schemeClr val="bg2"/>
            </a:solidFill>
            <a:headEnd type="triangle"/>
            <a:tailEnd type="triangle"/>
          </a:ln>
        </p:spPr>
        <p:style>
          <a:lnRef idx="2">
            <a:schemeClr val="accent4"/>
          </a:lnRef>
          <a:fillRef idx="0">
            <a:schemeClr val="accent4"/>
          </a:fillRef>
          <a:effectRef idx="1">
            <a:schemeClr val="accent4"/>
          </a:effectRef>
          <a:fontRef idx="minor">
            <a:schemeClr val="tx1"/>
          </a:fontRef>
        </p:style>
      </p:cxnSp>
      <p:sp>
        <p:nvSpPr>
          <p:cNvPr id="181" name="Content Placeholder 9"/>
          <p:cNvSpPr txBox="1">
            <a:spLocks/>
          </p:cNvSpPr>
          <p:nvPr/>
        </p:nvSpPr>
        <p:spPr>
          <a:xfrm>
            <a:off x="4849868" y="386240"/>
            <a:ext cx="1846526" cy="422038"/>
          </a:xfrm>
          <a:prstGeom prst="rect">
            <a:avLst/>
          </a:prstGeom>
        </p:spPr>
        <p:txBody>
          <a:bodyPr vert="horz" lIns="0" tIns="0" rIns="0" bIns="0" rtlCol="0" anchor="t">
            <a:noAutofit/>
          </a:bodyPr>
          <a:lst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6775" rtl="0" eaLnBrk="1" fontAlgn="auto" latinLnBrk="0" hangingPunct="1">
              <a:lnSpc>
                <a:spcPct val="90000"/>
              </a:lnSpc>
              <a:spcBef>
                <a:spcPts val="2139"/>
              </a:spcBef>
              <a:spcAft>
                <a:spcPts val="0"/>
              </a:spcAft>
              <a:buClr>
                <a:srgbClr val="3D4647"/>
              </a:buClr>
              <a:buSzTx/>
              <a:buFont typeface="Arial" pitchFamily="34" charset="0"/>
              <a:buNone/>
              <a:tabLst/>
              <a:defRPr/>
            </a:pPr>
            <a:r>
              <a:rPr kumimoji="0" lang="en-US" sz="2800" b="1" i="0" u="none" strike="noStrike" kern="1200" cap="none" spc="0" normalizeH="0" baseline="0" noProof="0" dirty="0" err="1">
                <a:ln>
                  <a:noFill/>
                </a:ln>
                <a:solidFill>
                  <a:srgbClr val="3D4647">
                    <a:lumMod val="50000"/>
                  </a:srgbClr>
                </a:solidFill>
                <a:effectLst/>
                <a:uLnTx/>
                <a:uFillTx/>
                <a:latin typeface="Century Gothic" panose="020F0302020204030204"/>
                <a:ea typeface="+mn-ea"/>
                <a:cs typeface="+mn-cs"/>
              </a:rPr>
              <a:t>IoT</a:t>
            </a:r>
            <a:r>
              <a:rPr kumimoji="0" lang="en-US" sz="2800" b="1" i="0" u="none" strike="noStrike" kern="1200" cap="none" spc="0" normalizeH="0" baseline="0" noProof="0" dirty="0">
                <a:ln>
                  <a:noFill/>
                </a:ln>
                <a:solidFill>
                  <a:srgbClr val="3D4647">
                    <a:lumMod val="50000"/>
                  </a:srgbClr>
                </a:solidFill>
                <a:effectLst/>
                <a:uLnTx/>
                <a:uFillTx/>
                <a:latin typeface="Century Gothic" panose="020F0302020204030204"/>
                <a:ea typeface="+mn-ea"/>
                <a:cs typeface="+mn-cs"/>
              </a:rPr>
              <a:t> Cloud</a:t>
            </a:r>
          </a:p>
        </p:txBody>
      </p:sp>
      <p:sp>
        <p:nvSpPr>
          <p:cNvPr id="207" name="TextBox 206"/>
          <p:cNvSpPr txBox="1"/>
          <p:nvPr/>
        </p:nvSpPr>
        <p:spPr>
          <a:xfrm>
            <a:off x="5940226" y="3359100"/>
            <a:ext cx="542960" cy="284866"/>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API</a:t>
            </a:r>
          </a:p>
        </p:txBody>
      </p:sp>
      <p:sp>
        <p:nvSpPr>
          <p:cNvPr id="209" name="TextBox 208"/>
          <p:cNvSpPr txBox="1"/>
          <p:nvPr/>
        </p:nvSpPr>
        <p:spPr>
          <a:xfrm>
            <a:off x="5101085" y="4551024"/>
            <a:ext cx="542960" cy="284866"/>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API</a:t>
            </a:r>
          </a:p>
        </p:txBody>
      </p:sp>
      <p:sp>
        <p:nvSpPr>
          <p:cNvPr id="106" name="Rectangle 105"/>
          <p:cNvSpPr/>
          <p:nvPr/>
        </p:nvSpPr>
        <p:spPr>
          <a:xfrm>
            <a:off x="9238883" y="3507744"/>
            <a:ext cx="979569" cy="1015663"/>
          </a:xfrm>
          <a:prstGeom prst="rect">
            <a:avLst/>
          </a:prstGeom>
        </p:spPr>
        <p:txBody>
          <a:bodyPr wrap="square">
            <a:spAutoFit/>
          </a:bodyPr>
          <a:lstStyle/>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CC04A"/>
                </a:solidFill>
                <a:effectLst/>
                <a:uLnTx/>
                <a:uFillTx/>
                <a:latin typeface="Century Gothic" panose="020F0302020204030204"/>
                <a:ea typeface="+mn-ea"/>
                <a:cs typeface="+mn-cs"/>
              </a:rPr>
              <a:t>OPC UA</a:t>
            </a:r>
          </a:p>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CC04A"/>
                </a:solidFill>
                <a:effectLst/>
                <a:uLnTx/>
                <a:uFillTx/>
                <a:latin typeface="Century Gothic" panose="020F0302020204030204"/>
                <a:ea typeface="+mn-ea"/>
                <a:cs typeface="+mn-cs"/>
              </a:rPr>
              <a:t>150+</a:t>
            </a:r>
            <a:br>
              <a:rPr kumimoji="0" lang="en-US" sz="1200" b="0" i="0" u="none" strike="noStrike" kern="1200" cap="none" spc="0" normalizeH="0" baseline="0" noProof="0" dirty="0">
                <a:ln>
                  <a:noFill/>
                </a:ln>
                <a:solidFill>
                  <a:srgbClr val="6CC04A"/>
                </a:solidFill>
                <a:effectLst/>
                <a:uLnTx/>
                <a:uFillTx/>
                <a:latin typeface="Century Gothic" panose="020F0302020204030204"/>
                <a:ea typeface="+mn-ea"/>
                <a:cs typeface="+mn-cs"/>
              </a:rPr>
            </a:br>
            <a:r>
              <a:rPr kumimoji="0" lang="en-US" sz="1200" b="0" i="0" u="none" strike="noStrike" kern="1200" cap="none" spc="0" normalizeH="0" baseline="0" noProof="0" dirty="0">
                <a:ln>
                  <a:noFill/>
                </a:ln>
                <a:solidFill>
                  <a:srgbClr val="6CC04A"/>
                </a:solidFill>
                <a:effectLst/>
                <a:uLnTx/>
                <a:uFillTx/>
                <a:latin typeface="Century Gothic" panose="020F0302020204030204"/>
                <a:ea typeface="+mn-ea"/>
                <a:cs typeface="+mn-cs"/>
              </a:rPr>
              <a:t>Industrial Protocol</a:t>
            </a:r>
          </a:p>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CC04A"/>
                </a:solidFill>
                <a:effectLst/>
                <a:uLnTx/>
                <a:uFillTx/>
                <a:latin typeface="Century Gothic" panose="020F0302020204030204"/>
                <a:ea typeface="+mn-ea"/>
                <a:cs typeface="+mn-cs"/>
              </a:rPr>
              <a:t>Drivers</a:t>
            </a:r>
          </a:p>
        </p:txBody>
      </p:sp>
      <p:sp>
        <p:nvSpPr>
          <p:cNvPr id="107" name="TextBox 106"/>
          <p:cNvSpPr txBox="1"/>
          <p:nvPr/>
        </p:nvSpPr>
        <p:spPr>
          <a:xfrm>
            <a:off x="9673087" y="3056906"/>
            <a:ext cx="713337" cy="138499"/>
          </a:xfrm>
          <a:prstGeom prst="rect">
            <a:avLst/>
          </a:prstGeom>
          <a:noFill/>
        </p:spPr>
        <p:txBody>
          <a:bodyPr wrap="none" lIns="0" tIns="0" rIns="0" bIns="0" rtlCol="0">
            <a:spAutoFit/>
          </a:bodyPr>
          <a:lstStyle/>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3D4647"/>
                </a:solidFill>
                <a:effectLst/>
                <a:uLnTx/>
                <a:uFillTx/>
                <a:latin typeface="Century Gothic" panose="020F0302020204030204"/>
                <a:ea typeface="+mn-ea"/>
                <a:cs typeface="+mn-cs"/>
              </a:rPr>
              <a:t>IoT</a:t>
            </a:r>
            <a:r>
              <a:rPr kumimoji="0" lang="en-US" sz="900" b="0" i="0" u="none" strike="noStrike" kern="1200" cap="none" spc="0" normalizeH="0" baseline="0" noProof="0" dirty="0">
                <a:ln>
                  <a:noFill/>
                </a:ln>
                <a:solidFill>
                  <a:srgbClr val="3D4647"/>
                </a:solidFill>
                <a:effectLst/>
                <a:uLnTx/>
                <a:uFillTx/>
                <a:latin typeface="Century Gothic" panose="020F0302020204030204"/>
                <a:ea typeface="+mn-ea"/>
                <a:cs typeface="+mn-cs"/>
              </a:rPr>
              <a:t> Gateway</a:t>
            </a:r>
          </a:p>
        </p:txBody>
      </p:sp>
      <p:pic>
        <p:nvPicPr>
          <p:cNvPr id="108" name="Picture 10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3413" y="2788495"/>
            <a:ext cx="529674" cy="498382"/>
          </a:xfrm>
          <a:prstGeom prst="rect">
            <a:avLst/>
          </a:prstGeom>
        </p:spPr>
      </p:pic>
      <p:pic>
        <p:nvPicPr>
          <p:cNvPr id="2" name="Picture 1"/>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084710" y="3316557"/>
            <a:ext cx="1153844" cy="238829"/>
          </a:xfrm>
          <a:prstGeom prst="rect">
            <a:avLst/>
          </a:prstGeom>
        </p:spPr>
      </p:pic>
      <p:pic>
        <p:nvPicPr>
          <p:cNvPr id="16" name="Picture 15"/>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672780" y="866346"/>
            <a:ext cx="225247" cy="248957"/>
          </a:xfrm>
          <a:prstGeom prst="rect">
            <a:avLst/>
          </a:prstGeom>
        </p:spPr>
      </p:pic>
      <p:pic>
        <p:nvPicPr>
          <p:cNvPr id="20" name="Picture 19"/>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071102" y="906274"/>
            <a:ext cx="196011" cy="196011"/>
          </a:xfrm>
          <a:prstGeom prst="rect">
            <a:avLst/>
          </a:prstGeom>
        </p:spPr>
      </p:pic>
      <p:sp>
        <p:nvSpPr>
          <p:cNvPr id="133" name="TextBox 132"/>
          <p:cNvSpPr txBox="1"/>
          <p:nvPr/>
        </p:nvSpPr>
        <p:spPr>
          <a:xfrm>
            <a:off x="6340519" y="1524017"/>
            <a:ext cx="872510" cy="368434"/>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1" i="0" u="none" strike="noStrike" kern="1200" cap="none" spc="0" normalizeH="0" baseline="0" noProof="0" dirty="0">
                <a:ln>
                  <a:noFill/>
                </a:ln>
                <a:solidFill>
                  <a:srgbClr val="6CC04A"/>
                </a:solidFill>
                <a:effectLst/>
                <a:uLnTx/>
                <a:uFillTx/>
                <a:latin typeface="Century Gothic" panose="020F0302020204030204"/>
                <a:ea typeface="+mn-ea"/>
                <a:cs typeface="+mn-cs"/>
              </a:rPr>
              <a:t>AWS</a:t>
            </a: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 </a:t>
            </a:r>
            <a:r>
              <a:rPr kumimoji="0" lang="en-US" sz="1197" b="0" i="0" u="none" strike="noStrike" kern="1200" cap="none" spc="0" normalizeH="0" baseline="0" noProof="0" dirty="0" err="1">
                <a:ln>
                  <a:noFill/>
                </a:ln>
                <a:solidFill>
                  <a:srgbClr val="6CC04A"/>
                </a:solidFill>
                <a:effectLst/>
                <a:uLnTx/>
                <a:uFillTx/>
                <a:latin typeface="Century Gothic" panose="020F0302020204030204"/>
                <a:ea typeface="+mn-ea"/>
                <a:cs typeface="+mn-cs"/>
              </a:rPr>
              <a:t>IoT</a:t>
            </a:r>
            <a:endPar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endParaRP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Connector</a:t>
            </a:r>
          </a:p>
        </p:txBody>
      </p:sp>
      <p:pic>
        <p:nvPicPr>
          <p:cNvPr id="159" name="Picture 158"/>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160753" y="821978"/>
            <a:ext cx="1071282" cy="637766"/>
          </a:xfrm>
          <a:prstGeom prst="rect">
            <a:avLst/>
          </a:prstGeom>
        </p:spPr>
      </p:pic>
      <p:pic>
        <p:nvPicPr>
          <p:cNvPr id="162" name="Picture 16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3531315" y="842800"/>
            <a:ext cx="1071282" cy="637766"/>
          </a:xfrm>
          <a:prstGeom prst="rect">
            <a:avLst/>
          </a:prstGeom>
        </p:spPr>
      </p:pic>
      <p:sp>
        <p:nvSpPr>
          <p:cNvPr id="163" name="TextBox 162"/>
          <p:cNvSpPr txBox="1"/>
          <p:nvPr/>
        </p:nvSpPr>
        <p:spPr>
          <a:xfrm>
            <a:off x="2994715" y="1522038"/>
            <a:ext cx="2325782" cy="368434"/>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1" i="0" u="none" strike="noStrike" kern="1200" cap="none" spc="0" normalizeH="0" baseline="0" noProof="0" dirty="0">
                <a:ln>
                  <a:noFill/>
                </a:ln>
                <a:solidFill>
                  <a:srgbClr val="FF0000"/>
                </a:solidFill>
                <a:effectLst/>
                <a:uLnTx/>
                <a:uFillTx/>
                <a:latin typeface="Century Gothic" panose="020F0302020204030204"/>
                <a:ea typeface="+mn-ea"/>
                <a:cs typeface="+mn-cs"/>
              </a:rPr>
              <a:t>Azure</a:t>
            </a: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 </a:t>
            </a:r>
            <a:r>
              <a:rPr kumimoji="0" lang="en-US" sz="1197" b="0" i="0" u="none" strike="noStrike" kern="1200" cap="none" spc="0" normalizeH="0" baseline="0" noProof="0" dirty="0" err="1">
                <a:ln>
                  <a:noFill/>
                </a:ln>
                <a:solidFill>
                  <a:srgbClr val="6CC04A"/>
                </a:solidFill>
                <a:effectLst/>
                <a:uLnTx/>
                <a:uFillTx/>
                <a:latin typeface="Century Gothic" panose="020F0302020204030204"/>
                <a:ea typeface="+mn-ea"/>
                <a:cs typeface="+mn-cs"/>
              </a:rPr>
              <a:t>IoT</a:t>
            </a:r>
            <a:endPar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endParaRP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Connector</a:t>
            </a:r>
          </a:p>
        </p:txBody>
      </p:sp>
      <p:sp>
        <p:nvSpPr>
          <p:cNvPr id="164" name="TextBox 163"/>
          <p:cNvSpPr txBox="1"/>
          <p:nvPr/>
        </p:nvSpPr>
        <p:spPr>
          <a:xfrm>
            <a:off x="4822001" y="1534705"/>
            <a:ext cx="1151883" cy="368434"/>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1" i="0" u="none" strike="noStrike" kern="1200" cap="none" spc="0" normalizeH="0" baseline="0" noProof="0" dirty="0">
                <a:ln>
                  <a:noFill/>
                </a:ln>
                <a:solidFill>
                  <a:srgbClr val="6CC04A"/>
                </a:solidFill>
                <a:effectLst/>
                <a:uLnTx/>
                <a:uFillTx/>
                <a:latin typeface="Century Gothic" panose="020F0302020204030204"/>
                <a:ea typeface="+mn-ea"/>
                <a:cs typeface="+mn-cs"/>
              </a:rPr>
              <a:t>Protocol Adapter kit</a:t>
            </a:r>
          </a:p>
        </p:txBody>
      </p:sp>
      <p:sp>
        <p:nvSpPr>
          <p:cNvPr id="168" name="Rectangle 167"/>
          <p:cNvSpPr/>
          <p:nvPr/>
        </p:nvSpPr>
        <p:spPr>
          <a:xfrm>
            <a:off x="4905815" y="1130714"/>
            <a:ext cx="1099171" cy="507831"/>
          </a:xfrm>
          <a:prstGeom prst="rect">
            <a:avLst/>
          </a:prstGeom>
        </p:spPr>
        <p:txBody>
          <a:bodyPr wrap="square">
            <a:spAutoFit/>
          </a:bodyPr>
          <a:lstStyle/>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3D4647"/>
                </a:solidFill>
                <a:effectLst/>
                <a:uLnTx/>
                <a:uFillTx/>
                <a:latin typeface="Century Gothic" panose="020F0302020204030204"/>
                <a:ea typeface="+mn-ea"/>
                <a:cs typeface="+mn-cs"/>
              </a:rPr>
              <a:t>IoT</a:t>
            </a:r>
            <a:endParaRPr kumimoji="0" lang="en-US" sz="9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D4647"/>
                </a:solidFill>
                <a:effectLst/>
                <a:uLnTx/>
                <a:uFillTx/>
                <a:latin typeface="Century Gothic" panose="020F0302020204030204"/>
                <a:ea typeface="+mn-ea"/>
                <a:cs typeface="+mn-cs"/>
              </a:rPr>
              <a:t>protocols</a:t>
            </a:r>
          </a:p>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cxnSp>
        <p:nvCxnSpPr>
          <p:cNvPr id="202" name="Elbow Connector 201"/>
          <p:cNvCxnSpPr>
            <a:stCxn id="131" idx="5"/>
            <a:endCxn id="220" idx="3"/>
          </p:cNvCxnSpPr>
          <p:nvPr/>
        </p:nvCxnSpPr>
        <p:spPr>
          <a:xfrm>
            <a:off x="6389157" y="4289844"/>
            <a:ext cx="1655432" cy="1533878"/>
          </a:xfrm>
          <a:prstGeom prst="bentConnector2">
            <a:avLst/>
          </a:prstGeom>
          <a:ln>
            <a:solidFill>
              <a:schemeClr val="tx1"/>
            </a:solidFill>
            <a:headEnd type="triangle"/>
            <a:tailEnd type="triangle"/>
          </a:ln>
        </p:spPr>
        <p:style>
          <a:lnRef idx="2">
            <a:schemeClr val="accent4"/>
          </a:lnRef>
          <a:fillRef idx="0">
            <a:schemeClr val="accent4"/>
          </a:fillRef>
          <a:effectRef idx="1">
            <a:schemeClr val="accent4"/>
          </a:effectRef>
          <a:fontRef idx="minor">
            <a:schemeClr val="tx1"/>
          </a:fontRef>
        </p:style>
      </p:cxnSp>
      <p:sp>
        <p:nvSpPr>
          <p:cNvPr id="206" name="TextBox 205"/>
          <p:cNvSpPr txBox="1"/>
          <p:nvPr/>
        </p:nvSpPr>
        <p:spPr>
          <a:xfrm>
            <a:off x="5320497" y="5244717"/>
            <a:ext cx="1507767" cy="184218"/>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Extensions SDK</a:t>
            </a:r>
          </a:p>
        </p:txBody>
      </p:sp>
      <p:cxnSp>
        <p:nvCxnSpPr>
          <p:cNvPr id="210" name="Elbow Connector 209"/>
          <p:cNvCxnSpPr>
            <a:cxnSpLocks/>
            <a:endCxn id="223" idx="2"/>
          </p:cNvCxnSpPr>
          <p:nvPr/>
        </p:nvCxnSpPr>
        <p:spPr>
          <a:xfrm rot="16200000" flipV="1">
            <a:off x="1252955" y="4526358"/>
            <a:ext cx="2256442" cy="546601"/>
          </a:xfrm>
          <a:prstGeom prst="bentConnector3">
            <a:avLst>
              <a:gd name="adj1" fmla="val 72977"/>
            </a:avLst>
          </a:prstGeom>
          <a:ln>
            <a:solidFill>
              <a:schemeClr val="tx1"/>
            </a:solidFill>
            <a:headEnd type="triangle"/>
            <a:tailEnd type="triangle"/>
          </a:ln>
        </p:spPr>
        <p:style>
          <a:lnRef idx="2">
            <a:schemeClr val="accent4"/>
          </a:lnRef>
          <a:fillRef idx="0">
            <a:schemeClr val="accent4"/>
          </a:fillRef>
          <a:effectRef idx="1">
            <a:schemeClr val="accent4"/>
          </a:effectRef>
          <a:fontRef idx="minor">
            <a:schemeClr val="tx1"/>
          </a:fontRef>
        </p:style>
      </p:cxnSp>
      <p:grpSp>
        <p:nvGrpSpPr>
          <p:cNvPr id="15" name="Group 14"/>
          <p:cNvGrpSpPr/>
          <p:nvPr/>
        </p:nvGrpSpPr>
        <p:grpSpPr>
          <a:xfrm>
            <a:off x="5863441" y="4477456"/>
            <a:ext cx="898272" cy="263635"/>
            <a:chOff x="6392681" y="4530534"/>
            <a:chExt cx="898272" cy="263635"/>
          </a:xfrm>
        </p:grpSpPr>
        <p:sp>
          <p:nvSpPr>
            <p:cNvPr id="205" name="TextBox 204"/>
            <p:cNvSpPr txBox="1"/>
            <p:nvPr/>
          </p:nvSpPr>
          <p:spPr>
            <a:xfrm>
              <a:off x="6392681" y="4573061"/>
              <a:ext cx="853940" cy="184218"/>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JDBC</a:t>
              </a:r>
            </a:p>
          </p:txBody>
        </p:sp>
        <p:pic>
          <p:nvPicPr>
            <p:cNvPr id="216" name="Picture 215"/>
            <p:cNvPicPr>
              <a:picLocks noChangeAspect="1"/>
            </p:cNvPicPr>
            <p:nvPr/>
          </p:nvPicPr>
          <p:blipFill>
            <a:blip r:embed="rId21" cstate="screen">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7075132" y="4530534"/>
              <a:ext cx="215821" cy="263635"/>
            </a:xfrm>
            <a:prstGeom prst="rect">
              <a:avLst/>
            </a:prstGeom>
          </p:spPr>
        </p:pic>
      </p:grpSp>
      <p:grpSp>
        <p:nvGrpSpPr>
          <p:cNvPr id="294" name="Group 293"/>
          <p:cNvGrpSpPr/>
          <p:nvPr/>
        </p:nvGrpSpPr>
        <p:grpSpPr>
          <a:xfrm>
            <a:off x="3429323" y="3871080"/>
            <a:ext cx="743308" cy="368434"/>
            <a:chOff x="3720345" y="4437473"/>
            <a:chExt cx="743308" cy="368434"/>
          </a:xfrm>
        </p:grpSpPr>
        <p:sp>
          <p:nvSpPr>
            <p:cNvPr id="208" name="TextBox 207"/>
            <p:cNvSpPr txBox="1"/>
            <p:nvPr/>
          </p:nvSpPr>
          <p:spPr>
            <a:xfrm>
              <a:off x="3720345" y="4437473"/>
              <a:ext cx="542960" cy="368434"/>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REST API</a:t>
              </a:r>
            </a:p>
          </p:txBody>
        </p:sp>
        <p:pic>
          <p:nvPicPr>
            <p:cNvPr id="217" name="Picture 216"/>
            <p:cNvPicPr>
              <a:picLocks noChangeAspect="1"/>
            </p:cNvPicPr>
            <p:nvPr/>
          </p:nvPicPr>
          <p:blipFill>
            <a:blip r:embed="rId21" cstate="screen">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4247832" y="4489872"/>
              <a:ext cx="215821" cy="263635"/>
            </a:xfrm>
            <a:prstGeom prst="rect">
              <a:avLst/>
            </a:prstGeom>
          </p:spPr>
        </p:pic>
      </p:grpSp>
      <p:sp>
        <p:nvSpPr>
          <p:cNvPr id="219" name="TextBox 218"/>
          <p:cNvSpPr txBox="1"/>
          <p:nvPr/>
        </p:nvSpPr>
        <p:spPr>
          <a:xfrm>
            <a:off x="4330992" y="4118276"/>
            <a:ext cx="542960" cy="284866"/>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CC04A"/>
                </a:solidFill>
                <a:effectLst/>
                <a:uLnTx/>
                <a:uFillTx/>
                <a:latin typeface="Century Gothic" panose="020F0302020204030204"/>
                <a:ea typeface="+mn-ea"/>
                <a:cs typeface="+mn-cs"/>
              </a:rPr>
              <a:t>API</a:t>
            </a:r>
          </a:p>
        </p:txBody>
      </p:sp>
      <p:sp>
        <p:nvSpPr>
          <p:cNvPr id="196" name="Right Bracket 195"/>
          <p:cNvSpPr/>
          <p:nvPr/>
        </p:nvSpPr>
        <p:spPr>
          <a:xfrm rot="16200000">
            <a:off x="5154819" y="4023023"/>
            <a:ext cx="769328" cy="3836017"/>
          </a:xfrm>
          <a:prstGeom prst="rightBracket">
            <a:avLst/>
          </a:prstGeom>
          <a:ln w="254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3D4647"/>
              </a:solidFill>
              <a:effectLst/>
              <a:uLnTx/>
              <a:uFillTx/>
              <a:latin typeface="Century Gothic" panose="020F0302020204030204"/>
              <a:ea typeface="+mn-ea"/>
              <a:cs typeface="+mn-cs"/>
            </a:endParaRPr>
          </a:p>
        </p:txBody>
      </p:sp>
      <p:cxnSp>
        <p:nvCxnSpPr>
          <p:cNvPr id="303" name="Straight Arrow Connector 302"/>
          <p:cNvCxnSpPr>
            <a:stCxn id="131" idx="2"/>
          </p:cNvCxnSpPr>
          <p:nvPr/>
        </p:nvCxnSpPr>
        <p:spPr>
          <a:xfrm flipH="1">
            <a:off x="2595130" y="3393520"/>
            <a:ext cx="1835459" cy="4429"/>
          </a:xfrm>
          <a:prstGeom prst="straightConnector1">
            <a:avLst/>
          </a:prstGeom>
          <a:ln>
            <a:solidFill>
              <a:schemeClr val="tx1"/>
            </a:solidFill>
            <a:headEnd type="triangle"/>
            <a:tailEnd type="triangle"/>
          </a:ln>
          <a:effectLst>
            <a:outerShdw blurRad="40000" dist="20000" dir="5400000" rotWithShape="0">
              <a:schemeClr val="tx1">
                <a:alpha val="38000"/>
              </a:schemeClr>
            </a:outerShdw>
          </a:effectLst>
        </p:spPr>
        <p:style>
          <a:lnRef idx="2">
            <a:schemeClr val="accent4"/>
          </a:lnRef>
          <a:fillRef idx="0">
            <a:schemeClr val="accent4"/>
          </a:fillRef>
          <a:effectRef idx="1">
            <a:schemeClr val="accent4"/>
          </a:effectRef>
          <a:fontRef idx="minor">
            <a:schemeClr val="tx1"/>
          </a:fontRef>
        </p:style>
      </p:cxnSp>
      <p:pic>
        <p:nvPicPr>
          <p:cNvPr id="315" name="Picture 314"/>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5385557" y="926480"/>
            <a:ext cx="195079" cy="92219"/>
          </a:xfrm>
          <a:prstGeom prst="rect">
            <a:avLst/>
          </a:prstGeom>
        </p:spPr>
      </p:pic>
      <p:sp>
        <p:nvSpPr>
          <p:cNvPr id="327" name="TextBox 326"/>
          <p:cNvSpPr txBox="1"/>
          <p:nvPr/>
        </p:nvSpPr>
        <p:spPr>
          <a:xfrm>
            <a:off x="4368423" y="3342034"/>
            <a:ext cx="542960" cy="284866"/>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CC04A"/>
                </a:solidFill>
                <a:effectLst/>
                <a:uLnTx/>
                <a:uFillTx/>
                <a:latin typeface="Century Gothic" panose="020F0302020204030204"/>
                <a:ea typeface="+mn-ea"/>
                <a:cs typeface="+mn-cs"/>
              </a:rPr>
              <a:t>API</a:t>
            </a:r>
          </a:p>
        </p:txBody>
      </p:sp>
      <p:cxnSp>
        <p:nvCxnSpPr>
          <p:cNvPr id="360" name="Straight Arrow Connector 359"/>
          <p:cNvCxnSpPr/>
          <p:nvPr/>
        </p:nvCxnSpPr>
        <p:spPr>
          <a:xfrm>
            <a:off x="5940008" y="4568070"/>
            <a:ext cx="204222" cy="213545"/>
          </a:xfrm>
          <a:prstGeom prst="straightConnector1">
            <a:avLst/>
          </a:prstGeom>
          <a:ln w="25400">
            <a:solidFill>
              <a:schemeClr val="tx1"/>
            </a:solidFill>
            <a:headEnd type="triangle"/>
            <a:tailEnd type="triangle"/>
          </a:ln>
          <a:effectLst>
            <a:outerShdw blurRad="40000" dist="20000" dir="5400000" rotWithShape="0">
              <a:schemeClr val="tx1">
                <a:alpha val="38000"/>
              </a:schemeClr>
            </a:outerShdw>
          </a:effectLst>
        </p:spPr>
        <p:style>
          <a:lnRef idx="2">
            <a:schemeClr val="accent4"/>
          </a:lnRef>
          <a:fillRef idx="0">
            <a:schemeClr val="accent4"/>
          </a:fillRef>
          <a:effectRef idx="1">
            <a:schemeClr val="accent4"/>
          </a:effectRef>
          <a:fontRef idx="minor">
            <a:schemeClr val="tx1"/>
          </a:fontRef>
        </p:style>
      </p:cxnSp>
      <p:sp>
        <p:nvSpPr>
          <p:cNvPr id="141" name="TextBox 140"/>
          <p:cNvSpPr txBox="1"/>
          <p:nvPr/>
        </p:nvSpPr>
        <p:spPr>
          <a:xfrm>
            <a:off x="5915508" y="4140669"/>
            <a:ext cx="542960" cy="284866"/>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API</a:t>
            </a:r>
          </a:p>
        </p:txBody>
      </p:sp>
      <p:pic>
        <p:nvPicPr>
          <p:cNvPr id="78" name="Picture 77"/>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0701173" y="4651628"/>
            <a:ext cx="333387" cy="396254"/>
          </a:xfrm>
          <a:prstGeom prst="rect">
            <a:avLst/>
          </a:prstGeom>
        </p:spPr>
      </p:pic>
      <p:sp>
        <p:nvSpPr>
          <p:cNvPr id="195" name="TextBox 194"/>
          <p:cNvSpPr txBox="1"/>
          <p:nvPr/>
        </p:nvSpPr>
        <p:spPr>
          <a:xfrm>
            <a:off x="2514852" y="6261558"/>
            <a:ext cx="937130" cy="276999"/>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3D4647"/>
                </a:solidFill>
                <a:effectLst/>
                <a:uLnTx/>
                <a:uFillTx/>
                <a:latin typeface="Century Gothic" panose="020F0302020204030204"/>
                <a:ea typeface="+mn-ea"/>
                <a:cs typeface="+mn-cs"/>
              </a:rPr>
              <a:t>Web Services</a:t>
            </a: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3D4647"/>
                </a:solidFill>
                <a:effectLst/>
                <a:uLnTx/>
                <a:uFillTx/>
                <a:latin typeface="Century Gothic" panose="020F0302020204030204"/>
                <a:ea typeface="+mn-ea"/>
                <a:cs typeface="+mn-cs"/>
              </a:rPr>
              <a:t>Business Systems</a:t>
            </a:r>
          </a:p>
        </p:txBody>
      </p:sp>
      <p:sp>
        <p:nvSpPr>
          <p:cNvPr id="10" name="Content Placeholder 9"/>
          <p:cNvSpPr>
            <a:spLocks noGrp="1"/>
          </p:cNvSpPr>
          <p:nvPr>
            <p:ph sz="half" idx="4294967295"/>
          </p:nvPr>
        </p:nvSpPr>
        <p:spPr>
          <a:xfrm>
            <a:off x="9437888" y="1930464"/>
            <a:ext cx="2280831" cy="864073"/>
          </a:xfrm>
        </p:spPr>
        <p:txBody>
          <a:bodyPr anchor="t">
            <a:noAutofit/>
          </a:bodyPr>
          <a:lstStyle/>
          <a:p>
            <a:pPr marL="0" indent="0">
              <a:buNone/>
            </a:pPr>
            <a:r>
              <a:rPr lang="en-US" sz="2800" b="1" dirty="0">
                <a:solidFill>
                  <a:schemeClr val="tx1">
                    <a:lumMod val="50000"/>
                  </a:schemeClr>
                </a:solidFill>
              </a:rPr>
              <a:t>Industrial</a:t>
            </a:r>
            <a:br>
              <a:rPr lang="en-US" sz="2800" b="1" dirty="0">
                <a:solidFill>
                  <a:schemeClr val="tx1">
                    <a:lumMod val="50000"/>
                  </a:schemeClr>
                </a:solidFill>
              </a:rPr>
            </a:br>
            <a:r>
              <a:rPr lang="en-US" sz="2800" b="1" dirty="0">
                <a:solidFill>
                  <a:schemeClr val="tx1">
                    <a:lumMod val="50000"/>
                  </a:schemeClr>
                </a:solidFill>
              </a:rPr>
              <a:t>Data Sources</a:t>
            </a:r>
          </a:p>
        </p:txBody>
      </p:sp>
      <p:sp>
        <p:nvSpPr>
          <p:cNvPr id="224" name="TextBox 223"/>
          <p:cNvSpPr txBox="1"/>
          <p:nvPr/>
        </p:nvSpPr>
        <p:spPr>
          <a:xfrm>
            <a:off x="15577851" y="925417"/>
            <a:ext cx="65" cy="215444"/>
          </a:xfrm>
          <a:prstGeom prst="rect">
            <a:avLst/>
          </a:prstGeom>
          <a:noFill/>
          <a:ln>
            <a:solidFill>
              <a:schemeClr val="bg2"/>
            </a:solidFill>
          </a:ln>
        </p:spPr>
        <p:txBody>
          <a:bodyPr wrap="non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pic>
        <p:nvPicPr>
          <p:cNvPr id="239" name="Picture 23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rot="16200000">
            <a:off x="3098047" y="3751229"/>
            <a:ext cx="196011" cy="196011"/>
          </a:xfrm>
          <a:prstGeom prst="rect">
            <a:avLst/>
          </a:prstGeom>
        </p:spPr>
      </p:pic>
      <p:pic>
        <p:nvPicPr>
          <p:cNvPr id="251" name="Picture 250"/>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rot="16200000">
            <a:off x="2662535" y="3756635"/>
            <a:ext cx="225247" cy="248957"/>
          </a:xfrm>
          <a:prstGeom prst="rect">
            <a:avLst/>
          </a:prstGeom>
        </p:spPr>
      </p:pic>
      <p:pic>
        <p:nvPicPr>
          <p:cNvPr id="304" name="Picture 30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84173" y="3839059"/>
            <a:ext cx="368653" cy="346873"/>
          </a:xfrm>
          <a:prstGeom prst="rect">
            <a:avLst/>
          </a:prstGeom>
        </p:spPr>
      </p:pic>
      <p:grpSp>
        <p:nvGrpSpPr>
          <p:cNvPr id="312" name="Group 311"/>
          <p:cNvGrpSpPr/>
          <p:nvPr/>
        </p:nvGrpSpPr>
        <p:grpSpPr>
          <a:xfrm>
            <a:off x="1570232" y="3191589"/>
            <a:ext cx="1094302" cy="479849"/>
            <a:chOff x="1255303" y="1919489"/>
            <a:chExt cx="1598677" cy="2850588"/>
          </a:xfrm>
        </p:grpSpPr>
        <p:sp>
          <p:nvSpPr>
            <p:cNvPr id="125" name="TextBox 124"/>
            <p:cNvSpPr txBox="1"/>
            <p:nvPr/>
          </p:nvSpPr>
          <p:spPr>
            <a:xfrm>
              <a:off x="1255303" y="2255335"/>
              <a:ext cx="1598677" cy="2188717"/>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ThingWorx</a:t>
              </a: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Edge SDKs</a:t>
              </a:r>
            </a:p>
          </p:txBody>
        </p:sp>
        <p:sp>
          <p:nvSpPr>
            <p:cNvPr id="223" name="Rounded Rectangle 222"/>
            <p:cNvSpPr/>
            <p:nvPr/>
          </p:nvSpPr>
          <p:spPr>
            <a:xfrm>
              <a:off x="1305182" y="1919489"/>
              <a:ext cx="1471135" cy="2850588"/>
            </a:xfrm>
            <a:prstGeom prst="roundRect">
              <a:avLst/>
            </a:prstGeom>
            <a:noFill/>
            <a:ln w="22225">
              <a:solidFill>
                <a:schemeClr val="bg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pic>
        <p:nvPicPr>
          <p:cNvPr id="322" name="Picture 321"/>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9431341" y="4502863"/>
            <a:ext cx="641415" cy="284555"/>
          </a:xfrm>
          <a:prstGeom prst="rect">
            <a:avLst/>
          </a:prstGeom>
        </p:spPr>
      </p:pic>
      <p:grpSp>
        <p:nvGrpSpPr>
          <p:cNvPr id="351" name="Group 350"/>
          <p:cNvGrpSpPr/>
          <p:nvPr/>
        </p:nvGrpSpPr>
        <p:grpSpPr>
          <a:xfrm>
            <a:off x="2985129" y="4115929"/>
            <a:ext cx="1457472" cy="1641185"/>
            <a:chOff x="2935127" y="4128260"/>
            <a:chExt cx="1457472" cy="1641185"/>
          </a:xfrm>
        </p:grpSpPr>
        <p:cxnSp>
          <p:nvCxnSpPr>
            <p:cNvPr id="146" name="Elbow Connector 145"/>
            <p:cNvCxnSpPr>
              <a:cxnSpLocks/>
              <a:stCxn id="405" idx="0"/>
            </p:cNvCxnSpPr>
            <p:nvPr/>
          </p:nvCxnSpPr>
          <p:spPr>
            <a:xfrm rot="5400000" flipH="1" flipV="1">
              <a:off x="2933585" y="4310431"/>
              <a:ext cx="1460556" cy="1457472"/>
            </a:xfrm>
            <a:prstGeom prst="bentConnector3">
              <a:avLst>
                <a:gd name="adj1" fmla="val 99698"/>
              </a:avLst>
            </a:prstGeom>
            <a:ln>
              <a:solidFill>
                <a:schemeClr val="tx1"/>
              </a:solidFill>
              <a:headEnd type="triangle"/>
              <a:tailEnd type="triangle"/>
            </a:ln>
          </p:spPr>
          <p:style>
            <a:lnRef idx="2">
              <a:schemeClr val="accent4"/>
            </a:lnRef>
            <a:fillRef idx="0">
              <a:schemeClr val="accent4"/>
            </a:fillRef>
            <a:effectRef idx="1">
              <a:schemeClr val="accent4"/>
            </a:effectRef>
            <a:fontRef idx="minor">
              <a:schemeClr val="tx1"/>
            </a:fontRef>
          </p:style>
        </p:cxnSp>
        <p:cxnSp>
          <p:nvCxnSpPr>
            <p:cNvPr id="343" name="Straight Arrow Connector 342"/>
            <p:cNvCxnSpPr>
              <a:cxnSpLocks/>
            </p:cNvCxnSpPr>
            <p:nvPr/>
          </p:nvCxnSpPr>
          <p:spPr>
            <a:xfrm>
              <a:off x="2944713" y="4128260"/>
              <a:ext cx="0" cy="173915"/>
            </a:xfrm>
            <a:prstGeom prst="straightConnector1">
              <a:avLst/>
            </a:prstGeom>
            <a:ln>
              <a:solidFill>
                <a:schemeClr val="tx1"/>
              </a:solidFill>
              <a:headEnd type="triangle"/>
              <a:tailEnd type="none"/>
            </a:ln>
            <a:effectLst>
              <a:outerShdw blurRad="40000" dist="20000" dir="5400000" rotWithShape="0">
                <a:schemeClr val="tx1">
                  <a:alpha val="38000"/>
                </a:schemeClr>
              </a:outerShdw>
            </a:effectLst>
          </p:spPr>
          <p:style>
            <a:lnRef idx="2">
              <a:schemeClr val="accent4"/>
            </a:lnRef>
            <a:fillRef idx="0">
              <a:schemeClr val="accent4"/>
            </a:fillRef>
            <a:effectRef idx="1">
              <a:schemeClr val="accent4"/>
            </a:effectRef>
            <a:fontRef idx="minor">
              <a:schemeClr val="tx1"/>
            </a:fontRef>
          </p:style>
        </p:cxnSp>
      </p:grpSp>
      <p:cxnSp>
        <p:nvCxnSpPr>
          <p:cNvPr id="349" name="Elbow Connector 348"/>
          <p:cNvCxnSpPr>
            <a:stCxn id="133" idx="2"/>
            <a:endCxn id="131" idx="3"/>
          </p:cNvCxnSpPr>
          <p:nvPr/>
        </p:nvCxnSpPr>
        <p:spPr>
          <a:xfrm rot="5400000">
            <a:off x="5632129" y="1670196"/>
            <a:ext cx="922390" cy="1366901"/>
          </a:xfrm>
          <a:prstGeom prst="bentConnector3">
            <a:avLst>
              <a:gd name="adj1" fmla="val 50000"/>
            </a:avLst>
          </a:prstGeom>
          <a:ln>
            <a:solidFill>
              <a:schemeClr val="tx1"/>
            </a:solidFill>
            <a:headEnd type="triangle"/>
            <a:tailEnd type="triangle"/>
          </a:ln>
          <a:effectLst/>
        </p:spPr>
        <p:style>
          <a:lnRef idx="2">
            <a:schemeClr val="accent4"/>
          </a:lnRef>
          <a:fillRef idx="0">
            <a:schemeClr val="accent4"/>
          </a:fillRef>
          <a:effectRef idx="1">
            <a:schemeClr val="accent4"/>
          </a:effectRef>
          <a:fontRef idx="minor">
            <a:schemeClr val="tx1"/>
          </a:fontRef>
        </p:style>
      </p:cxnSp>
      <p:grpSp>
        <p:nvGrpSpPr>
          <p:cNvPr id="218" name="Group 217"/>
          <p:cNvGrpSpPr/>
          <p:nvPr/>
        </p:nvGrpSpPr>
        <p:grpSpPr>
          <a:xfrm>
            <a:off x="7667959" y="5797166"/>
            <a:ext cx="1086401" cy="677859"/>
            <a:chOff x="4159778" y="5310692"/>
            <a:chExt cx="947262" cy="500964"/>
          </a:xfrm>
        </p:grpSpPr>
        <p:sp>
          <p:nvSpPr>
            <p:cNvPr id="220" name="Cloud 219"/>
            <p:cNvSpPr/>
            <p:nvPr/>
          </p:nvSpPr>
          <p:spPr>
            <a:xfrm>
              <a:off x="4159779" y="5310692"/>
              <a:ext cx="656786" cy="343200"/>
            </a:xfrm>
            <a:prstGeom prst="cloud">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CA"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221" name="TextBox 220"/>
            <p:cNvSpPr txBox="1"/>
            <p:nvPr/>
          </p:nvSpPr>
          <p:spPr>
            <a:xfrm>
              <a:off x="4159778" y="5709300"/>
              <a:ext cx="947262" cy="102356"/>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3D4647"/>
                  </a:solidFill>
                  <a:effectLst/>
                  <a:uLnTx/>
                  <a:uFillTx/>
                  <a:latin typeface="Century Gothic" panose="020F0302020204030204"/>
                  <a:ea typeface="+mn-ea"/>
                  <a:cs typeface="+mn-cs"/>
                </a:rPr>
                <a:t>SAP, </a:t>
              </a:r>
              <a:r>
                <a:rPr kumimoji="0" lang="en-US" sz="900" b="1" i="0" u="none" strike="noStrike" kern="1200" cap="none" spc="0" normalizeH="0" baseline="0" noProof="0" dirty="0" err="1">
                  <a:ln>
                    <a:noFill/>
                  </a:ln>
                  <a:solidFill>
                    <a:srgbClr val="3D4647"/>
                  </a:solidFill>
                  <a:effectLst/>
                  <a:uLnTx/>
                  <a:uFillTx/>
                  <a:latin typeface="Century Gothic" panose="020F0302020204030204"/>
                  <a:ea typeface="+mn-ea"/>
                  <a:cs typeface="+mn-cs"/>
                </a:rPr>
                <a:t>Windchill</a:t>
              </a:r>
              <a:endParaRPr kumimoji="0" lang="en-US" sz="900" b="1"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grpSp>
      <p:sp>
        <p:nvSpPr>
          <p:cNvPr id="383" name="Rounded Rectangle 382"/>
          <p:cNvSpPr/>
          <p:nvPr/>
        </p:nvSpPr>
        <p:spPr>
          <a:xfrm>
            <a:off x="9063054" y="3268682"/>
            <a:ext cx="1175500" cy="1567207"/>
          </a:xfrm>
          <a:prstGeom prst="roundRect">
            <a:avLst/>
          </a:prstGeom>
          <a:noFill/>
          <a:ln w="22225">
            <a:solidFill>
              <a:schemeClr val="bg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401" name="TextBox 400"/>
          <p:cNvSpPr txBox="1"/>
          <p:nvPr/>
        </p:nvSpPr>
        <p:spPr>
          <a:xfrm>
            <a:off x="3839055" y="5097170"/>
            <a:ext cx="1227712" cy="392994"/>
          </a:xfrm>
          <a:prstGeom prst="roundRect">
            <a:avLst/>
          </a:prstGeom>
          <a:solidFill>
            <a:schemeClr val="bg2"/>
          </a:solidFill>
        </p:spPr>
        <p:style>
          <a:lnRef idx="3">
            <a:schemeClr val="lt1"/>
          </a:lnRef>
          <a:fillRef idx="1">
            <a:schemeClr val="dk1"/>
          </a:fillRef>
          <a:effectRef idx="1">
            <a:schemeClr val="dk1"/>
          </a:effectRef>
          <a:fontRef idx="minor">
            <a:schemeClr val="lt1"/>
          </a:fontRef>
        </p:style>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entury Gothic" panose="020F0302020204030204"/>
                <a:ea typeface="+mn-ea"/>
                <a:cs typeface="+mn-cs"/>
              </a:rPr>
              <a:t>ThingWorx</a:t>
            </a: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entury Gothic" panose="020F0302020204030204"/>
                <a:ea typeface="+mn-ea"/>
                <a:cs typeface="+mn-cs"/>
              </a:rPr>
              <a:t>Marketplace</a:t>
            </a:r>
          </a:p>
        </p:txBody>
      </p:sp>
      <p:pic>
        <p:nvPicPr>
          <p:cNvPr id="403" name="Picture 402"/>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7935960" y="5892480"/>
            <a:ext cx="268952" cy="242647"/>
          </a:xfrm>
          <a:prstGeom prst="rect">
            <a:avLst/>
          </a:prstGeom>
        </p:spPr>
      </p:pic>
      <p:grpSp>
        <p:nvGrpSpPr>
          <p:cNvPr id="407" name="Group 406"/>
          <p:cNvGrpSpPr/>
          <p:nvPr/>
        </p:nvGrpSpPr>
        <p:grpSpPr>
          <a:xfrm>
            <a:off x="8507305" y="5759553"/>
            <a:ext cx="1847682" cy="717297"/>
            <a:chOff x="8997614" y="5475794"/>
            <a:chExt cx="1853365" cy="717297"/>
          </a:xfrm>
        </p:grpSpPr>
        <p:grpSp>
          <p:nvGrpSpPr>
            <p:cNvPr id="366" name="Group 365"/>
            <p:cNvGrpSpPr/>
            <p:nvPr/>
          </p:nvGrpSpPr>
          <p:grpSpPr>
            <a:xfrm>
              <a:off x="8997614" y="5628369"/>
              <a:ext cx="1853365" cy="564722"/>
              <a:chOff x="9146643" y="5368127"/>
              <a:chExt cx="1853365" cy="564722"/>
            </a:xfrm>
          </p:grpSpPr>
          <p:pic>
            <p:nvPicPr>
              <p:cNvPr id="296" name="Picture 295"/>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146643" y="5639802"/>
                <a:ext cx="857698" cy="293047"/>
              </a:xfrm>
              <a:prstGeom prst="rect">
                <a:avLst/>
              </a:prstGeom>
            </p:spPr>
          </p:pic>
          <p:pic>
            <p:nvPicPr>
              <p:cNvPr id="298" name="Picture 297"/>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0110369" y="5672548"/>
                <a:ext cx="790128" cy="246915"/>
              </a:xfrm>
              <a:prstGeom prst="rect">
                <a:avLst/>
              </a:prstGeom>
            </p:spPr>
          </p:pic>
          <p:sp>
            <p:nvSpPr>
              <p:cNvPr id="363" name="TextBox 362"/>
              <p:cNvSpPr txBox="1"/>
              <p:nvPr/>
            </p:nvSpPr>
            <p:spPr>
              <a:xfrm>
                <a:off x="9146643" y="5368127"/>
                <a:ext cx="1853365" cy="184218"/>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Integration Connector</a:t>
                </a:r>
                <a:endParaRPr kumimoji="0" lang="en-US" sz="1197"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grpSp>
        <p:sp>
          <p:nvSpPr>
            <p:cNvPr id="404" name="Rounded Rectangle 403"/>
            <p:cNvSpPr/>
            <p:nvPr/>
          </p:nvSpPr>
          <p:spPr>
            <a:xfrm flipV="1">
              <a:off x="8997614" y="5475794"/>
              <a:ext cx="1793222" cy="717297"/>
            </a:xfrm>
            <a:prstGeom prst="roundRect">
              <a:avLst/>
            </a:prstGeom>
            <a:noFill/>
            <a:ln w="22225">
              <a:solidFill>
                <a:schemeClr val="bg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pic>
        <p:nvPicPr>
          <p:cNvPr id="405" name="Picture 404"/>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2514851" y="5757114"/>
            <a:ext cx="940556" cy="415889"/>
          </a:xfrm>
          <a:prstGeom prst="rect">
            <a:avLst/>
          </a:prstGeom>
        </p:spPr>
      </p:pic>
      <p:pic>
        <p:nvPicPr>
          <p:cNvPr id="408" name="Picture 407"/>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10469769" y="4706438"/>
            <a:ext cx="194217" cy="179031"/>
          </a:xfrm>
          <a:prstGeom prst="rect">
            <a:avLst/>
          </a:prstGeom>
        </p:spPr>
      </p:pic>
      <p:sp>
        <p:nvSpPr>
          <p:cNvPr id="409" name="TextBox 408"/>
          <p:cNvSpPr txBox="1"/>
          <p:nvPr/>
        </p:nvSpPr>
        <p:spPr>
          <a:xfrm>
            <a:off x="10463474" y="4895966"/>
            <a:ext cx="250398" cy="138499"/>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D4647"/>
                </a:solidFill>
                <a:effectLst/>
                <a:uLnTx/>
                <a:uFillTx/>
                <a:latin typeface="Century Gothic" panose="020F0302020204030204"/>
                <a:ea typeface="+mn-ea"/>
                <a:cs typeface="+mn-cs"/>
              </a:rPr>
              <a:t>MES</a:t>
            </a:r>
          </a:p>
        </p:txBody>
      </p:sp>
      <p:grpSp>
        <p:nvGrpSpPr>
          <p:cNvPr id="413" name="Group 412"/>
          <p:cNvGrpSpPr/>
          <p:nvPr/>
        </p:nvGrpSpPr>
        <p:grpSpPr>
          <a:xfrm>
            <a:off x="10632225" y="3894092"/>
            <a:ext cx="575548" cy="353833"/>
            <a:chOff x="11113612" y="3867942"/>
            <a:chExt cx="575548" cy="353833"/>
          </a:xfrm>
        </p:grpSpPr>
        <p:pic>
          <p:nvPicPr>
            <p:cNvPr id="410" name="Picture 409"/>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1440834" y="3881589"/>
              <a:ext cx="184390" cy="171996"/>
            </a:xfrm>
            <a:prstGeom prst="rect">
              <a:avLst/>
            </a:prstGeom>
          </p:spPr>
        </p:pic>
        <p:pic>
          <p:nvPicPr>
            <p:cNvPr id="411" name="Picture 8" descr="Mill Icon image #15715"/>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11113612" y="3867942"/>
              <a:ext cx="289936" cy="319256"/>
            </a:xfrm>
            <a:prstGeom prst="rect">
              <a:avLst/>
            </a:prstGeom>
            <a:noFill/>
            <a:extLst>
              <a:ext uri="{909E8E84-426E-40DD-AFC4-6F175D3DCCD1}">
                <a14:hiddenFill xmlns:a14="http://schemas.microsoft.com/office/drawing/2010/main">
                  <a:solidFill>
                    <a:srgbClr val="FFFFFF"/>
                  </a:solidFill>
                </a14:hiddenFill>
              </a:ext>
            </a:extLst>
          </p:spPr>
        </p:pic>
        <p:sp>
          <p:nvSpPr>
            <p:cNvPr id="412" name="TextBox 411"/>
            <p:cNvSpPr txBox="1"/>
            <p:nvPr/>
          </p:nvSpPr>
          <p:spPr>
            <a:xfrm>
              <a:off x="11438762" y="4083276"/>
              <a:ext cx="250398" cy="138499"/>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D4647"/>
                  </a:solidFill>
                  <a:effectLst/>
                  <a:uLnTx/>
                  <a:uFillTx/>
                  <a:latin typeface="Century Gothic" panose="020F0302020204030204"/>
                  <a:ea typeface="+mn-ea"/>
                  <a:cs typeface="+mn-cs"/>
                </a:rPr>
                <a:t>PLC</a:t>
              </a:r>
              <a:endParaRPr kumimoji="0" lang="en-US" sz="9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grpSp>
      <p:pic>
        <p:nvPicPr>
          <p:cNvPr id="414" name="Picture 413"/>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1182429" y="4677680"/>
            <a:ext cx="148408" cy="207869"/>
          </a:xfrm>
          <a:prstGeom prst="rect">
            <a:avLst/>
          </a:prstGeom>
        </p:spPr>
      </p:pic>
      <p:sp>
        <p:nvSpPr>
          <p:cNvPr id="418" name="TextBox 417"/>
          <p:cNvSpPr txBox="1"/>
          <p:nvPr/>
        </p:nvSpPr>
        <p:spPr>
          <a:xfrm>
            <a:off x="11035578" y="4905509"/>
            <a:ext cx="531928" cy="138499"/>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D4647"/>
                </a:solidFill>
                <a:effectLst/>
                <a:uLnTx/>
                <a:uFillTx/>
                <a:latin typeface="Century Gothic" panose="020F0302020204030204"/>
                <a:ea typeface="+mn-ea"/>
                <a:cs typeface="+mn-cs"/>
              </a:rPr>
              <a:t>Historian</a:t>
            </a:r>
            <a:endParaRPr kumimoji="0" lang="en-US" sz="9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grpSp>
        <p:nvGrpSpPr>
          <p:cNvPr id="420" name="Group 419"/>
          <p:cNvGrpSpPr/>
          <p:nvPr/>
        </p:nvGrpSpPr>
        <p:grpSpPr>
          <a:xfrm>
            <a:off x="6107195" y="775797"/>
            <a:ext cx="1113024" cy="755646"/>
            <a:chOff x="9590107" y="3812585"/>
            <a:chExt cx="1686846" cy="1023764"/>
          </a:xfrm>
        </p:grpSpPr>
        <p:sp>
          <p:nvSpPr>
            <p:cNvPr id="421" name="Oval 6"/>
            <p:cNvSpPr/>
            <p:nvPr/>
          </p:nvSpPr>
          <p:spPr>
            <a:xfrm>
              <a:off x="9590107" y="3812585"/>
              <a:ext cx="1686846" cy="1023764"/>
            </a:xfrm>
            <a:custGeom>
              <a:avLst/>
              <a:gdLst/>
              <a:ahLst/>
              <a:cxnLst/>
              <a:rect l="l" t="t" r="r" b="b"/>
              <a:pathLst>
                <a:path w="4964525" h="3013028">
                  <a:moveTo>
                    <a:pt x="2884586" y="0"/>
                  </a:moveTo>
                  <a:cubicBezTo>
                    <a:pt x="3572595" y="0"/>
                    <a:pt x="4130336" y="522480"/>
                    <a:pt x="4130336" y="1166991"/>
                  </a:cubicBezTo>
                  <a:cubicBezTo>
                    <a:pt x="4130336" y="1248321"/>
                    <a:pt x="4121455" y="1327708"/>
                    <a:pt x="4103839" y="1404186"/>
                  </a:cubicBezTo>
                  <a:lnTo>
                    <a:pt x="4194488" y="1404186"/>
                  </a:lnTo>
                  <a:cubicBezTo>
                    <a:pt x="4194493" y="1404185"/>
                    <a:pt x="4194498" y="1404185"/>
                    <a:pt x="4194503" y="1404185"/>
                  </a:cubicBezTo>
                  <a:lnTo>
                    <a:pt x="4194523" y="1404186"/>
                  </a:lnTo>
                  <a:lnTo>
                    <a:pt x="4250540" y="1404186"/>
                  </a:lnTo>
                  <a:lnTo>
                    <a:pt x="4250540" y="1407141"/>
                  </a:lnTo>
                  <a:cubicBezTo>
                    <a:pt x="4649685" y="1436306"/>
                    <a:pt x="4964525" y="1784047"/>
                    <a:pt x="4964525" y="2208606"/>
                  </a:cubicBezTo>
                  <a:cubicBezTo>
                    <a:pt x="4964525" y="2633166"/>
                    <a:pt x="4649685" y="2980906"/>
                    <a:pt x="4250540" y="3010071"/>
                  </a:cubicBezTo>
                  <a:lnTo>
                    <a:pt x="4250540" y="3013028"/>
                  </a:lnTo>
                  <a:lnTo>
                    <a:pt x="819419" y="3013028"/>
                  </a:lnTo>
                  <a:lnTo>
                    <a:pt x="794739" y="3013028"/>
                  </a:lnTo>
                  <a:lnTo>
                    <a:pt x="794739" y="3011740"/>
                  </a:lnTo>
                  <a:cubicBezTo>
                    <a:pt x="353588" y="2999143"/>
                    <a:pt x="0" y="2625137"/>
                    <a:pt x="0" y="2165737"/>
                  </a:cubicBezTo>
                  <a:cubicBezTo>
                    <a:pt x="0" y="1739526"/>
                    <a:pt x="304344" y="1386817"/>
                    <a:pt x="700732" y="1328329"/>
                  </a:cubicBezTo>
                  <a:cubicBezTo>
                    <a:pt x="689519" y="1288569"/>
                    <a:pt x="684332" y="1246719"/>
                    <a:pt x="684332" y="1203686"/>
                  </a:cubicBezTo>
                  <a:cubicBezTo>
                    <a:pt x="684332" y="907064"/>
                    <a:pt x="930753" y="666605"/>
                    <a:pt x="1234729" y="666605"/>
                  </a:cubicBezTo>
                  <a:cubicBezTo>
                    <a:pt x="1416547" y="666605"/>
                    <a:pt x="1577773" y="752632"/>
                    <a:pt x="1676643" y="886269"/>
                  </a:cubicBezTo>
                  <a:cubicBezTo>
                    <a:pt x="1809512" y="377166"/>
                    <a:pt x="2300031" y="0"/>
                    <a:pt x="2884586" y="0"/>
                  </a:cubicBez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6858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3565A"/>
                </a:solidFill>
                <a:effectLst/>
                <a:uLnTx/>
                <a:uFillTx/>
                <a:latin typeface="Century Gothic" panose="020F0302020204030204"/>
                <a:ea typeface="+mn-ea"/>
                <a:cs typeface="+mn-cs"/>
              </a:endParaRPr>
            </a:p>
          </p:txBody>
        </p:sp>
        <p:pic>
          <p:nvPicPr>
            <p:cNvPr id="422" name="Picture 421"/>
            <p:cNvPicPr>
              <a:picLocks noChangeAspect="1"/>
            </p:cNvPicPr>
            <p:nvPr/>
          </p:nvPicPr>
          <p:blipFill>
            <a:blip r:embed="rId3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68965" y="4139848"/>
              <a:ext cx="1308961" cy="548640"/>
            </a:xfrm>
            <a:prstGeom prst="rect">
              <a:avLst/>
            </a:prstGeom>
          </p:spPr>
        </p:pic>
      </p:grpSp>
      <p:grpSp>
        <p:nvGrpSpPr>
          <p:cNvPr id="430" name="Group 429"/>
          <p:cNvGrpSpPr/>
          <p:nvPr/>
        </p:nvGrpSpPr>
        <p:grpSpPr>
          <a:xfrm>
            <a:off x="3417858" y="787317"/>
            <a:ext cx="1275471" cy="724703"/>
            <a:chOff x="7263487" y="3778178"/>
            <a:chExt cx="1686846" cy="1023764"/>
          </a:xfrm>
        </p:grpSpPr>
        <p:sp>
          <p:nvSpPr>
            <p:cNvPr id="431" name="Oval 6"/>
            <p:cNvSpPr/>
            <p:nvPr/>
          </p:nvSpPr>
          <p:spPr>
            <a:xfrm>
              <a:off x="7263487" y="3778178"/>
              <a:ext cx="1686846" cy="1023764"/>
            </a:xfrm>
            <a:custGeom>
              <a:avLst/>
              <a:gdLst/>
              <a:ahLst/>
              <a:cxnLst/>
              <a:rect l="l" t="t" r="r" b="b"/>
              <a:pathLst>
                <a:path w="4964525" h="3013028">
                  <a:moveTo>
                    <a:pt x="2884586" y="0"/>
                  </a:moveTo>
                  <a:cubicBezTo>
                    <a:pt x="3572595" y="0"/>
                    <a:pt x="4130336" y="522480"/>
                    <a:pt x="4130336" y="1166991"/>
                  </a:cubicBezTo>
                  <a:cubicBezTo>
                    <a:pt x="4130336" y="1248321"/>
                    <a:pt x="4121455" y="1327708"/>
                    <a:pt x="4103839" y="1404186"/>
                  </a:cubicBezTo>
                  <a:lnTo>
                    <a:pt x="4194488" y="1404186"/>
                  </a:lnTo>
                  <a:cubicBezTo>
                    <a:pt x="4194493" y="1404185"/>
                    <a:pt x="4194498" y="1404185"/>
                    <a:pt x="4194503" y="1404185"/>
                  </a:cubicBezTo>
                  <a:lnTo>
                    <a:pt x="4194523" y="1404186"/>
                  </a:lnTo>
                  <a:lnTo>
                    <a:pt x="4250540" y="1404186"/>
                  </a:lnTo>
                  <a:lnTo>
                    <a:pt x="4250540" y="1407141"/>
                  </a:lnTo>
                  <a:cubicBezTo>
                    <a:pt x="4649685" y="1436306"/>
                    <a:pt x="4964525" y="1784047"/>
                    <a:pt x="4964525" y="2208606"/>
                  </a:cubicBezTo>
                  <a:cubicBezTo>
                    <a:pt x="4964525" y="2633166"/>
                    <a:pt x="4649685" y="2980906"/>
                    <a:pt x="4250540" y="3010071"/>
                  </a:cubicBezTo>
                  <a:lnTo>
                    <a:pt x="4250540" y="3013028"/>
                  </a:lnTo>
                  <a:lnTo>
                    <a:pt x="819419" y="3013028"/>
                  </a:lnTo>
                  <a:lnTo>
                    <a:pt x="794739" y="3013028"/>
                  </a:lnTo>
                  <a:lnTo>
                    <a:pt x="794739" y="3011740"/>
                  </a:lnTo>
                  <a:cubicBezTo>
                    <a:pt x="353588" y="2999143"/>
                    <a:pt x="0" y="2625137"/>
                    <a:pt x="0" y="2165737"/>
                  </a:cubicBezTo>
                  <a:cubicBezTo>
                    <a:pt x="0" y="1739526"/>
                    <a:pt x="304344" y="1386817"/>
                    <a:pt x="700732" y="1328329"/>
                  </a:cubicBezTo>
                  <a:cubicBezTo>
                    <a:pt x="689519" y="1288569"/>
                    <a:pt x="684332" y="1246719"/>
                    <a:pt x="684332" y="1203686"/>
                  </a:cubicBezTo>
                  <a:cubicBezTo>
                    <a:pt x="684332" y="907064"/>
                    <a:pt x="930753" y="666605"/>
                    <a:pt x="1234729" y="666605"/>
                  </a:cubicBezTo>
                  <a:cubicBezTo>
                    <a:pt x="1416547" y="666605"/>
                    <a:pt x="1577773" y="752632"/>
                    <a:pt x="1676643" y="886269"/>
                  </a:cubicBezTo>
                  <a:cubicBezTo>
                    <a:pt x="1809512" y="377166"/>
                    <a:pt x="2300031" y="0"/>
                    <a:pt x="2884586" y="0"/>
                  </a:cubicBez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53565A"/>
                </a:solidFill>
                <a:effectLst/>
                <a:uLnTx/>
                <a:uFillTx/>
                <a:latin typeface="Century Gothic" panose="020F0302020204030204"/>
                <a:ea typeface="+mn-ea"/>
                <a:cs typeface="+mn-cs"/>
              </a:endParaRPr>
            </a:p>
          </p:txBody>
        </p:sp>
        <p:pic>
          <p:nvPicPr>
            <p:cNvPr id="432" name="Picture 431"/>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7491113" y="4247446"/>
              <a:ext cx="1182797" cy="365760"/>
            </a:xfrm>
            <a:prstGeom prst="rect">
              <a:avLst/>
            </a:prstGeom>
          </p:spPr>
        </p:pic>
      </p:grpSp>
      <p:sp>
        <p:nvSpPr>
          <p:cNvPr id="434" name="Can 433"/>
          <p:cNvSpPr/>
          <p:nvPr/>
        </p:nvSpPr>
        <p:spPr>
          <a:xfrm>
            <a:off x="3161854" y="1155545"/>
            <a:ext cx="174419" cy="201300"/>
          </a:xfrm>
          <a:prstGeom prst="can">
            <a:avLst>
              <a:gd name="adj" fmla="val 51425"/>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nvGrpSpPr>
          <p:cNvPr id="435" name="Group 434"/>
          <p:cNvGrpSpPr/>
          <p:nvPr/>
        </p:nvGrpSpPr>
        <p:grpSpPr>
          <a:xfrm>
            <a:off x="7579044" y="894731"/>
            <a:ext cx="1188968" cy="632994"/>
            <a:chOff x="8370327" y="4806969"/>
            <a:chExt cx="1686846" cy="1023764"/>
          </a:xfrm>
        </p:grpSpPr>
        <p:sp>
          <p:nvSpPr>
            <p:cNvPr id="436" name="Oval 6"/>
            <p:cNvSpPr/>
            <p:nvPr/>
          </p:nvSpPr>
          <p:spPr>
            <a:xfrm>
              <a:off x="8370327" y="4806969"/>
              <a:ext cx="1686846" cy="1023764"/>
            </a:xfrm>
            <a:custGeom>
              <a:avLst/>
              <a:gdLst/>
              <a:ahLst/>
              <a:cxnLst/>
              <a:rect l="l" t="t" r="r" b="b"/>
              <a:pathLst>
                <a:path w="4964525" h="3013028">
                  <a:moveTo>
                    <a:pt x="2884586" y="0"/>
                  </a:moveTo>
                  <a:cubicBezTo>
                    <a:pt x="3572595" y="0"/>
                    <a:pt x="4130336" y="522480"/>
                    <a:pt x="4130336" y="1166991"/>
                  </a:cubicBezTo>
                  <a:cubicBezTo>
                    <a:pt x="4130336" y="1248321"/>
                    <a:pt x="4121455" y="1327708"/>
                    <a:pt x="4103839" y="1404186"/>
                  </a:cubicBezTo>
                  <a:lnTo>
                    <a:pt x="4194488" y="1404186"/>
                  </a:lnTo>
                  <a:cubicBezTo>
                    <a:pt x="4194493" y="1404185"/>
                    <a:pt x="4194498" y="1404185"/>
                    <a:pt x="4194503" y="1404185"/>
                  </a:cubicBezTo>
                  <a:lnTo>
                    <a:pt x="4194523" y="1404186"/>
                  </a:lnTo>
                  <a:lnTo>
                    <a:pt x="4250540" y="1404186"/>
                  </a:lnTo>
                  <a:lnTo>
                    <a:pt x="4250540" y="1407141"/>
                  </a:lnTo>
                  <a:cubicBezTo>
                    <a:pt x="4649685" y="1436306"/>
                    <a:pt x="4964525" y="1784047"/>
                    <a:pt x="4964525" y="2208606"/>
                  </a:cubicBezTo>
                  <a:cubicBezTo>
                    <a:pt x="4964525" y="2633166"/>
                    <a:pt x="4649685" y="2980906"/>
                    <a:pt x="4250540" y="3010071"/>
                  </a:cubicBezTo>
                  <a:lnTo>
                    <a:pt x="4250540" y="3013028"/>
                  </a:lnTo>
                  <a:lnTo>
                    <a:pt x="819419" y="3013028"/>
                  </a:lnTo>
                  <a:lnTo>
                    <a:pt x="794739" y="3013028"/>
                  </a:lnTo>
                  <a:lnTo>
                    <a:pt x="794739" y="3011740"/>
                  </a:lnTo>
                  <a:cubicBezTo>
                    <a:pt x="353588" y="2999143"/>
                    <a:pt x="0" y="2625137"/>
                    <a:pt x="0" y="2165737"/>
                  </a:cubicBezTo>
                  <a:cubicBezTo>
                    <a:pt x="0" y="1739526"/>
                    <a:pt x="304344" y="1386817"/>
                    <a:pt x="700732" y="1328329"/>
                  </a:cubicBezTo>
                  <a:cubicBezTo>
                    <a:pt x="689519" y="1288569"/>
                    <a:pt x="684332" y="1246719"/>
                    <a:pt x="684332" y="1203686"/>
                  </a:cubicBezTo>
                  <a:cubicBezTo>
                    <a:pt x="684332" y="907064"/>
                    <a:pt x="930753" y="666605"/>
                    <a:pt x="1234729" y="666605"/>
                  </a:cubicBezTo>
                  <a:cubicBezTo>
                    <a:pt x="1416547" y="666605"/>
                    <a:pt x="1577773" y="752632"/>
                    <a:pt x="1676643" y="886269"/>
                  </a:cubicBezTo>
                  <a:cubicBezTo>
                    <a:pt x="1809512" y="377166"/>
                    <a:pt x="2300031" y="0"/>
                    <a:pt x="2884586" y="0"/>
                  </a:cubicBez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53565A"/>
                </a:solidFill>
                <a:effectLst/>
                <a:uLnTx/>
                <a:uFillTx/>
                <a:latin typeface="Century Gothic" panose="020F0302020204030204"/>
                <a:ea typeface="+mn-ea"/>
                <a:cs typeface="+mn-cs"/>
              </a:endParaRPr>
            </a:p>
          </p:txBody>
        </p:sp>
        <p:pic>
          <p:nvPicPr>
            <p:cNvPr id="437" name="Picture 436"/>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9051055" y="5044340"/>
              <a:ext cx="465820" cy="465820"/>
            </a:xfrm>
            <a:prstGeom prst="rect">
              <a:avLst/>
            </a:prstGeom>
          </p:spPr>
        </p:pic>
        <p:pic>
          <p:nvPicPr>
            <p:cNvPr id="438" name="Picture 437"/>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8741343" y="5554363"/>
              <a:ext cx="968301" cy="182880"/>
            </a:xfrm>
            <a:prstGeom prst="rect">
              <a:avLst/>
            </a:prstGeom>
          </p:spPr>
        </p:pic>
      </p:grpSp>
      <p:sp>
        <p:nvSpPr>
          <p:cNvPr id="440" name="TextBox 439"/>
          <p:cNvSpPr txBox="1"/>
          <p:nvPr/>
        </p:nvSpPr>
        <p:spPr>
          <a:xfrm>
            <a:off x="7761575" y="1524424"/>
            <a:ext cx="928182" cy="368434"/>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1" i="0" u="none" strike="noStrike" kern="1200" cap="none" spc="0" normalizeH="0" baseline="0" noProof="0" dirty="0">
                <a:ln>
                  <a:noFill/>
                </a:ln>
                <a:solidFill>
                  <a:srgbClr val="6CC04A"/>
                </a:solidFill>
                <a:effectLst/>
                <a:uLnTx/>
                <a:uFillTx/>
                <a:latin typeface="Century Gothic" panose="020F0302020204030204"/>
                <a:ea typeface="+mn-ea"/>
                <a:cs typeface="+mn-cs"/>
              </a:rPr>
              <a:t>GE </a:t>
            </a:r>
            <a:r>
              <a:rPr kumimoji="0" lang="en-US" sz="1197" b="0" i="0" u="none" strike="noStrike" kern="1200" cap="none" spc="0" normalizeH="0" baseline="0" noProof="0" dirty="0" err="1">
                <a:ln>
                  <a:noFill/>
                </a:ln>
                <a:solidFill>
                  <a:srgbClr val="6CC04A"/>
                </a:solidFill>
                <a:effectLst/>
                <a:uLnTx/>
                <a:uFillTx/>
                <a:latin typeface="Century Gothic" panose="020F0302020204030204"/>
                <a:ea typeface="+mn-ea"/>
                <a:cs typeface="+mn-cs"/>
              </a:rPr>
              <a:t>Predix</a:t>
            </a:r>
            <a:endPar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endParaRP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6CC04A"/>
                </a:solidFill>
                <a:effectLst/>
                <a:uLnTx/>
                <a:uFillTx/>
                <a:latin typeface="Century Gothic" panose="020F0302020204030204"/>
                <a:ea typeface="+mn-ea"/>
                <a:cs typeface="+mn-cs"/>
              </a:rPr>
              <a:t>Ext &amp; Agent</a:t>
            </a:r>
          </a:p>
        </p:txBody>
      </p:sp>
      <p:sp>
        <p:nvSpPr>
          <p:cNvPr id="443" name="Rectangle 442"/>
          <p:cNvSpPr/>
          <p:nvPr/>
        </p:nvSpPr>
        <p:spPr>
          <a:xfrm>
            <a:off x="9086405" y="1055267"/>
            <a:ext cx="1243011" cy="246221"/>
          </a:xfrm>
          <a:prstGeom prst="rect">
            <a:avLst/>
          </a:prstGeom>
        </p:spPr>
        <p:txBody>
          <a:bodyPr wrap="square">
            <a:spAutoFit/>
          </a:bodyPr>
          <a:lstStyle/>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D4647"/>
                </a:solidFill>
                <a:effectLst/>
                <a:uLnTx/>
                <a:uFillTx/>
                <a:latin typeface="Century Gothic" panose="020F0302020204030204"/>
                <a:ea typeface="+mn-ea"/>
                <a:cs typeface="+mn-cs"/>
              </a:rPr>
              <a:t>MQTT  REST</a:t>
            </a:r>
          </a:p>
        </p:txBody>
      </p:sp>
      <p:cxnSp>
        <p:nvCxnSpPr>
          <p:cNvPr id="444" name="Elbow Connector 443"/>
          <p:cNvCxnSpPr>
            <a:stCxn id="440" idx="2"/>
            <a:endCxn id="131" idx="3"/>
          </p:cNvCxnSpPr>
          <p:nvPr/>
        </p:nvCxnSpPr>
        <p:spPr>
          <a:xfrm rot="5400000">
            <a:off x="6356779" y="945953"/>
            <a:ext cx="921983" cy="2815793"/>
          </a:xfrm>
          <a:prstGeom prst="bentConnector3">
            <a:avLst>
              <a:gd name="adj1" fmla="val 50000"/>
            </a:avLst>
          </a:prstGeom>
          <a:ln>
            <a:solidFill>
              <a:schemeClr val="tx1"/>
            </a:solidFill>
            <a:headEnd type="triangle"/>
            <a:tailEnd type="triangle"/>
          </a:ln>
          <a:effectLst/>
        </p:spPr>
        <p:style>
          <a:lnRef idx="2">
            <a:schemeClr val="accent4"/>
          </a:lnRef>
          <a:fillRef idx="0">
            <a:schemeClr val="accent4"/>
          </a:fillRef>
          <a:effectRef idx="1">
            <a:schemeClr val="accent4"/>
          </a:effectRef>
          <a:fontRef idx="minor">
            <a:schemeClr val="tx1"/>
          </a:fontRef>
        </p:style>
      </p:cxnSp>
      <p:grpSp>
        <p:nvGrpSpPr>
          <p:cNvPr id="171" name="Group 170"/>
          <p:cNvGrpSpPr/>
          <p:nvPr/>
        </p:nvGrpSpPr>
        <p:grpSpPr>
          <a:xfrm>
            <a:off x="10454543" y="3000448"/>
            <a:ext cx="991778" cy="772972"/>
            <a:chOff x="576613" y="4387970"/>
            <a:chExt cx="826011" cy="824526"/>
          </a:xfrm>
        </p:grpSpPr>
        <p:sp>
          <p:nvSpPr>
            <p:cNvPr id="172" name="TextBox 171"/>
            <p:cNvSpPr txBox="1"/>
            <p:nvPr/>
          </p:nvSpPr>
          <p:spPr>
            <a:xfrm>
              <a:off x="576613" y="4981307"/>
              <a:ext cx="826011" cy="231189"/>
            </a:xfrm>
            <a:prstGeom prst="rect">
              <a:avLst/>
            </a:prstGeom>
            <a:noFill/>
          </p:spPr>
          <p:txBody>
            <a:bodyPr wrap="square" lIns="0" tIns="0" rIns="0" bIns="0" rtlCol="0">
              <a:spAutoFit/>
            </a:bodyPr>
            <a:lstStyle/>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D4647"/>
                  </a:solidFill>
                  <a:effectLst/>
                  <a:uLnTx/>
                  <a:uFillTx/>
                  <a:latin typeface="Century Gothic" panose="020F0302020204030204"/>
                  <a:ea typeface="+mn-ea"/>
                  <a:cs typeface="+mn-cs"/>
                </a:rPr>
                <a:t>Industrial</a:t>
              </a:r>
            </a:p>
            <a:p>
              <a:pPr marL="0" marR="0" lvl="0" indent="0" algn="ctr" defTabSz="108405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D4647"/>
                  </a:solidFill>
                  <a:effectLst/>
                  <a:uLnTx/>
                  <a:uFillTx/>
                  <a:latin typeface="Century Gothic" panose="020F0302020204030204"/>
                  <a:ea typeface="+mn-ea"/>
                  <a:cs typeface="+mn-cs"/>
                </a:rPr>
                <a:t>Equipment</a:t>
              </a:r>
            </a:p>
          </p:txBody>
        </p:sp>
        <p:pic>
          <p:nvPicPr>
            <p:cNvPr id="173" name="Picture 172"/>
            <p:cNvPicPr>
              <a:picLocks noChangeAspect="1"/>
            </p:cNvPicPr>
            <p:nvPr/>
          </p:nvPicPr>
          <p:blipFill>
            <a:blip r:embed="rId37" cstate="screen">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725197" y="4387970"/>
              <a:ext cx="531992" cy="469145"/>
            </a:xfrm>
            <a:prstGeom prst="rect">
              <a:avLst/>
            </a:prstGeom>
          </p:spPr>
        </p:pic>
        <p:sp>
          <p:nvSpPr>
            <p:cNvPr id="175" name="Rectangle 174"/>
            <p:cNvSpPr/>
            <p:nvPr/>
          </p:nvSpPr>
          <p:spPr>
            <a:xfrm>
              <a:off x="724597" y="4851773"/>
              <a:ext cx="532592" cy="1035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405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sp>
        <p:nvSpPr>
          <p:cNvPr id="182" name="Right Bracket 181"/>
          <p:cNvSpPr/>
          <p:nvPr/>
        </p:nvSpPr>
        <p:spPr>
          <a:xfrm rot="16200000">
            <a:off x="10805946" y="4163614"/>
            <a:ext cx="342037" cy="1181082"/>
          </a:xfrm>
          <a:prstGeom prst="rightBracket">
            <a:avLst/>
          </a:prstGeom>
          <a:ln w="254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3D4647"/>
              </a:solidFill>
              <a:effectLst/>
              <a:uLnTx/>
              <a:uFillTx/>
              <a:latin typeface="Century Gothic" panose="020F0302020204030204"/>
              <a:ea typeface="+mn-ea"/>
              <a:cs typeface="+mn-cs"/>
            </a:endParaRPr>
          </a:p>
        </p:txBody>
      </p:sp>
      <p:pic>
        <p:nvPicPr>
          <p:cNvPr id="183" name="Picture 182"/>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7559193" y="775659"/>
            <a:ext cx="278105" cy="259674"/>
          </a:xfrm>
          <a:prstGeom prst="rect">
            <a:avLst/>
          </a:prstGeom>
        </p:spPr>
      </p:pic>
    </p:spTree>
    <p:extLst>
      <p:ext uri="{BB962C8B-B14F-4D97-AF65-F5344CB8AC3E}">
        <p14:creationId xmlns:p14="http://schemas.microsoft.com/office/powerpoint/2010/main" val="331672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125383" y="1124814"/>
            <a:ext cx="12317383" cy="5899154"/>
            <a:chOff x="-151270" y="697719"/>
            <a:chExt cx="12317383" cy="6133762"/>
          </a:xfrm>
        </p:grpSpPr>
        <p:grpSp>
          <p:nvGrpSpPr>
            <p:cNvPr id="36" name="Group 35"/>
            <p:cNvGrpSpPr/>
            <p:nvPr/>
          </p:nvGrpSpPr>
          <p:grpSpPr>
            <a:xfrm>
              <a:off x="-123347" y="3300676"/>
              <a:ext cx="1728758" cy="1630794"/>
              <a:chOff x="-92614" y="3989063"/>
              <a:chExt cx="1728758" cy="1630794"/>
            </a:xfrm>
          </p:grpSpPr>
          <p:sp>
            <p:nvSpPr>
              <p:cNvPr id="26" name="TextBox 25"/>
              <p:cNvSpPr txBox="1"/>
              <p:nvPr/>
            </p:nvSpPr>
            <p:spPr>
              <a:xfrm>
                <a:off x="-92614" y="5250525"/>
                <a:ext cx="1728758" cy="369332"/>
              </a:xfrm>
              <a:prstGeom prst="rect">
                <a:avLst/>
              </a:prstGeom>
              <a:noFill/>
            </p:spPr>
            <p:txBody>
              <a:bodyPr wrap="square" lIns="0" tIns="0" rIns="0" bIns="0" rtlCol="0">
                <a:spAutoFit/>
              </a:bodyPr>
              <a:lstStyle/>
              <a:p>
                <a:pPr algn="ctr" defTabSz="1086775"/>
                <a:r>
                  <a:rPr lang="en-US" sz="1200">
                    <a:solidFill>
                      <a:srgbClr val="3D4647"/>
                    </a:solidFill>
                  </a:rPr>
                  <a:t>Edge/OT</a:t>
                </a:r>
                <a:br>
                  <a:rPr lang="en-US" sz="1200">
                    <a:solidFill>
                      <a:srgbClr val="3D4647"/>
                    </a:solidFill>
                  </a:rPr>
                </a:br>
                <a:r>
                  <a:rPr lang="en-US" sz="1200">
                    <a:solidFill>
                      <a:srgbClr val="3D4647"/>
                    </a:solidFill>
                  </a:rPr>
                  <a:t>Environments</a:t>
                </a:r>
              </a:p>
            </p:txBody>
          </p:sp>
          <p:pic>
            <p:nvPicPr>
              <p:cNvPr id="27" name="Picture 26"/>
              <p:cNvPicPr>
                <a:picLocks noChangeAspect="1"/>
              </p:cNvPicPr>
              <p:nvPr/>
            </p:nvPicPr>
            <p:blipFill>
              <a:blip r:embed="rId3" cstate="email">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218358" y="3989063"/>
                <a:ext cx="1113405" cy="997425"/>
              </a:xfrm>
              <a:prstGeom prst="rect">
                <a:avLst/>
              </a:prstGeom>
            </p:spPr>
          </p:pic>
          <p:sp>
            <p:nvSpPr>
              <p:cNvPr id="28" name="Rectangle 27"/>
              <p:cNvSpPr/>
              <p:nvPr/>
            </p:nvSpPr>
            <p:spPr>
              <a:xfrm>
                <a:off x="265216" y="4763894"/>
                <a:ext cx="1031321" cy="1891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6775"/>
                <a:endParaRPr lang="en-US" sz="1600">
                  <a:solidFill>
                    <a:srgbClr val="FFFFFF"/>
                  </a:solidFill>
                </a:endParaRPr>
              </a:p>
            </p:txBody>
          </p:sp>
          <p:sp>
            <p:nvSpPr>
              <p:cNvPr id="29" name="TextBox 28"/>
              <p:cNvSpPr txBox="1"/>
              <p:nvPr/>
            </p:nvSpPr>
            <p:spPr>
              <a:xfrm>
                <a:off x="289032" y="4804584"/>
                <a:ext cx="460062" cy="107722"/>
              </a:xfrm>
              <a:prstGeom prst="rect">
                <a:avLst/>
              </a:prstGeom>
              <a:noFill/>
            </p:spPr>
            <p:txBody>
              <a:bodyPr wrap="none" lIns="0" tIns="0" rIns="0" bIns="0" rtlCol="0">
                <a:spAutoFit/>
              </a:bodyPr>
              <a:lstStyle>
                <a:defPPr>
                  <a:defRPr lang="en-US"/>
                </a:defPPr>
                <a:lvl1pPr>
                  <a:defRPr sz="900"/>
                </a:lvl1pPr>
              </a:lstStyle>
              <a:p>
                <a:pPr defTabSz="1086775"/>
                <a:r>
                  <a:rPr lang="en-US" sz="700">
                    <a:solidFill>
                      <a:srgbClr val="3D4647"/>
                    </a:solidFill>
                  </a:rPr>
                  <a:t>Controllers</a:t>
                </a:r>
              </a:p>
            </p:txBody>
          </p:sp>
          <p:sp>
            <p:nvSpPr>
              <p:cNvPr id="30" name="TextBox 29"/>
              <p:cNvSpPr txBox="1"/>
              <p:nvPr/>
            </p:nvSpPr>
            <p:spPr>
              <a:xfrm>
                <a:off x="911538" y="4804584"/>
                <a:ext cx="314189" cy="107722"/>
              </a:xfrm>
              <a:prstGeom prst="rect">
                <a:avLst/>
              </a:prstGeom>
              <a:noFill/>
            </p:spPr>
            <p:txBody>
              <a:bodyPr wrap="none" lIns="0" tIns="0" rIns="0" bIns="0" rtlCol="0">
                <a:spAutoFit/>
              </a:bodyPr>
              <a:lstStyle/>
              <a:p>
                <a:pPr defTabSz="1086775"/>
                <a:r>
                  <a:rPr lang="en-US" sz="700">
                    <a:solidFill>
                      <a:srgbClr val="3D4647"/>
                    </a:solidFill>
                  </a:rPr>
                  <a:t>Sensors</a:t>
                </a:r>
              </a:p>
            </p:txBody>
          </p:sp>
          <p:sp>
            <p:nvSpPr>
              <p:cNvPr id="31" name="Rectangle 30"/>
              <p:cNvSpPr/>
              <p:nvPr/>
            </p:nvSpPr>
            <p:spPr>
              <a:xfrm>
                <a:off x="779689" y="4763894"/>
                <a:ext cx="65255" cy="194544"/>
              </a:xfrm>
              <a:prstGeom prst="rect">
                <a:avLst/>
              </a:prstGeom>
              <a:solidFill>
                <a:srgbClr val="4D5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6775"/>
                <a:endParaRPr lang="en-US" sz="1600">
                  <a:solidFill>
                    <a:srgbClr val="FFFFFF"/>
                  </a:solidFill>
                </a:endParaRPr>
              </a:p>
            </p:txBody>
          </p:sp>
          <p:sp>
            <p:nvSpPr>
              <p:cNvPr id="33" name="Rectangle 32"/>
              <p:cNvSpPr/>
              <p:nvPr/>
            </p:nvSpPr>
            <p:spPr>
              <a:xfrm>
                <a:off x="217102" y="4975130"/>
                <a:ext cx="1114661" cy="22006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6775"/>
                <a:endParaRPr lang="en-US" sz="2200">
                  <a:solidFill>
                    <a:srgbClr val="FFFFFF"/>
                  </a:solidFill>
                </a:endParaRPr>
              </a:p>
            </p:txBody>
          </p:sp>
          <p:sp>
            <p:nvSpPr>
              <p:cNvPr id="34" name="Rectangle 33"/>
              <p:cNvSpPr/>
              <p:nvPr/>
            </p:nvSpPr>
            <p:spPr>
              <a:xfrm>
                <a:off x="265216" y="4978239"/>
                <a:ext cx="1031321" cy="1891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6775"/>
                <a:endParaRPr lang="en-US" sz="1600">
                  <a:solidFill>
                    <a:srgbClr val="FFFFFF"/>
                  </a:solidFill>
                </a:endParaRPr>
              </a:p>
            </p:txBody>
          </p:sp>
          <p:sp>
            <p:nvSpPr>
              <p:cNvPr id="35" name="TextBox 34"/>
              <p:cNvSpPr txBox="1"/>
              <p:nvPr/>
            </p:nvSpPr>
            <p:spPr>
              <a:xfrm>
                <a:off x="582307" y="5018958"/>
                <a:ext cx="399148" cy="107722"/>
              </a:xfrm>
              <a:prstGeom prst="rect">
                <a:avLst/>
              </a:prstGeom>
              <a:noFill/>
            </p:spPr>
            <p:txBody>
              <a:bodyPr wrap="none" lIns="0" tIns="0" rIns="0" bIns="0" rtlCol="0">
                <a:spAutoFit/>
              </a:bodyPr>
              <a:lstStyle>
                <a:defPPr>
                  <a:defRPr lang="en-US"/>
                </a:defPPr>
                <a:lvl1pPr>
                  <a:defRPr sz="900"/>
                </a:lvl1pPr>
              </a:lstStyle>
              <a:p>
                <a:pPr defTabSz="1086775"/>
                <a:r>
                  <a:rPr lang="en-US" sz="700">
                    <a:solidFill>
                      <a:srgbClr val="3D4647"/>
                    </a:solidFill>
                  </a:rPr>
                  <a:t>Historians</a:t>
                </a:r>
              </a:p>
            </p:txBody>
          </p:sp>
        </p:grpSp>
        <p:grpSp>
          <p:nvGrpSpPr>
            <p:cNvPr id="42" name="Group 41"/>
            <p:cNvGrpSpPr/>
            <p:nvPr/>
          </p:nvGrpSpPr>
          <p:grpSpPr>
            <a:xfrm>
              <a:off x="-151270" y="5284168"/>
              <a:ext cx="1756970" cy="934464"/>
              <a:chOff x="-152086" y="5750434"/>
              <a:chExt cx="1756970" cy="934464"/>
            </a:xfrm>
          </p:grpSpPr>
          <p:sp>
            <p:nvSpPr>
              <p:cNvPr id="37" name="TextBox 36"/>
              <p:cNvSpPr txBox="1"/>
              <p:nvPr/>
            </p:nvSpPr>
            <p:spPr>
              <a:xfrm>
                <a:off x="-152086" y="6241700"/>
                <a:ext cx="1756970" cy="443198"/>
              </a:xfrm>
              <a:prstGeom prst="rect">
                <a:avLst/>
              </a:prstGeom>
              <a:noFill/>
            </p:spPr>
            <p:txBody>
              <a:bodyPr wrap="square" lIns="0" tIns="0" rIns="0" bIns="0" rtlCol="0">
                <a:spAutoFit/>
              </a:bodyPr>
              <a:lstStyle/>
              <a:p>
                <a:pPr algn="ctr" defTabSz="1086775">
                  <a:lnSpc>
                    <a:spcPct val="80000"/>
                  </a:lnSpc>
                </a:pPr>
                <a:r>
                  <a:rPr lang="en-US" sz="1200">
                    <a:solidFill>
                      <a:srgbClr val="3D4647"/>
                    </a:solidFill>
                  </a:rPr>
                  <a:t>CAD &amp; PLM</a:t>
                </a:r>
              </a:p>
              <a:p>
                <a:pPr algn="ctr" defTabSz="1086775">
                  <a:lnSpc>
                    <a:spcPct val="80000"/>
                  </a:lnSpc>
                </a:pPr>
                <a:r>
                  <a:rPr lang="en-US" sz="1200">
                    <a:solidFill>
                      <a:srgbClr val="3D4647"/>
                    </a:solidFill>
                  </a:rPr>
                  <a:t>AEC &amp; BIM</a:t>
                </a:r>
              </a:p>
              <a:p>
                <a:pPr algn="ctr" defTabSz="1086775">
                  <a:lnSpc>
                    <a:spcPct val="80000"/>
                  </a:lnSpc>
                </a:pPr>
                <a:r>
                  <a:rPr lang="en-US" sz="1200">
                    <a:solidFill>
                      <a:srgbClr val="3D4647"/>
                    </a:solidFill>
                  </a:rPr>
                  <a:t>Digital Context</a:t>
                </a:r>
              </a:p>
            </p:txBody>
          </p:sp>
          <p:grpSp>
            <p:nvGrpSpPr>
              <p:cNvPr id="38" name="Group 37"/>
              <p:cNvGrpSpPr/>
              <p:nvPr/>
            </p:nvGrpSpPr>
            <p:grpSpPr>
              <a:xfrm>
                <a:off x="112966" y="5750434"/>
                <a:ext cx="1229443" cy="380611"/>
                <a:chOff x="2395963" y="5331286"/>
                <a:chExt cx="955971" cy="261981"/>
              </a:xfrm>
            </p:grpSpPr>
            <p:sp>
              <p:nvSpPr>
                <p:cNvPr id="39" name="Can 38"/>
                <p:cNvSpPr/>
                <p:nvPr/>
              </p:nvSpPr>
              <p:spPr>
                <a:xfrm>
                  <a:off x="2395963" y="5331286"/>
                  <a:ext cx="421981" cy="261981"/>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6775"/>
                  <a:endParaRPr lang="en-US" sz="1200">
                    <a:solidFill>
                      <a:srgbClr val="FFFFFF"/>
                    </a:solidFill>
                  </a:endParaRPr>
                </a:p>
              </p:txBody>
            </p:sp>
            <p:sp>
              <p:nvSpPr>
                <p:cNvPr id="40" name="Can 39"/>
                <p:cNvSpPr/>
                <p:nvPr/>
              </p:nvSpPr>
              <p:spPr>
                <a:xfrm>
                  <a:off x="2929953" y="5331286"/>
                  <a:ext cx="421981" cy="261981"/>
                </a:xfrm>
                <a:prstGeom prst="ca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6775"/>
                  <a:endParaRPr lang="en-US" sz="1200">
                    <a:solidFill>
                      <a:srgbClr val="FFFFFF"/>
                    </a:solidFill>
                  </a:endParaRPr>
                </a:p>
              </p:txBody>
            </p:sp>
          </p:grpSp>
        </p:grpSp>
        <p:pic>
          <p:nvPicPr>
            <p:cNvPr id="48" name="Picture 4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07633" y="2434482"/>
              <a:ext cx="772800" cy="771006"/>
            </a:xfrm>
            <a:prstGeom prst="rect">
              <a:avLst/>
            </a:prstGeom>
          </p:spPr>
        </p:pic>
        <p:sp>
          <p:nvSpPr>
            <p:cNvPr id="52" name="Rounded Rectangle 51"/>
            <p:cNvSpPr/>
            <p:nvPr/>
          </p:nvSpPr>
          <p:spPr>
            <a:xfrm>
              <a:off x="4796896" y="828888"/>
              <a:ext cx="4356421" cy="4027193"/>
            </a:xfrm>
            <a:prstGeom prst="roundRect">
              <a:avLst/>
            </a:prstGeom>
            <a:noFill/>
            <a:ln>
              <a:prstDash val="dash"/>
            </a:ln>
          </p:spPr>
          <p:style>
            <a:lnRef idx="2">
              <a:schemeClr val="accent4"/>
            </a:lnRef>
            <a:fillRef idx="1">
              <a:schemeClr val="lt1"/>
            </a:fillRef>
            <a:effectRef idx="0">
              <a:schemeClr val="accent4"/>
            </a:effectRef>
            <a:fontRef idx="minor">
              <a:schemeClr val="dk1"/>
            </a:fontRef>
          </p:style>
          <p:txBody>
            <a:bodyPr rtlCol="0" anchor="ctr"/>
            <a:lstStyle/>
            <a:p>
              <a:pPr algn="ctr" defTabSz="1086775"/>
              <a:endParaRPr lang="en-US" sz="2200">
                <a:solidFill>
                  <a:srgbClr val="FFFFFF"/>
                </a:solidFill>
              </a:endParaRPr>
            </a:p>
          </p:txBody>
        </p:sp>
        <p:sp>
          <p:nvSpPr>
            <p:cNvPr id="50" name="TextBox 49"/>
            <p:cNvSpPr txBox="1"/>
            <p:nvPr/>
          </p:nvSpPr>
          <p:spPr>
            <a:xfrm>
              <a:off x="5218337" y="1384858"/>
              <a:ext cx="1846660" cy="215444"/>
            </a:xfrm>
            <a:prstGeom prst="rect">
              <a:avLst/>
            </a:prstGeom>
            <a:noFill/>
          </p:spPr>
          <p:txBody>
            <a:bodyPr wrap="none" lIns="0" tIns="0" rIns="0" bIns="0" rtlCol="0">
              <a:spAutoFit/>
            </a:bodyPr>
            <a:lstStyle/>
            <a:p>
              <a:pPr algn="ctr" defTabSz="1086775"/>
              <a:r>
                <a:rPr lang="en-US" sz="1400" b="1">
                  <a:solidFill>
                    <a:srgbClr val="3D4647"/>
                  </a:solidFill>
                </a:rPr>
                <a:t>ThingWorx Composer</a:t>
              </a:r>
            </a:p>
          </p:txBody>
        </p:sp>
        <p:sp>
          <p:nvSpPr>
            <p:cNvPr id="55" name="Rounded Rectangle 54"/>
            <p:cNvSpPr/>
            <p:nvPr/>
          </p:nvSpPr>
          <p:spPr>
            <a:xfrm>
              <a:off x="4958212" y="1301265"/>
              <a:ext cx="2218379" cy="1360937"/>
            </a:xfrm>
            <a:prstGeom prst="round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defTabSz="1086775"/>
              <a:endParaRPr lang="en-US" sz="2200">
                <a:solidFill>
                  <a:srgbClr val="FFFFFF"/>
                </a:solidFill>
              </a:endParaRPr>
            </a:p>
          </p:txBody>
        </p:sp>
        <p:sp>
          <p:nvSpPr>
            <p:cNvPr id="56" name="TextBox 55"/>
            <p:cNvSpPr txBox="1"/>
            <p:nvPr/>
          </p:nvSpPr>
          <p:spPr>
            <a:xfrm>
              <a:off x="5050956" y="1770217"/>
              <a:ext cx="879699" cy="408623"/>
            </a:xfrm>
            <a:prstGeom prst="roundRect">
              <a:avLst/>
            </a:prstGeom>
            <a:ln>
              <a:solidFill>
                <a:schemeClr val="tx2">
                  <a:lumMod val="40000"/>
                  <a:lumOff val="60000"/>
                </a:schemeClr>
              </a:solid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lgn="ctr" defTabSz="1086775"/>
              <a:r>
                <a:rPr lang="en-US" sz="1200">
                  <a:solidFill>
                    <a:srgbClr val="3D4647"/>
                  </a:solidFill>
                </a:rPr>
                <a:t>Model  Definition</a:t>
              </a:r>
            </a:p>
          </p:txBody>
        </p:sp>
        <p:sp>
          <p:nvSpPr>
            <p:cNvPr id="57" name="TextBox 56"/>
            <p:cNvSpPr txBox="1"/>
            <p:nvPr/>
          </p:nvSpPr>
          <p:spPr>
            <a:xfrm>
              <a:off x="5064199" y="2309869"/>
              <a:ext cx="2016000" cy="204311"/>
            </a:xfrm>
            <a:prstGeom prst="roundRect">
              <a:avLst/>
            </a:prstGeom>
            <a:ln>
              <a:solidFill>
                <a:schemeClr val="tx2">
                  <a:lumMod val="40000"/>
                  <a:lumOff val="60000"/>
                </a:schemeClr>
              </a:solid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defTabSz="1086775"/>
              <a:r>
                <a:rPr lang="en-US" sz="1200">
                  <a:solidFill>
                    <a:srgbClr val="3D4647"/>
                  </a:solidFill>
                </a:rPr>
                <a:t>Business Logic</a:t>
              </a:r>
            </a:p>
          </p:txBody>
        </p:sp>
        <p:pic>
          <p:nvPicPr>
            <p:cNvPr id="62" name="Picture 6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10" y="5341857"/>
              <a:ext cx="411556" cy="576450"/>
            </a:xfrm>
            <a:prstGeom prst="rect">
              <a:avLst/>
            </a:prstGeom>
          </p:spPr>
        </p:pic>
        <p:sp>
          <p:nvSpPr>
            <p:cNvPr id="66" name="Rectangle 65"/>
            <p:cNvSpPr/>
            <p:nvPr/>
          </p:nvSpPr>
          <p:spPr>
            <a:xfrm>
              <a:off x="4621583" y="6090846"/>
              <a:ext cx="2113582" cy="461665"/>
            </a:xfrm>
            <a:prstGeom prst="rect">
              <a:avLst/>
            </a:prstGeom>
          </p:spPr>
          <p:txBody>
            <a:bodyPr wrap="square">
              <a:spAutoFit/>
            </a:bodyPr>
            <a:lstStyle/>
            <a:p>
              <a:pPr algn="ctr" defTabSz="1086775"/>
              <a:r>
                <a:rPr lang="en-US" sz="1200">
                  <a:solidFill>
                    <a:srgbClr val="3D4647"/>
                  </a:solidFill>
                </a:rPr>
                <a:t>Database infrastructure (On premise or Cloud)</a:t>
              </a:r>
            </a:p>
          </p:txBody>
        </p:sp>
        <p:pic>
          <p:nvPicPr>
            <p:cNvPr id="69" name="Picture 6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53213" y="5596054"/>
              <a:ext cx="1116041" cy="513110"/>
            </a:xfrm>
            <a:prstGeom prst="rect">
              <a:avLst/>
            </a:prstGeom>
          </p:spPr>
        </p:pic>
        <p:sp>
          <p:nvSpPr>
            <p:cNvPr id="73" name="TextBox 72"/>
            <p:cNvSpPr txBox="1"/>
            <p:nvPr/>
          </p:nvSpPr>
          <p:spPr>
            <a:xfrm>
              <a:off x="8028012" y="1284633"/>
              <a:ext cx="1273350" cy="408623"/>
            </a:xfrm>
            <a:prstGeom prst="roundRect">
              <a:avLst/>
            </a:prstGeom>
            <a:ln/>
          </p:spPr>
          <p:style>
            <a:lnRef idx="2">
              <a:schemeClr val="accent4"/>
            </a:lnRef>
            <a:fillRef idx="1">
              <a:schemeClr val="lt1"/>
            </a:fillRef>
            <a:effectRef idx="0">
              <a:schemeClr val="accent4"/>
            </a:effectRef>
            <a:fontRef idx="minor">
              <a:schemeClr val="dk1"/>
            </a:fontRef>
          </p:style>
          <p:txBody>
            <a:bodyPr wrap="square" lIns="0" tIns="0" rIns="0" bIns="0" rtlCol="0">
              <a:spAutoFit/>
            </a:bodyPr>
            <a:lstStyle/>
            <a:p>
              <a:pPr algn="ctr" defTabSz="1086775"/>
              <a:r>
                <a:rPr lang="en-US" sz="1200" b="1">
                  <a:solidFill>
                    <a:srgbClr val="3D4647"/>
                  </a:solidFill>
                  <a:effectLst/>
                </a:rPr>
                <a:t>ThingWorx Mashup Builder</a:t>
              </a:r>
            </a:p>
          </p:txBody>
        </p:sp>
        <p:grpSp>
          <p:nvGrpSpPr>
            <p:cNvPr id="78" name="Group 77"/>
            <p:cNvGrpSpPr/>
            <p:nvPr/>
          </p:nvGrpSpPr>
          <p:grpSpPr>
            <a:xfrm>
              <a:off x="11211802" y="2070468"/>
              <a:ext cx="565570" cy="784104"/>
              <a:chOff x="10896833" y="2661789"/>
              <a:chExt cx="565570" cy="784104"/>
            </a:xfrm>
          </p:grpSpPr>
          <p:sp>
            <p:nvSpPr>
              <p:cNvPr id="79" name="Freeform 78"/>
              <p:cNvSpPr/>
              <p:nvPr/>
            </p:nvSpPr>
            <p:spPr>
              <a:xfrm>
                <a:off x="10906498" y="2661789"/>
                <a:ext cx="555905" cy="457200"/>
              </a:xfrm>
              <a:custGeom>
                <a:avLst/>
                <a:gdLst>
                  <a:gd name="connsiteX0" fmla="*/ 299870 w 1006510"/>
                  <a:gd name="connsiteY0" fmla="*/ 710888 h 767668"/>
                  <a:gd name="connsiteX1" fmla="*/ 278055 w 1006510"/>
                  <a:gd name="connsiteY1" fmla="*/ 732702 h 767668"/>
                  <a:gd name="connsiteX2" fmla="*/ 299870 w 1006510"/>
                  <a:gd name="connsiteY2" fmla="*/ 754517 h 767668"/>
                  <a:gd name="connsiteX3" fmla="*/ 321684 w 1006510"/>
                  <a:gd name="connsiteY3" fmla="*/ 732702 h 767668"/>
                  <a:gd name="connsiteX4" fmla="*/ 299870 w 1006510"/>
                  <a:gd name="connsiteY4" fmla="*/ 710888 h 767668"/>
                  <a:gd name="connsiteX5" fmla="*/ 836217 w 1006510"/>
                  <a:gd name="connsiteY5" fmla="*/ 676201 h 767668"/>
                  <a:gd name="connsiteX6" fmla="*/ 804129 w 1006510"/>
                  <a:gd name="connsiteY6" fmla="*/ 707004 h 767668"/>
                  <a:gd name="connsiteX7" fmla="*/ 836217 w 1006510"/>
                  <a:gd name="connsiteY7" fmla="*/ 737807 h 767668"/>
                  <a:gd name="connsiteX8" fmla="*/ 868304 w 1006510"/>
                  <a:gd name="connsiteY8" fmla="*/ 707004 h 767668"/>
                  <a:gd name="connsiteX9" fmla="*/ 836217 w 1006510"/>
                  <a:gd name="connsiteY9" fmla="*/ 676201 h 767668"/>
                  <a:gd name="connsiteX10" fmla="*/ 682132 w 1006510"/>
                  <a:gd name="connsiteY10" fmla="*/ 231332 h 767668"/>
                  <a:gd name="connsiteX11" fmla="*/ 682132 w 1006510"/>
                  <a:gd name="connsiteY11" fmla="*/ 658142 h 767668"/>
                  <a:gd name="connsiteX12" fmla="*/ 990302 w 1006510"/>
                  <a:gd name="connsiteY12" fmla="*/ 658142 h 767668"/>
                  <a:gd name="connsiteX13" fmla="*/ 990302 w 1006510"/>
                  <a:gd name="connsiteY13" fmla="*/ 231332 h 767668"/>
                  <a:gd name="connsiteX14" fmla="*/ 807608 w 1006510"/>
                  <a:gd name="connsiteY14" fmla="*/ 175083 h 767668"/>
                  <a:gd name="connsiteX15" fmla="*/ 794036 w 1006510"/>
                  <a:gd name="connsiteY15" fmla="*/ 185381 h 767668"/>
                  <a:gd name="connsiteX16" fmla="*/ 807608 w 1006510"/>
                  <a:gd name="connsiteY16" fmla="*/ 195678 h 767668"/>
                  <a:gd name="connsiteX17" fmla="*/ 864825 w 1006510"/>
                  <a:gd name="connsiteY17" fmla="*/ 195678 h 767668"/>
                  <a:gd name="connsiteX18" fmla="*/ 878397 w 1006510"/>
                  <a:gd name="connsiteY18" fmla="*/ 185381 h 767668"/>
                  <a:gd name="connsiteX19" fmla="*/ 864825 w 1006510"/>
                  <a:gd name="connsiteY19" fmla="*/ 175083 h 767668"/>
                  <a:gd name="connsiteX20" fmla="*/ 754800 w 1006510"/>
                  <a:gd name="connsiteY20" fmla="*/ 175083 h 767668"/>
                  <a:gd name="connsiteX21" fmla="*/ 744073 w 1006510"/>
                  <a:gd name="connsiteY21" fmla="*/ 185381 h 767668"/>
                  <a:gd name="connsiteX22" fmla="*/ 754800 w 1006510"/>
                  <a:gd name="connsiteY22" fmla="*/ 195678 h 767668"/>
                  <a:gd name="connsiteX23" fmla="*/ 765527 w 1006510"/>
                  <a:gd name="connsiteY23" fmla="*/ 185381 h 767668"/>
                  <a:gd name="connsiteX24" fmla="*/ 754800 w 1006510"/>
                  <a:gd name="connsiteY24" fmla="*/ 175083 h 767668"/>
                  <a:gd name="connsiteX25" fmla="*/ 722689 w 1006510"/>
                  <a:gd name="connsiteY25" fmla="*/ 117290 h 767668"/>
                  <a:gd name="connsiteX26" fmla="*/ 949745 w 1006510"/>
                  <a:gd name="connsiteY26" fmla="*/ 117290 h 767668"/>
                  <a:gd name="connsiteX27" fmla="*/ 1006510 w 1006510"/>
                  <a:gd name="connsiteY27" fmla="*/ 171783 h 767668"/>
                  <a:gd name="connsiteX28" fmla="*/ 1006510 w 1006510"/>
                  <a:gd name="connsiteY28" fmla="*/ 713175 h 767668"/>
                  <a:gd name="connsiteX29" fmla="*/ 949745 w 1006510"/>
                  <a:gd name="connsiteY29" fmla="*/ 767668 h 767668"/>
                  <a:gd name="connsiteX30" fmla="*/ 722689 w 1006510"/>
                  <a:gd name="connsiteY30" fmla="*/ 767668 h 767668"/>
                  <a:gd name="connsiteX31" fmla="*/ 665923 w 1006510"/>
                  <a:gd name="connsiteY31" fmla="*/ 713175 h 767668"/>
                  <a:gd name="connsiteX32" fmla="*/ 665923 w 1006510"/>
                  <a:gd name="connsiteY32" fmla="*/ 171783 h 767668"/>
                  <a:gd name="connsiteX33" fmla="*/ 722689 w 1006510"/>
                  <a:gd name="connsiteY33" fmla="*/ 117290 h 767668"/>
                  <a:gd name="connsiteX34" fmla="*/ 67970 w 1006510"/>
                  <a:gd name="connsiteY34" fmla="*/ 69570 h 767668"/>
                  <a:gd name="connsiteX35" fmla="*/ 67970 w 1006510"/>
                  <a:gd name="connsiteY35" fmla="*/ 698098 h 767668"/>
                  <a:gd name="connsiteX36" fmla="*/ 531769 w 1006510"/>
                  <a:gd name="connsiteY36" fmla="*/ 698098 h 767668"/>
                  <a:gd name="connsiteX37" fmla="*/ 531769 w 1006510"/>
                  <a:gd name="connsiteY37" fmla="*/ 69570 h 767668"/>
                  <a:gd name="connsiteX38" fmla="*/ 300781 w 1006510"/>
                  <a:gd name="connsiteY38" fmla="*/ 27988 h 767668"/>
                  <a:gd name="connsiteX39" fmla="*/ 293489 w 1006510"/>
                  <a:gd name="connsiteY39" fmla="*/ 35281 h 767668"/>
                  <a:gd name="connsiteX40" fmla="*/ 300781 w 1006510"/>
                  <a:gd name="connsiteY40" fmla="*/ 42573 h 767668"/>
                  <a:gd name="connsiteX41" fmla="*/ 308074 w 1006510"/>
                  <a:gd name="connsiteY41" fmla="*/ 35281 h 767668"/>
                  <a:gd name="connsiteX42" fmla="*/ 300781 w 1006510"/>
                  <a:gd name="connsiteY42" fmla="*/ 27988 h 767668"/>
                  <a:gd name="connsiteX43" fmla="*/ 45580 w 1006510"/>
                  <a:gd name="connsiteY43" fmla="*/ 0 h 767668"/>
                  <a:gd name="connsiteX44" fmla="*/ 554160 w 1006510"/>
                  <a:gd name="connsiteY44" fmla="*/ 0 h 767668"/>
                  <a:gd name="connsiteX45" fmla="*/ 599740 w 1006510"/>
                  <a:gd name="connsiteY45" fmla="*/ 45580 h 767668"/>
                  <a:gd name="connsiteX46" fmla="*/ 599740 w 1006510"/>
                  <a:gd name="connsiteY46" fmla="*/ 722088 h 767668"/>
                  <a:gd name="connsiteX47" fmla="*/ 554160 w 1006510"/>
                  <a:gd name="connsiteY47" fmla="*/ 767668 h 767668"/>
                  <a:gd name="connsiteX48" fmla="*/ 45580 w 1006510"/>
                  <a:gd name="connsiteY48" fmla="*/ 767668 h 767668"/>
                  <a:gd name="connsiteX49" fmla="*/ 0 w 1006510"/>
                  <a:gd name="connsiteY49" fmla="*/ 722088 h 767668"/>
                  <a:gd name="connsiteX50" fmla="*/ 0 w 1006510"/>
                  <a:gd name="connsiteY50" fmla="*/ 45580 h 767668"/>
                  <a:gd name="connsiteX51" fmla="*/ 45580 w 1006510"/>
                  <a:gd name="connsiteY51" fmla="*/ 0 h 76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006510" h="767668">
                    <a:moveTo>
                      <a:pt x="299870" y="710888"/>
                    </a:moveTo>
                    <a:cubicBezTo>
                      <a:pt x="287822" y="710888"/>
                      <a:pt x="278055" y="720654"/>
                      <a:pt x="278055" y="732702"/>
                    </a:cubicBezTo>
                    <a:cubicBezTo>
                      <a:pt x="278055" y="744750"/>
                      <a:pt x="287822" y="754517"/>
                      <a:pt x="299870" y="754517"/>
                    </a:cubicBezTo>
                    <a:cubicBezTo>
                      <a:pt x="311918" y="754517"/>
                      <a:pt x="321684" y="744750"/>
                      <a:pt x="321684" y="732702"/>
                    </a:cubicBezTo>
                    <a:cubicBezTo>
                      <a:pt x="321684" y="720654"/>
                      <a:pt x="311918" y="710888"/>
                      <a:pt x="299870" y="710888"/>
                    </a:cubicBezTo>
                    <a:close/>
                    <a:moveTo>
                      <a:pt x="836217" y="676201"/>
                    </a:moveTo>
                    <a:cubicBezTo>
                      <a:pt x="818495" y="676201"/>
                      <a:pt x="804129" y="689992"/>
                      <a:pt x="804129" y="707004"/>
                    </a:cubicBezTo>
                    <a:cubicBezTo>
                      <a:pt x="804129" y="724016"/>
                      <a:pt x="818495" y="737807"/>
                      <a:pt x="836217" y="737807"/>
                    </a:cubicBezTo>
                    <a:cubicBezTo>
                      <a:pt x="853938" y="737807"/>
                      <a:pt x="868304" y="724016"/>
                      <a:pt x="868304" y="707004"/>
                    </a:cubicBezTo>
                    <a:cubicBezTo>
                      <a:pt x="868304" y="689992"/>
                      <a:pt x="853938" y="676201"/>
                      <a:pt x="836217" y="676201"/>
                    </a:cubicBezTo>
                    <a:close/>
                    <a:moveTo>
                      <a:pt x="682132" y="231332"/>
                    </a:moveTo>
                    <a:lnTo>
                      <a:pt x="682132" y="658142"/>
                    </a:lnTo>
                    <a:lnTo>
                      <a:pt x="990302" y="658142"/>
                    </a:lnTo>
                    <a:lnTo>
                      <a:pt x="990302" y="231332"/>
                    </a:lnTo>
                    <a:close/>
                    <a:moveTo>
                      <a:pt x="807608" y="175083"/>
                    </a:moveTo>
                    <a:cubicBezTo>
                      <a:pt x="800113" y="175083"/>
                      <a:pt x="794036" y="179693"/>
                      <a:pt x="794036" y="185381"/>
                    </a:cubicBezTo>
                    <a:cubicBezTo>
                      <a:pt x="794036" y="191068"/>
                      <a:pt x="800113" y="195678"/>
                      <a:pt x="807608" y="195678"/>
                    </a:cubicBezTo>
                    <a:lnTo>
                      <a:pt x="864825" y="195678"/>
                    </a:lnTo>
                    <a:cubicBezTo>
                      <a:pt x="872320" y="195678"/>
                      <a:pt x="878397" y="191068"/>
                      <a:pt x="878397" y="185381"/>
                    </a:cubicBezTo>
                    <a:cubicBezTo>
                      <a:pt x="878397" y="179693"/>
                      <a:pt x="872320" y="175083"/>
                      <a:pt x="864825" y="175083"/>
                    </a:cubicBezTo>
                    <a:close/>
                    <a:moveTo>
                      <a:pt x="754800" y="175083"/>
                    </a:moveTo>
                    <a:cubicBezTo>
                      <a:pt x="748875" y="175083"/>
                      <a:pt x="744073" y="179693"/>
                      <a:pt x="744073" y="185381"/>
                    </a:cubicBezTo>
                    <a:cubicBezTo>
                      <a:pt x="744073" y="191068"/>
                      <a:pt x="748875" y="195678"/>
                      <a:pt x="754800" y="195678"/>
                    </a:cubicBezTo>
                    <a:cubicBezTo>
                      <a:pt x="760724" y="195678"/>
                      <a:pt x="765527" y="191068"/>
                      <a:pt x="765527" y="185381"/>
                    </a:cubicBezTo>
                    <a:cubicBezTo>
                      <a:pt x="765527" y="179693"/>
                      <a:pt x="760724" y="175083"/>
                      <a:pt x="754800" y="175083"/>
                    </a:cubicBezTo>
                    <a:close/>
                    <a:moveTo>
                      <a:pt x="722689" y="117290"/>
                    </a:moveTo>
                    <a:lnTo>
                      <a:pt x="949745" y="117290"/>
                    </a:lnTo>
                    <a:cubicBezTo>
                      <a:pt x="981095" y="117290"/>
                      <a:pt x="1006510" y="141687"/>
                      <a:pt x="1006510" y="171783"/>
                    </a:cubicBezTo>
                    <a:lnTo>
                      <a:pt x="1006510" y="713175"/>
                    </a:lnTo>
                    <a:cubicBezTo>
                      <a:pt x="1006510" y="743271"/>
                      <a:pt x="981095" y="767668"/>
                      <a:pt x="949745" y="767668"/>
                    </a:cubicBezTo>
                    <a:lnTo>
                      <a:pt x="722689" y="767668"/>
                    </a:lnTo>
                    <a:cubicBezTo>
                      <a:pt x="691338" y="767668"/>
                      <a:pt x="665923" y="743271"/>
                      <a:pt x="665923" y="713175"/>
                    </a:cubicBezTo>
                    <a:lnTo>
                      <a:pt x="665923" y="171783"/>
                    </a:lnTo>
                    <a:cubicBezTo>
                      <a:pt x="665923" y="141687"/>
                      <a:pt x="691338" y="117290"/>
                      <a:pt x="722689" y="117290"/>
                    </a:cubicBezTo>
                    <a:close/>
                    <a:moveTo>
                      <a:pt x="67970" y="69570"/>
                    </a:moveTo>
                    <a:lnTo>
                      <a:pt x="67970" y="698098"/>
                    </a:lnTo>
                    <a:lnTo>
                      <a:pt x="531769" y="698098"/>
                    </a:lnTo>
                    <a:lnTo>
                      <a:pt x="531769" y="69570"/>
                    </a:lnTo>
                    <a:close/>
                    <a:moveTo>
                      <a:pt x="300781" y="27988"/>
                    </a:moveTo>
                    <a:cubicBezTo>
                      <a:pt x="296754" y="27988"/>
                      <a:pt x="293489" y="31253"/>
                      <a:pt x="293489" y="35281"/>
                    </a:cubicBezTo>
                    <a:cubicBezTo>
                      <a:pt x="293489" y="39308"/>
                      <a:pt x="296754" y="42573"/>
                      <a:pt x="300781" y="42573"/>
                    </a:cubicBezTo>
                    <a:cubicBezTo>
                      <a:pt x="304809" y="42573"/>
                      <a:pt x="308074" y="39308"/>
                      <a:pt x="308074" y="35281"/>
                    </a:cubicBezTo>
                    <a:cubicBezTo>
                      <a:pt x="308074" y="31253"/>
                      <a:pt x="304809" y="27988"/>
                      <a:pt x="300781" y="27988"/>
                    </a:cubicBezTo>
                    <a:close/>
                    <a:moveTo>
                      <a:pt x="45580" y="0"/>
                    </a:moveTo>
                    <a:lnTo>
                      <a:pt x="554160" y="0"/>
                    </a:lnTo>
                    <a:cubicBezTo>
                      <a:pt x="579333" y="0"/>
                      <a:pt x="599740" y="20407"/>
                      <a:pt x="599740" y="45580"/>
                    </a:cubicBezTo>
                    <a:lnTo>
                      <a:pt x="599740" y="722088"/>
                    </a:lnTo>
                    <a:cubicBezTo>
                      <a:pt x="599740" y="747261"/>
                      <a:pt x="579333" y="767668"/>
                      <a:pt x="554160" y="767668"/>
                    </a:cubicBezTo>
                    <a:lnTo>
                      <a:pt x="45580" y="767668"/>
                    </a:lnTo>
                    <a:cubicBezTo>
                      <a:pt x="20407" y="767668"/>
                      <a:pt x="0" y="747261"/>
                      <a:pt x="0" y="722088"/>
                    </a:cubicBezTo>
                    <a:lnTo>
                      <a:pt x="0" y="45580"/>
                    </a:lnTo>
                    <a:cubicBezTo>
                      <a:pt x="0" y="20407"/>
                      <a:pt x="20407" y="0"/>
                      <a:pt x="4558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086775"/>
                <a:endParaRPr lang="en-US" sz="1100">
                  <a:solidFill>
                    <a:prstClr val="white"/>
                  </a:solidFill>
                </a:endParaRPr>
              </a:p>
            </p:txBody>
          </p:sp>
          <p:sp>
            <p:nvSpPr>
              <p:cNvPr id="80" name="TextBox 79"/>
              <p:cNvSpPr txBox="1"/>
              <p:nvPr/>
            </p:nvSpPr>
            <p:spPr>
              <a:xfrm>
                <a:off x="10896833" y="3261227"/>
                <a:ext cx="549831" cy="184666"/>
              </a:xfrm>
              <a:prstGeom prst="rect">
                <a:avLst/>
              </a:prstGeom>
              <a:noFill/>
            </p:spPr>
            <p:txBody>
              <a:bodyPr wrap="none" lIns="0" tIns="0" rIns="0" bIns="0" rtlCol="0">
                <a:spAutoFit/>
              </a:bodyPr>
              <a:lstStyle/>
              <a:p>
                <a:pPr algn="ctr" defTabSz="1086775"/>
                <a:r>
                  <a:rPr lang="en-US" sz="1200">
                    <a:solidFill>
                      <a:srgbClr val="3D4647"/>
                    </a:solidFill>
                  </a:rPr>
                  <a:t> Mobile</a:t>
                </a:r>
              </a:p>
            </p:txBody>
          </p:sp>
        </p:grpSp>
        <p:grpSp>
          <p:nvGrpSpPr>
            <p:cNvPr id="81" name="Group 80"/>
            <p:cNvGrpSpPr/>
            <p:nvPr/>
          </p:nvGrpSpPr>
          <p:grpSpPr>
            <a:xfrm>
              <a:off x="10927474" y="1164267"/>
              <a:ext cx="1213474" cy="677613"/>
              <a:chOff x="10565011" y="1703251"/>
              <a:chExt cx="1213474" cy="677613"/>
            </a:xfrm>
          </p:grpSpPr>
          <p:grpSp>
            <p:nvGrpSpPr>
              <p:cNvPr id="82" name="Group 81"/>
              <p:cNvGrpSpPr/>
              <p:nvPr/>
            </p:nvGrpSpPr>
            <p:grpSpPr>
              <a:xfrm>
                <a:off x="10665252" y="1703251"/>
                <a:ext cx="1012993" cy="469563"/>
                <a:chOff x="10722638" y="1703251"/>
                <a:chExt cx="1012993" cy="469563"/>
              </a:xfrm>
            </p:grpSpPr>
            <p:pic>
              <p:nvPicPr>
                <p:cNvPr id="84" name="Picture 8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22638" y="1703251"/>
                  <a:ext cx="530698" cy="457200"/>
                </a:xfrm>
                <a:prstGeom prst="rect">
                  <a:avLst/>
                </a:prstGeom>
              </p:spPr>
            </p:pic>
            <p:pic>
              <p:nvPicPr>
                <p:cNvPr id="85" name="Picture 8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288323" y="1863582"/>
                  <a:ext cx="447308" cy="309232"/>
                </a:xfrm>
                <a:prstGeom prst="rect">
                  <a:avLst/>
                </a:prstGeom>
              </p:spPr>
            </p:pic>
          </p:grpSp>
          <p:sp>
            <p:nvSpPr>
              <p:cNvPr id="83" name="TextBox 82"/>
              <p:cNvSpPr txBox="1"/>
              <p:nvPr/>
            </p:nvSpPr>
            <p:spPr>
              <a:xfrm>
                <a:off x="10565011" y="2196198"/>
                <a:ext cx="1213474" cy="184666"/>
              </a:xfrm>
              <a:prstGeom prst="rect">
                <a:avLst/>
              </a:prstGeom>
              <a:noFill/>
            </p:spPr>
            <p:txBody>
              <a:bodyPr wrap="none" lIns="0" tIns="0" rIns="0" bIns="0" rtlCol="0">
                <a:spAutoFit/>
              </a:bodyPr>
              <a:lstStyle/>
              <a:p>
                <a:pPr algn="ctr" defTabSz="1086775"/>
                <a:r>
                  <a:rPr lang="en-US" sz="1200">
                    <a:solidFill>
                      <a:srgbClr val="3D4647"/>
                    </a:solidFill>
                  </a:rPr>
                  <a:t>Desktop/Laptop</a:t>
                </a:r>
              </a:p>
            </p:txBody>
          </p:sp>
        </p:grpSp>
        <p:grpSp>
          <p:nvGrpSpPr>
            <p:cNvPr id="86" name="Group 85"/>
            <p:cNvGrpSpPr/>
            <p:nvPr/>
          </p:nvGrpSpPr>
          <p:grpSpPr>
            <a:xfrm>
              <a:off x="10824266" y="3279286"/>
              <a:ext cx="1115691" cy="632732"/>
              <a:chOff x="10613903" y="3814924"/>
              <a:chExt cx="1115691" cy="632732"/>
            </a:xfrm>
          </p:grpSpPr>
          <p:pic>
            <p:nvPicPr>
              <p:cNvPr id="87" name="Picture 8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789190" y="3814924"/>
                <a:ext cx="765117" cy="411480"/>
              </a:xfrm>
              <a:prstGeom prst="rect">
                <a:avLst/>
              </a:prstGeom>
            </p:spPr>
          </p:pic>
          <p:sp>
            <p:nvSpPr>
              <p:cNvPr id="88" name="TextBox 87"/>
              <p:cNvSpPr txBox="1"/>
              <p:nvPr/>
            </p:nvSpPr>
            <p:spPr>
              <a:xfrm>
                <a:off x="10613903" y="4262990"/>
                <a:ext cx="1115691" cy="184666"/>
              </a:xfrm>
              <a:prstGeom prst="rect">
                <a:avLst/>
              </a:prstGeom>
              <a:noFill/>
            </p:spPr>
            <p:txBody>
              <a:bodyPr wrap="none" lIns="0" tIns="0" rIns="0" bIns="0" rtlCol="0">
                <a:spAutoFit/>
              </a:bodyPr>
              <a:lstStyle/>
              <a:p>
                <a:pPr algn="ctr" defTabSz="1086775"/>
                <a:r>
                  <a:rPr lang="en-US" sz="1200">
                    <a:solidFill>
                      <a:srgbClr val="3D4647"/>
                    </a:solidFill>
                  </a:rPr>
                  <a:t> AR/Wearables</a:t>
                </a:r>
              </a:p>
            </p:txBody>
          </p:sp>
        </p:grpSp>
        <p:grpSp>
          <p:nvGrpSpPr>
            <p:cNvPr id="89" name="Group 88"/>
            <p:cNvGrpSpPr/>
            <p:nvPr/>
          </p:nvGrpSpPr>
          <p:grpSpPr>
            <a:xfrm>
              <a:off x="10783932" y="4257501"/>
              <a:ext cx="1109278" cy="906888"/>
              <a:chOff x="10617109" y="4866166"/>
              <a:chExt cx="1109278" cy="906888"/>
            </a:xfrm>
          </p:grpSpPr>
          <p:sp>
            <p:nvSpPr>
              <p:cNvPr id="90" name="TextBox 89"/>
              <p:cNvSpPr txBox="1"/>
              <p:nvPr/>
            </p:nvSpPr>
            <p:spPr>
              <a:xfrm>
                <a:off x="10617109" y="5588388"/>
                <a:ext cx="1109278" cy="184666"/>
              </a:xfrm>
              <a:prstGeom prst="rect">
                <a:avLst/>
              </a:prstGeom>
              <a:noFill/>
            </p:spPr>
            <p:txBody>
              <a:bodyPr wrap="none" lIns="0" tIns="0" rIns="0" bIns="0" rtlCol="0">
                <a:spAutoFit/>
              </a:bodyPr>
              <a:lstStyle/>
              <a:p>
                <a:pPr algn="ctr" defTabSz="1086775"/>
                <a:r>
                  <a:rPr lang="en-US" sz="1200">
                    <a:solidFill>
                      <a:srgbClr val="3D4647"/>
                    </a:solidFill>
                  </a:rPr>
                  <a:t> VR/Wearables</a:t>
                </a:r>
              </a:p>
            </p:txBody>
          </p:sp>
          <p:pic>
            <p:nvPicPr>
              <p:cNvPr id="91" name="Picture 90"/>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744336" y="4866166"/>
                <a:ext cx="781193" cy="701642"/>
              </a:xfrm>
              <a:prstGeom prst="rect">
                <a:avLst/>
              </a:prstGeom>
            </p:spPr>
          </p:pic>
        </p:grpSp>
        <p:grpSp>
          <p:nvGrpSpPr>
            <p:cNvPr id="19" name="Group 18"/>
            <p:cNvGrpSpPr/>
            <p:nvPr/>
          </p:nvGrpSpPr>
          <p:grpSpPr>
            <a:xfrm>
              <a:off x="73479" y="697719"/>
              <a:ext cx="1971438" cy="2507412"/>
              <a:chOff x="295644" y="709309"/>
              <a:chExt cx="1971438" cy="2507412"/>
            </a:xfrm>
          </p:grpSpPr>
          <p:grpSp>
            <p:nvGrpSpPr>
              <p:cNvPr id="41" name="Group 40"/>
              <p:cNvGrpSpPr/>
              <p:nvPr/>
            </p:nvGrpSpPr>
            <p:grpSpPr>
              <a:xfrm>
                <a:off x="295644" y="1349895"/>
                <a:ext cx="1079374" cy="1866826"/>
                <a:chOff x="194362" y="1807122"/>
                <a:chExt cx="1079374" cy="1866826"/>
              </a:xfrm>
            </p:grpSpPr>
            <p:pic>
              <p:nvPicPr>
                <p:cNvPr id="5" name="Picture 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28016" y="1863991"/>
                  <a:ext cx="432576" cy="389794"/>
                </a:xfrm>
                <a:prstGeom prst="rect">
                  <a:avLst/>
                </a:prstGeom>
              </p:spPr>
            </p:pic>
            <p:sp>
              <p:nvSpPr>
                <p:cNvPr id="6" name="Rectangle 5"/>
                <p:cNvSpPr/>
                <p:nvPr/>
              </p:nvSpPr>
              <p:spPr>
                <a:xfrm>
                  <a:off x="194362" y="1807122"/>
                  <a:ext cx="1079374" cy="1866826"/>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6775"/>
                  <a:endParaRPr lang="en-US" sz="2200">
                    <a:solidFill>
                      <a:srgbClr val="FFFFFF"/>
                    </a:solidFill>
                  </a:endParaRPr>
                </a:p>
              </p:txBody>
            </p:sp>
            <p:grpSp>
              <p:nvGrpSpPr>
                <p:cNvPr id="7" name="Group 6"/>
                <p:cNvGrpSpPr/>
                <p:nvPr/>
              </p:nvGrpSpPr>
              <p:grpSpPr>
                <a:xfrm>
                  <a:off x="319105" y="2376938"/>
                  <a:ext cx="582370" cy="334213"/>
                  <a:chOff x="11386383" y="4264666"/>
                  <a:chExt cx="582370" cy="334213"/>
                </a:xfrm>
              </p:grpSpPr>
              <p:sp>
                <p:nvSpPr>
                  <p:cNvPr id="8" name="Freeform 7"/>
                  <p:cNvSpPr/>
                  <p:nvPr/>
                </p:nvSpPr>
                <p:spPr>
                  <a:xfrm>
                    <a:off x="11386383" y="4264666"/>
                    <a:ext cx="248529" cy="334213"/>
                  </a:xfrm>
                  <a:custGeom>
                    <a:avLst/>
                    <a:gdLst>
                      <a:gd name="connsiteX0" fmla="*/ 1538582 w 3077164"/>
                      <a:gd name="connsiteY0" fmla="*/ 1616377 h 3868752"/>
                      <a:gd name="connsiteX1" fmla="*/ 747274 w 3077164"/>
                      <a:gd name="connsiteY1" fmla="*/ 2407685 h 3868752"/>
                      <a:gd name="connsiteX2" fmla="*/ 751108 w 3077164"/>
                      <a:gd name="connsiteY2" fmla="*/ 2483610 h 3868752"/>
                      <a:gd name="connsiteX3" fmla="*/ 769562 w 3077164"/>
                      <a:gd name="connsiteY3" fmla="*/ 2469697 h 3868752"/>
                      <a:gd name="connsiteX4" fmla="*/ 1018886 w 3077164"/>
                      <a:gd name="connsiteY4" fmla="*/ 2415748 h 3868752"/>
                      <a:gd name="connsiteX5" fmla="*/ 1247486 w 3077164"/>
                      <a:gd name="connsiteY5" fmla="*/ 2389371 h 3868752"/>
                      <a:gd name="connsiteX6" fmla="*/ 1493670 w 3077164"/>
                      <a:gd name="connsiteY6" fmla="*/ 2415748 h 3868752"/>
                      <a:gd name="connsiteX7" fmla="*/ 1713478 w 3077164"/>
                      <a:gd name="connsiteY7" fmla="*/ 2512463 h 3868752"/>
                      <a:gd name="connsiteX8" fmla="*/ 1871740 w 3077164"/>
                      <a:gd name="connsiteY8" fmla="*/ 2600386 h 3868752"/>
                      <a:gd name="connsiteX9" fmla="*/ 2030001 w 3077164"/>
                      <a:gd name="connsiteY9" fmla="*/ 2653140 h 3868752"/>
                      <a:gd name="connsiteX10" fmla="*/ 2197055 w 3077164"/>
                      <a:gd name="connsiteY10" fmla="*/ 2670724 h 3868752"/>
                      <a:gd name="connsiteX11" fmla="*/ 2283329 w 3077164"/>
                      <a:gd name="connsiteY11" fmla="*/ 2642506 h 3868752"/>
                      <a:gd name="connsiteX12" fmla="*/ 2295277 w 3077164"/>
                      <a:gd name="connsiteY12" fmla="*/ 2639253 h 3868752"/>
                      <a:gd name="connsiteX13" fmla="*/ 2313814 w 3077164"/>
                      <a:gd name="connsiteY13" fmla="*/ 2567161 h 3868752"/>
                      <a:gd name="connsiteX14" fmla="*/ 2329890 w 3077164"/>
                      <a:gd name="connsiteY14" fmla="*/ 2407685 h 3868752"/>
                      <a:gd name="connsiteX15" fmla="*/ 1538582 w 3077164"/>
                      <a:gd name="connsiteY15" fmla="*/ 1616377 h 3868752"/>
                      <a:gd name="connsiteX16" fmla="*/ 1538582 w 3077164"/>
                      <a:gd name="connsiteY16" fmla="*/ 1504697 h 3868752"/>
                      <a:gd name="connsiteX17" fmla="*/ 2450831 w 3077164"/>
                      <a:gd name="connsiteY17" fmla="*/ 2416946 h 3868752"/>
                      <a:gd name="connsiteX18" fmla="*/ 1538582 w 3077164"/>
                      <a:gd name="connsiteY18" fmla="*/ 3329195 h 3868752"/>
                      <a:gd name="connsiteX19" fmla="*/ 626333 w 3077164"/>
                      <a:gd name="connsiteY19" fmla="*/ 2416946 h 3868752"/>
                      <a:gd name="connsiteX20" fmla="*/ 1538582 w 3077164"/>
                      <a:gd name="connsiteY20" fmla="*/ 1504697 h 3868752"/>
                      <a:gd name="connsiteX21" fmla="*/ 1538583 w 3077164"/>
                      <a:gd name="connsiteY21" fmla="*/ 1278342 h 3868752"/>
                      <a:gd name="connsiteX22" fmla="*/ 399979 w 3077164"/>
                      <a:gd name="connsiteY22" fmla="*/ 2416946 h 3868752"/>
                      <a:gd name="connsiteX23" fmla="*/ 1538583 w 3077164"/>
                      <a:gd name="connsiteY23" fmla="*/ 3555550 h 3868752"/>
                      <a:gd name="connsiteX24" fmla="*/ 2677187 w 3077164"/>
                      <a:gd name="connsiteY24" fmla="*/ 2416946 h 3868752"/>
                      <a:gd name="connsiteX25" fmla="*/ 1538583 w 3077164"/>
                      <a:gd name="connsiteY25" fmla="*/ 1278342 h 3868752"/>
                      <a:gd name="connsiteX26" fmla="*/ 0 w 3077164"/>
                      <a:gd name="connsiteY26" fmla="*/ 998802 h 3868752"/>
                      <a:gd name="connsiteX27" fmla="*/ 3077164 w 3077164"/>
                      <a:gd name="connsiteY27" fmla="*/ 998802 h 3868752"/>
                      <a:gd name="connsiteX28" fmla="*/ 3077164 w 3077164"/>
                      <a:gd name="connsiteY28" fmla="*/ 3868752 h 3868752"/>
                      <a:gd name="connsiteX29" fmla="*/ 0 w 3077164"/>
                      <a:gd name="connsiteY29" fmla="*/ 3868752 h 3868752"/>
                      <a:gd name="connsiteX30" fmla="*/ 2590515 w 3077164"/>
                      <a:gd name="connsiteY30" fmla="*/ 246640 h 3868752"/>
                      <a:gd name="connsiteX31" fmla="*/ 2441832 w 3077164"/>
                      <a:gd name="connsiteY31" fmla="*/ 395323 h 3868752"/>
                      <a:gd name="connsiteX32" fmla="*/ 2590515 w 3077164"/>
                      <a:gd name="connsiteY32" fmla="*/ 544006 h 3868752"/>
                      <a:gd name="connsiteX33" fmla="*/ 2739198 w 3077164"/>
                      <a:gd name="connsiteY33" fmla="*/ 395323 h 3868752"/>
                      <a:gd name="connsiteX34" fmla="*/ 2590515 w 3077164"/>
                      <a:gd name="connsiteY34" fmla="*/ 246640 h 3868752"/>
                      <a:gd name="connsiteX35" fmla="*/ 2107295 w 3077164"/>
                      <a:gd name="connsiteY35" fmla="*/ 246640 h 3868752"/>
                      <a:gd name="connsiteX36" fmla="*/ 1958612 w 3077164"/>
                      <a:gd name="connsiteY36" fmla="*/ 395323 h 3868752"/>
                      <a:gd name="connsiteX37" fmla="*/ 2107295 w 3077164"/>
                      <a:gd name="connsiteY37" fmla="*/ 544006 h 3868752"/>
                      <a:gd name="connsiteX38" fmla="*/ 2255978 w 3077164"/>
                      <a:gd name="connsiteY38" fmla="*/ 395323 h 3868752"/>
                      <a:gd name="connsiteX39" fmla="*/ 2107295 w 3077164"/>
                      <a:gd name="connsiteY39" fmla="*/ 246640 h 3868752"/>
                      <a:gd name="connsiteX40" fmla="*/ 334536 w 3077164"/>
                      <a:gd name="connsiteY40" fmla="*/ 216903 h 3868752"/>
                      <a:gd name="connsiteX41" fmla="*/ 334536 w 3077164"/>
                      <a:gd name="connsiteY41" fmla="*/ 573743 h 3868752"/>
                      <a:gd name="connsiteX42" fmla="*/ 1196897 w 3077164"/>
                      <a:gd name="connsiteY42" fmla="*/ 573743 h 3868752"/>
                      <a:gd name="connsiteX43" fmla="*/ 1196897 w 3077164"/>
                      <a:gd name="connsiteY43" fmla="*/ 216903 h 3868752"/>
                      <a:gd name="connsiteX44" fmla="*/ 0 w 3077164"/>
                      <a:gd name="connsiteY44" fmla="*/ 0 h 3868752"/>
                      <a:gd name="connsiteX45" fmla="*/ 3077164 w 3077164"/>
                      <a:gd name="connsiteY45" fmla="*/ 0 h 3868752"/>
                      <a:gd name="connsiteX46" fmla="*/ 3077164 w 3077164"/>
                      <a:gd name="connsiteY46" fmla="*/ 759596 h 3868752"/>
                      <a:gd name="connsiteX47" fmla="*/ 0 w 3077164"/>
                      <a:gd name="connsiteY47" fmla="*/ 759596 h 386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077164" h="3868752">
                        <a:moveTo>
                          <a:pt x="1538582" y="1616377"/>
                        </a:moveTo>
                        <a:cubicBezTo>
                          <a:pt x="1101555" y="1616377"/>
                          <a:pt x="747274" y="1970658"/>
                          <a:pt x="747274" y="2407685"/>
                        </a:cubicBezTo>
                        <a:lnTo>
                          <a:pt x="751108" y="2483610"/>
                        </a:lnTo>
                        <a:lnTo>
                          <a:pt x="769562" y="2469697"/>
                        </a:lnTo>
                        <a:cubicBezTo>
                          <a:pt x="837050" y="2431025"/>
                          <a:pt x="948658" y="2426519"/>
                          <a:pt x="1018886" y="2415748"/>
                        </a:cubicBezTo>
                        <a:cubicBezTo>
                          <a:pt x="1112524" y="2401387"/>
                          <a:pt x="1168355" y="2389371"/>
                          <a:pt x="1247486" y="2389371"/>
                        </a:cubicBezTo>
                        <a:cubicBezTo>
                          <a:pt x="1326617" y="2389371"/>
                          <a:pt x="1416005" y="2395233"/>
                          <a:pt x="1493670" y="2415748"/>
                        </a:cubicBezTo>
                        <a:cubicBezTo>
                          <a:pt x="1571335" y="2436263"/>
                          <a:pt x="1660724" y="2483155"/>
                          <a:pt x="1713478" y="2512463"/>
                        </a:cubicBezTo>
                        <a:lnTo>
                          <a:pt x="1871740" y="2600386"/>
                        </a:lnTo>
                        <a:cubicBezTo>
                          <a:pt x="1924494" y="2623832"/>
                          <a:pt x="1974316" y="2647279"/>
                          <a:pt x="2030001" y="2653140"/>
                        </a:cubicBezTo>
                        <a:cubicBezTo>
                          <a:pt x="2085686" y="2659001"/>
                          <a:pt x="2144790" y="2671921"/>
                          <a:pt x="2197055" y="2670724"/>
                        </a:cubicBezTo>
                        <a:cubicBezTo>
                          <a:pt x="2223188" y="2670126"/>
                          <a:pt x="2255426" y="2653677"/>
                          <a:pt x="2283329" y="2642506"/>
                        </a:cubicBezTo>
                        <a:lnTo>
                          <a:pt x="2295277" y="2639253"/>
                        </a:lnTo>
                        <a:lnTo>
                          <a:pt x="2313814" y="2567161"/>
                        </a:lnTo>
                        <a:cubicBezTo>
                          <a:pt x="2324354" y="2515649"/>
                          <a:pt x="2329890" y="2462314"/>
                          <a:pt x="2329890" y="2407685"/>
                        </a:cubicBezTo>
                        <a:cubicBezTo>
                          <a:pt x="2329890" y="1970658"/>
                          <a:pt x="1975609" y="1616377"/>
                          <a:pt x="1538582" y="1616377"/>
                        </a:cubicBezTo>
                        <a:close/>
                        <a:moveTo>
                          <a:pt x="1538582" y="1504697"/>
                        </a:moveTo>
                        <a:cubicBezTo>
                          <a:pt x="2042403" y="1504697"/>
                          <a:pt x="2450831" y="1913125"/>
                          <a:pt x="2450831" y="2416946"/>
                        </a:cubicBezTo>
                        <a:cubicBezTo>
                          <a:pt x="2450831" y="2920767"/>
                          <a:pt x="2042403" y="3329195"/>
                          <a:pt x="1538582" y="3329195"/>
                        </a:cubicBezTo>
                        <a:cubicBezTo>
                          <a:pt x="1034761" y="3329195"/>
                          <a:pt x="626333" y="2920767"/>
                          <a:pt x="626333" y="2416946"/>
                        </a:cubicBezTo>
                        <a:cubicBezTo>
                          <a:pt x="626333" y="1913125"/>
                          <a:pt x="1034761" y="1504697"/>
                          <a:pt x="1538582" y="1504697"/>
                        </a:cubicBezTo>
                        <a:close/>
                        <a:moveTo>
                          <a:pt x="1538583" y="1278342"/>
                        </a:moveTo>
                        <a:cubicBezTo>
                          <a:pt x="909749" y="1278342"/>
                          <a:pt x="399979" y="1788112"/>
                          <a:pt x="399979" y="2416946"/>
                        </a:cubicBezTo>
                        <a:cubicBezTo>
                          <a:pt x="399979" y="3045780"/>
                          <a:pt x="909749" y="3555550"/>
                          <a:pt x="1538583" y="3555550"/>
                        </a:cubicBezTo>
                        <a:cubicBezTo>
                          <a:pt x="2167417" y="3555550"/>
                          <a:pt x="2677187" y="3045780"/>
                          <a:pt x="2677187" y="2416946"/>
                        </a:cubicBezTo>
                        <a:cubicBezTo>
                          <a:pt x="2677187" y="1788112"/>
                          <a:pt x="2167417" y="1278342"/>
                          <a:pt x="1538583" y="1278342"/>
                        </a:cubicBezTo>
                        <a:close/>
                        <a:moveTo>
                          <a:pt x="0" y="998802"/>
                        </a:moveTo>
                        <a:lnTo>
                          <a:pt x="3077164" y="998802"/>
                        </a:lnTo>
                        <a:lnTo>
                          <a:pt x="3077164" y="3868752"/>
                        </a:lnTo>
                        <a:lnTo>
                          <a:pt x="0" y="3868752"/>
                        </a:lnTo>
                        <a:close/>
                        <a:moveTo>
                          <a:pt x="2590515" y="246640"/>
                        </a:moveTo>
                        <a:cubicBezTo>
                          <a:pt x="2508400" y="246640"/>
                          <a:pt x="2441832" y="313208"/>
                          <a:pt x="2441832" y="395323"/>
                        </a:cubicBezTo>
                        <a:cubicBezTo>
                          <a:pt x="2441832" y="477438"/>
                          <a:pt x="2508400" y="544006"/>
                          <a:pt x="2590515" y="544006"/>
                        </a:cubicBezTo>
                        <a:cubicBezTo>
                          <a:pt x="2672630" y="544006"/>
                          <a:pt x="2739198" y="477438"/>
                          <a:pt x="2739198" y="395323"/>
                        </a:cubicBezTo>
                        <a:cubicBezTo>
                          <a:pt x="2739198" y="313208"/>
                          <a:pt x="2672630" y="246640"/>
                          <a:pt x="2590515" y="246640"/>
                        </a:cubicBezTo>
                        <a:close/>
                        <a:moveTo>
                          <a:pt x="2107295" y="246640"/>
                        </a:moveTo>
                        <a:cubicBezTo>
                          <a:pt x="2025180" y="246640"/>
                          <a:pt x="1958612" y="313208"/>
                          <a:pt x="1958612" y="395323"/>
                        </a:cubicBezTo>
                        <a:cubicBezTo>
                          <a:pt x="1958612" y="477438"/>
                          <a:pt x="2025180" y="544006"/>
                          <a:pt x="2107295" y="544006"/>
                        </a:cubicBezTo>
                        <a:cubicBezTo>
                          <a:pt x="2189410" y="544006"/>
                          <a:pt x="2255978" y="477438"/>
                          <a:pt x="2255978" y="395323"/>
                        </a:cubicBezTo>
                        <a:cubicBezTo>
                          <a:pt x="2255978" y="313208"/>
                          <a:pt x="2189410" y="246640"/>
                          <a:pt x="2107295" y="246640"/>
                        </a:cubicBezTo>
                        <a:close/>
                        <a:moveTo>
                          <a:pt x="334536" y="216903"/>
                        </a:moveTo>
                        <a:lnTo>
                          <a:pt x="334536" y="573743"/>
                        </a:lnTo>
                        <a:lnTo>
                          <a:pt x="1196897" y="573743"/>
                        </a:lnTo>
                        <a:lnTo>
                          <a:pt x="1196897" y="216903"/>
                        </a:lnTo>
                        <a:close/>
                        <a:moveTo>
                          <a:pt x="0" y="0"/>
                        </a:moveTo>
                        <a:lnTo>
                          <a:pt x="3077164" y="0"/>
                        </a:lnTo>
                        <a:lnTo>
                          <a:pt x="3077164" y="759596"/>
                        </a:lnTo>
                        <a:lnTo>
                          <a:pt x="0" y="759596"/>
                        </a:lnTo>
                        <a:close/>
                      </a:path>
                    </a:pathLst>
                  </a:custGeom>
                  <a:solidFill>
                    <a:srgbClr val="4D5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6775"/>
                    <a:endParaRPr lang="en-US" sz="2200">
                      <a:solidFill>
                        <a:srgbClr val="FFFFFF"/>
                      </a:solidFill>
                    </a:endParaRPr>
                  </a:p>
                </p:txBody>
              </p:sp>
              <p:pic>
                <p:nvPicPr>
                  <p:cNvPr id="9" name="Picture 8"/>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1738646" y="4267677"/>
                    <a:ext cx="230107" cy="331202"/>
                  </a:xfrm>
                  <a:prstGeom prst="rect">
                    <a:avLst/>
                  </a:prstGeom>
                </p:spPr>
              </p:pic>
            </p:grpSp>
            <p:pic>
              <p:nvPicPr>
                <p:cNvPr id="10" name="Picture 9"/>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06436" y="2844098"/>
                  <a:ext cx="217899" cy="334214"/>
                </a:xfrm>
                <a:prstGeom prst="rect">
                  <a:avLst/>
                </a:prstGeom>
              </p:spPr>
            </p:pic>
            <p:pic>
              <p:nvPicPr>
                <p:cNvPr id="11" name="Picture 10"/>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64123" y="3281113"/>
                  <a:ext cx="496469" cy="308181"/>
                </a:xfrm>
                <a:prstGeom prst="rect">
                  <a:avLst/>
                </a:prstGeom>
              </p:spPr>
            </p:pic>
            <p:pic>
              <p:nvPicPr>
                <p:cNvPr id="12" name="Picture 11"/>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46967" y="2853915"/>
                  <a:ext cx="374663" cy="283158"/>
                </a:xfrm>
                <a:prstGeom prst="rect">
                  <a:avLst/>
                </a:prstGeom>
              </p:spPr>
            </p:pic>
          </p:grpSp>
          <p:grpSp>
            <p:nvGrpSpPr>
              <p:cNvPr id="43" name="Group 42"/>
              <p:cNvGrpSpPr/>
              <p:nvPr/>
            </p:nvGrpSpPr>
            <p:grpSpPr>
              <a:xfrm>
                <a:off x="1408663" y="709309"/>
                <a:ext cx="858419" cy="533612"/>
                <a:chOff x="818144" y="1315922"/>
                <a:chExt cx="858419" cy="533612"/>
              </a:xfrm>
            </p:grpSpPr>
            <p:pic>
              <p:nvPicPr>
                <p:cNvPr id="44" name="Picture 43"/>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818144" y="1315922"/>
                  <a:ext cx="858419" cy="533612"/>
                </a:xfrm>
                <a:prstGeom prst="rect">
                  <a:avLst/>
                </a:prstGeom>
              </p:spPr>
            </p:pic>
            <p:sp>
              <p:nvSpPr>
                <p:cNvPr id="45" name="TextBox 44"/>
                <p:cNvSpPr txBox="1"/>
                <p:nvPr/>
              </p:nvSpPr>
              <p:spPr>
                <a:xfrm>
                  <a:off x="975463" y="1424325"/>
                  <a:ext cx="514563" cy="369332"/>
                </a:xfrm>
                <a:prstGeom prst="rect">
                  <a:avLst/>
                </a:prstGeom>
                <a:noFill/>
              </p:spPr>
              <p:txBody>
                <a:bodyPr wrap="none" lIns="0" tIns="0" rIns="0" bIns="0" rtlCol="0">
                  <a:spAutoFit/>
                </a:bodyPr>
                <a:lstStyle/>
                <a:p>
                  <a:pPr algn="ctr" defTabSz="1086775"/>
                  <a:r>
                    <a:rPr lang="en-US" sz="1200" b="1">
                      <a:solidFill>
                        <a:schemeClr val="bg1"/>
                      </a:solidFill>
                    </a:rPr>
                    <a:t>IoT</a:t>
                  </a:r>
                  <a:br>
                    <a:rPr lang="en-US" sz="1200" b="1">
                      <a:solidFill>
                        <a:schemeClr val="bg1"/>
                      </a:solidFill>
                    </a:rPr>
                  </a:br>
                  <a:r>
                    <a:rPr lang="en-US" sz="1200" b="1">
                      <a:solidFill>
                        <a:schemeClr val="bg1"/>
                      </a:solidFill>
                    </a:rPr>
                    <a:t>Clouds</a:t>
                  </a:r>
                </a:p>
              </p:txBody>
            </p:sp>
          </p:grpSp>
          <p:cxnSp>
            <p:nvCxnSpPr>
              <p:cNvPr id="16" name="Elbow Connector 15"/>
              <p:cNvCxnSpPr>
                <a:stCxn id="6" idx="0"/>
              </p:cNvCxnSpPr>
              <p:nvPr/>
            </p:nvCxnSpPr>
            <p:spPr>
              <a:xfrm rot="5400000" flipH="1" flipV="1">
                <a:off x="900405" y="917687"/>
                <a:ext cx="367134" cy="497282"/>
              </a:xfrm>
              <a:prstGeom prst="bentConnector2">
                <a:avLst/>
              </a:prstGeom>
              <a:ln>
                <a:tailEnd type="triangle"/>
              </a:ln>
            </p:spPr>
            <p:style>
              <a:lnRef idx="1">
                <a:schemeClr val="accent4"/>
              </a:lnRef>
              <a:fillRef idx="0">
                <a:schemeClr val="accent4"/>
              </a:fillRef>
              <a:effectRef idx="0">
                <a:schemeClr val="accent4"/>
              </a:effectRef>
              <a:fontRef idx="minor">
                <a:schemeClr val="tx1"/>
              </a:fontRef>
            </p:style>
          </p:cxnSp>
        </p:grpSp>
        <p:cxnSp>
          <p:nvCxnSpPr>
            <p:cNvPr id="74" name="Straight Arrow Connector 73"/>
            <p:cNvCxnSpPr/>
            <p:nvPr/>
          </p:nvCxnSpPr>
          <p:spPr>
            <a:xfrm flipV="1">
              <a:off x="823582" y="2772832"/>
              <a:ext cx="2967803" cy="6435"/>
            </a:xfrm>
            <a:prstGeom prst="straightConnector1">
              <a:avLst/>
            </a:prstGeom>
            <a:ln>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15" name="Straight Arrow Connector 114"/>
            <p:cNvCxnSpPr/>
            <p:nvPr/>
          </p:nvCxnSpPr>
          <p:spPr>
            <a:xfrm>
              <a:off x="820980" y="2053596"/>
              <a:ext cx="1489616" cy="12566"/>
            </a:xfrm>
            <a:prstGeom prst="straightConnector1">
              <a:avLst/>
            </a:prstGeom>
            <a:ln>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16" name="Elbow Connector 115"/>
            <p:cNvCxnSpPr/>
            <p:nvPr/>
          </p:nvCxnSpPr>
          <p:spPr>
            <a:xfrm>
              <a:off x="2787919" y="2088197"/>
              <a:ext cx="1050645" cy="566411"/>
            </a:xfrm>
            <a:prstGeom prst="bentConnector3">
              <a:avLst>
                <a:gd name="adj1" fmla="val 42189"/>
              </a:avLst>
            </a:prstGeom>
            <a:ln>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43" name="Elbow Connector 142"/>
            <p:cNvCxnSpPr/>
            <p:nvPr/>
          </p:nvCxnSpPr>
          <p:spPr>
            <a:xfrm flipV="1">
              <a:off x="1342682" y="3147666"/>
              <a:ext cx="2572095" cy="2298482"/>
            </a:xfrm>
            <a:prstGeom prst="bentConnector3">
              <a:avLst>
                <a:gd name="adj1" fmla="val 78729"/>
              </a:avLst>
            </a:prstGeom>
            <a:ln>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58" name="Elbow Connector 157"/>
            <p:cNvCxnSpPr/>
            <p:nvPr/>
          </p:nvCxnSpPr>
          <p:spPr>
            <a:xfrm>
              <a:off x="2067386" y="1066088"/>
              <a:ext cx="1810379" cy="1491511"/>
            </a:xfrm>
            <a:prstGeom prst="bentConnector3">
              <a:avLst>
                <a:gd name="adj1" fmla="val 69426"/>
              </a:avLst>
            </a:prstGeom>
            <a:ln>
              <a:headEnd type="triangle"/>
              <a:tailEnd type="triangle"/>
            </a:ln>
          </p:spPr>
          <p:style>
            <a:lnRef idx="1">
              <a:schemeClr val="accent4"/>
            </a:lnRef>
            <a:fillRef idx="0">
              <a:schemeClr val="accent4"/>
            </a:fillRef>
            <a:effectRef idx="0">
              <a:schemeClr val="accent4"/>
            </a:effectRef>
            <a:fontRef idx="minor">
              <a:schemeClr val="tx1"/>
            </a:fontRef>
          </p:style>
        </p:cxnSp>
        <p:sp>
          <p:nvSpPr>
            <p:cNvPr id="204" name="TextBox 203"/>
            <p:cNvSpPr txBox="1"/>
            <p:nvPr/>
          </p:nvSpPr>
          <p:spPr>
            <a:xfrm>
              <a:off x="993703" y="1824941"/>
              <a:ext cx="1174863" cy="1263479"/>
            </a:xfrm>
            <a:prstGeom prst="round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marL="171450" indent="-171450" defTabSz="1086775">
                <a:buFont typeface="Arial" panose="020B0604020202020204" pitchFamily="34" charset="0"/>
                <a:buChar char="•"/>
              </a:pPr>
              <a:r>
                <a:rPr lang="en-US" sz="1200">
                  <a:solidFill>
                    <a:srgbClr val="3D4647"/>
                  </a:solidFill>
                </a:rPr>
                <a:t>EMS - Edge </a:t>
              </a:r>
              <a:r>
                <a:rPr lang="en-US" sz="1200" err="1">
                  <a:solidFill>
                    <a:srgbClr val="3D4647"/>
                  </a:solidFill>
                </a:rPr>
                <a:t>MicroServer</a:t>
              </a:r>
              <a:endParaRPr lang="en-US" sz="1200">
                <a:solidFill>
                  <a:srgbClr val="3D4647"/>
                </a:solidFill>
              </a:endParaRPr>
            </a:p>
            <a:p>
              <a:pPr marL="171450" indent="-171450" defTabSz="1086775">
                <a:buFont typeface="Arial" panose="020B0604020202020204" pitchFamily="34" charset="0"/>
                <a:buChar char="•"/>
              </a:pPr>
              <a:r>
                <a:rPr lang="en-US" sz="1200">
                  <a:solidFill>
                    <a:srgbClr val="3D4647"/>
                  </a:solidFill>
                </a:rPr>
                <a:t>ThingWorx Edge SDKs</a:t>
              </a:r>
            </a:p>
            <a:p>
              <a:pPr marL="171450" indent="-171450" defTabSz="1086775">
                <a:buFont typeface="Arial" panose="020B0604020202020204" pitchFamily="34" charset="0"/>
                <a:buChar char="•"/>
              </a:pPr>
              <a:r>
                <a:rPr lang="en-US" sz="1200" err="1">
                  <a:solidFill>
                    <a:srgbClr val="3D4647"/>
                  </a:solidFill>
                </a:rPr>
                <a:t>Axeda</a:t>
              </a:r>
              <a:r>
                <a:rPr lang="en-US" sz="1200">
                  <a:solidFill>
                    <a:srgbClr val="3D4647"/>
                  </a:solidFill>
                </a:rPr>
                <a:t> connectors</a:t>
              </a:r>
            </a:p>
          </p:txBody>
        </p:sp>
        <p:sp>
          <p:nvSpPr>
            <p:cNvPr id="210" name="TextBox 209"/>
            <p:cNvSpPr txBox="1"/>
            <p:nvPr/>
          </p:nvSpPr>
          <p:spPr>
            <a:xfrm>
              <a:off x="2213971" y="2169566"/>
              <a:ext cx="708527" cy="184666"/>
            </a:xfrm>
            <a:prstGeom prst="rect">
              <a:avLst/>
            </a:prstGeom>
            <a:noFill/>
          </p:spPr>
          <p:txBody>
            <a:bodyPr wrap="none" lIns="0" tIns="0" rIns="0" bIns="0" rtlCol="0">
              <a:spAutoFit/>
            </a:bodyPr>
            <a:lstStyle/>
            <a:p>
              <a:pPr algn="ctr" defTabSz="1086775"/>
              <a:r>
                <a:rPr lang="en-US" sz="1200">
                  <a:solidFill>
                    <a:srgbClr val="3D4647"/>
                  </a:solidFill>
                </a:rPr>
                <a:t>Gateway</a:t>
              </a:r>
            </a:p>
          </p:txBody>
        </p:sp>
        <p:pic>
          <p:nvPicPr>
            <p:cNvPr id="218" name="Picture 21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913664" y="5414628"/>
              <a:ext cx="148062" cy="192221"/>
            </a:xfrm>
            <a:prstGeom prst="rect">
              <a:avLst/>
            </a:prstGeom>
          </p:spPr>
        </p:pic>
        <p:grpSp>
          <p:nvGrpSpPr>
            <p:cNvPr id="255" name="Group 254"/>
            <p:cNvGrpSpPr/>
            <p:nvPr/>
          </p:nvGrpSpPr>
          <p:grpSpPr>
            <a:xfrm>
              <a:off x="5134495" y="3175992"/>
              <a:ext cx="3913720" cy="1063001"/>
              <a:chOff x="5082264" y="2738339"/>
              <a:chExt cx="3638876" cy="1449807"/>
            </a:xfrm>
          </p:grpSpPr>
          <p:grpSp>
            <p:nvGrpSpPr>
              <p:cNvPr id="75" name="Group 74"/>
              <p:cNvGrpSpPr/>
              <p:nvPr/>
            </p:nvGrpSpPr>
            <p:grpSpPr>
              <a:xfrm>
                <a:off x="5082264" y="2738339"/>
                <a:ext cx="3638876" cy="1449807"/>
                <a:chOff x="5133482" y="3449476"/>
                <a:chExt cx="2113091" cy="1449807"/>
              </a:xfrm>
            </p:grpSpPr>
            <p:sp>
              <p:nvSpPr>
                <p:cNvPr id="59" name="Rounded Rectangle 58"/>
                <p:cNvSpPr/>
                <p:nvPr/>
              </p:nvSpPr>
              <p:spPr>
                <a:xfrm>
                  <a:off x="5133482" y="3449476"/>
                  <a:ext cx="2094202" cy="1449807"/>
                </a:xfrm>
                <a:prstGeom prst="round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defTabSz="1086775"/>
                  <a:endParaRPr lang="en-US" sz="2200">
                    <a:solidFill>
                      <a:srgbClr val="FFFFFF"/>
                    </a:solidFill>
                  </a:endParaRPr>
                </a:p>
              </p:txBody>
            </p:sp>
            <p:sp>
              <p:nvSpPr>
                <p:cNvPr id="60" name="TextBox 59"/>
                <p:cNvSpPr txBox="1"/>
                <p:nvPr/>
              </p:nvSpPr>
              <p:spPr>
                <a:xfrm>
                  <a:off x="5255634" y="3475254"/>
                  <a:ext cx="1990939" cy="203141"/>
                </a:xfrm>
                <a:prstGeom prst="rect">
                  <a:avLst/>
                </a:prstGeom>
                <a:noFill/>
              </p:spPr>
              <p:txBody>
                <a:bodyPr wrap="square" lIns="0" tIns="0" rIns="0" bIns="0" rtlCol="0">
                  <a:spAutoFit/>
                </a:bodyPr>
                <a:lstStyle/>
                <a:p>
                  <a:pPr algn="ctr" defTabSz="1086775"/>
                  <a:r>
                    <a:rPr lang="en-US" sz="1400" b="1">
                      <a:solidFill>
                        <a:srgbClr val="3D4647"/>
                      </a:solidFill>
                    </a:rPr>
                    <a:t>Persistence Providers</a:t>
                  </a:r>
                </a:p>
              </p:txBody>
            </p:sp>
            <p:pic>
              <p:nvPicPr>
                <p:cNvPr id="61" name="Picture 60"/>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012195" y="3551833"/>
                  <a:ext cx="150858" cy="435541"/>
                </a:xfrm>
                <a:prstGeom prst="rect">
                  <a:avLst/>
                </a:prstGeom>
              </p:spPr>
            </p:pic>
            <p:sp>
              <p:nvSpPr>
                <p:cNvPr id="64" name="TextBox 63"/>
                <p:cNvSpPr txBox="1"/>
                <p:nvPr/>
              </p:nvSpPr>
              <p:spPr>
                <a:xfrm>
                  <a:off x="5890026" y="3786582"/>
                  <a:ext cx="721963" cy="392819"/>
                </a:xfrm>
                <a:prstGeom prst="rect">
                  <a:avLst/>
                </a:prstGeom>
                <a:noFill/>
                <a:ln w="19050">
                  <a:solidFill>
                    <a:schemeClr val="tx2">
                      <a:lumMod val="40000"/>
                      <a:lumOff val="60000"/>
                    </a:schemeClr>
                  </a:solidFill>
                </a:ln>
              </p:spPr>
              <p:txBody>
                <a:bodyPr wrap="square" lIns="0" tIns="45720" rIns="0" bIns="45720" rtlCol="0">
                  <a:spAutoFit/>
                </a:bodyPr>
                <a:lstStyle/>
                <a:p>
                  <a:pPr algn="ctr" defTabSz="1086775"/>
                  <a:r>
                    <a:rPr lang="en-US" sz="1200">
                      <a:solidFill>
                        <a:srgbClr val="3D4647"/>
                      </a:solidFill>
                    </a:rPr>
                    <a:t>H2 (Embedded)</a:t>
                  </a:r>
                </a:p>
              </p:txBody>
            </p:sp>
          </p:grpSp>
          <p:sp>
            <p:nvSpPr>
              <p:cNvPr id="240" name="Rectangle 239"/>
              <p:cNvSpPr/>
              <p:nvPr/>
            </p:nvSpPr>
            <p:spPr>
              <a:xfrm>
                <a:off x="5147251" y="3543640"/>
                <a:ext cx="945549" cy="392819"/>
              </a:xfrm>
              <a:prstGeom prst="rect">
                <a:avLst/>
              </a:prstGeom>
              <a:ln w="19050">
                <a:solidFill>
                  <a:schemeClr val="tx2">
                    <a:lumMod val="40000"/>
                    <a:lumOff val="60000"/>
                  </a:schemeClr>
                </a:solidFill>
              </a:ln>
            </p:spPr>
            <p:txBody>
              <a:bodyPr wrap="square">
                <a:spAutoFit/>
              </a:bodyPr>
              <a:lstStyle/>
              <a:p>
                <a:pPr algn="ctr" defTabSz="1086775"/>
                <a:r>
                  <a:rPr lang="en-US" sz="1200">
                    <a:solidFill>
                      <a:srgbClr val="3D4647"/>
                    </a:solidFill>
                  </a:rPr>
                  <a:t>PostgreSQL</a:t>
                </a:r>
              </a:p>
            </p:txBody>
          </p:sp>
          <p:sp>
            <p:nvSpPr>
              <p:cNvPr id="242" name="Rectangle 241"/>
              <p:cNvSpPr/>
              <p:nvPr/>
            </p:nvSpPr>
            <p:spPr>
              <a:xfrm>
                <a:off x="7785973" y="3543110"/>
                <a:ext cx="865547" cy="392819"/>
              </a:xfrm>
              <a:prstGeom prst="rect">
                <a:avLst/>
              </a:prstGeom>
              <a:ln w="19050">
                <a:solidFill>
                  <a:schemeClr val="tx2">
                    <a:lumMod val="40000"/>
                    <a:lumOff val="60000"/>
                  </a:schemeClr>
                </a:solidFill>
              </a:ln>
            </p:spPr>
            <p:txBody>
              <a:bodyPr wrap="square">
                <a:spAutoFit/>
              </a:bodyPr>
              <a:lstStyle/>
              <a:p>
                <a:pPr algn="ctr" defTabSz="1086775"/>
                <a:r>
                  <a:rPr lang="en-US" sz="1200">
                    <a:solidFill>
                      <a:srgbClr val="3D4647"/>
                    </a:solidFill>
                  </a:rPr>
                  <a:t>Azure SQL</a:t>
                </a:r>
              </a:p>
            </p:txBody>
          </p:sp>
          <p:sp>
            <p:nvSpPr>
              <p:cNvPr id="241" name="Rectangle 240"/>
              <p:cNvSpPr/>
              <p:nvPr/>
            </p:nvSpPr>
            <p:spPr>
              <a:xfrm>
                <a:off x="6181839" y="3543070"/>
                <a:ext cx="778660" cy="392819"/>
              </a:xfrm>
              <a:prstGeom prst="rect">
                <a:avLst/>
              </a:prstGeom>
              <a:ln w="19050">
                <a:solidFill>
                  <a:schemeClr val="tx2">
                    <a:lumMod val="40000"/>
                    <a:lumOff val="60000"/>
                  </a:schemeClr>
                </a:solidFill>
              </a:ln>
            </p:spPr>
            <p:txBody>
              <a:bodyPr wrap="square">
                <a:spAutoFit/>
              </a:bodyPr>
              <a:lstStyle/>
              <a:p>
                <a:pPr algn="ctr" defTabSz="1086775"/>
                <a:r>
                  <a:rPr lang="en-US" sz="1200">
                    <a:solidFill>
                      <a:srgbClr val="3D4647"/>
                    </a:solidFill>
                  </a:rPr>
                  <a:t>MS SQL</a:t>
                </a:r>
              </a:p>
            </p:txBody>
          </p:sp>
          <p:sp>
            <p:nvSpPr>
              <p:cNvPr id="243" name="Rectangle 242"/>
              <p:cNvSpPr/>
              <p:nvPr/>
            </p:nvSpPr>
            <p:spPr>
              <a:xfrm>
                <a:off x="7000377" y="3545782"/>
                <a:ext cx="731753" cy="392819"/>
              </a:xfrm>
              <a:prstGeom prst="rect">
                <a:avLst/>
              </a:prstGeom>
              <a:ln w="19050">
                <a:solidFill>
                  <a:schemeClr val="tx2">
                    <a:lumMod val="40000"/>
                    <a:lumOff val="60000"/>
                  </a:schemeClr>
                </a:solidFill>
              </a:ln>
            </p:spPr>
            <p:txBody>
              <a:bodyPr wrap="square">
                <a:spAutoFit/>
              </a:bodyPr>
              <a:lstStyle/>
              <a:p>
                <a:pPr algn="ctr" defTabSz="1086775"/>
                <a:r>
                  <a:rPr lang="en-US" sz="1200" err="1">
                    <a:solidFill>
                      <a:srgbClr val="3D4647"/>
                    </a:solidFill>
                  </a:rPr>
                  <a:t>InfluxDB</a:t>
                </a:r>
                <a:r>
                  <a:rPr lang="en-US" sz="1200">
                    <a:solidFill>
                      <a:srgbClr val="3D4647"/>
                    </a:solidFill>
                  </a:rPr>
                  <a:t> </a:t>
                </a:r>
              </a:p>
            </p:txBody>
          </p:sp>
        </p:grpSp>
        <p:grpSp>
          <p:nvGrpSpPr>
            <p:cNvPr id="341" name="Group 340"/>
            <p:cNvGrpSpPr/>
            <p:nvPr/>
          </p:nvGrpSpPr>
          <p:grpSpPr>
            <a:xfrm>
              <a:off x="5034966" y="4766561"/>
              <a:ext cx="369332" cy="1091750"/>
              <a:chOff x="5910931" y="4716856"/>
              <a:chExt cx="369332" cy="1091750"/>
            </a:xfrm>
          </p:grpSpPr>
          <p:sp>
            <p:nvSpPr>
              <p:cNvPr id="70" name="TextBox 69"/>
              <p:cNvSpPr txBox="1"/>
              <p:nvPr/>
            </p:nvSpPr>
            <p:spPr>
              <a:xfrm rot="16200000">
                <a:off x="5549722" y="5078065"/>
                <a:ext cx="1091750" cy="369332"/>
              </a:xfrm>
              <a:prstGeom prst="rect">
                <a:avLst/>
              </a:prstGeom>
              <a:noFill/>
            </p:spPr>
            <p:txBody>
              <a:bodyPr wrap="square" lIns="0" tIns="0" rIns="0" bIns="0" rtlCol="0">
                <a:spAutoFit/>
              </a:bodyPr>
              <a:lstStyle/>
              <a:p>
                <a:pPr algn="ctr" defTabSz="1086775"/>
                <a:r>
                  <a:rPr lang="en-US" sz="1200">
                    <a:solidFill>
                      <a:srgbClr val="3D4647"/>
                    </a:solidFill>
                  </a:rPr>
                  <a:t>JDBC Connector</a:t>
                </a:r>
              </a:p>
            </p:txBody>
          </p:sp>
          <p:cxnSp>
            <p:nvCxnSpPr>
              <p:cNvPr id="265" name="Straight Arrow Connector 264"/>
              <p:cNvCxnSpPr>
                <a:cxnSpLocks/>
              </p:cNvCxnSpPr>
              <p:nvPr/>
            </p:nvCxnSpPr>
            <p:spPr>
              <a:xfrm flipV="1">
                <a:off x="6096058" y="4846639"/>
                <a:ext cx="0" cy="792025"/>
              </a:xfrm>
              <a:prstGeom prst="straightConnector1">
                <a:avLst/>
              </a:prstGeom>
              <a:ln>
                <a:headEnd type="triangle"/>
                <a:tailEnd type="triangle"/>
              </a:ln>
            </p:spPr>
            <p:style>
              <a:lnRef idx="1">
                <a:schemeClr val="accent4"/>
              </a:lnRef>
              <a:fillRef idx="0">
                <a:schemeClr val="accent4"/>
              </a:fillRef>
              <a:effectRef idx="0">
                <a:schemeClr val="accent4"/>
              </a:effectRef>
              <a:fontRef idx="minor">
                <a:schemeClr val="tx1"/>
              </a:fontRef>
            </p:style>
          </p:cxnSp>
        </p:grpSp>
        <p:sp>
          <p:nvSpPr>
            <p:cNvPr id="269" name="TextBox 268"/>
            <p:cNvSpPr txBox="1"/>
            <p:nvPr/>
          </p:nvSpPr>
          <p:spPr>
            <a:xfrm>
              <a:off x="9537099" y="1420332"/>
              <a:ext cx="913130" cy="184666"/>
            </a:xfrm>
            <a:prstGeom prst="rect">
              <a:avLst/>
            </a:prstGeom>
            <a:noFill/>
          </p:spPr>
          <p:txBody>
            <a:bodyPr wrap="square" lIns="0" tIns="0" rIns="0" bIns="0" rtlCol="0">
              <a:spAutoFit/>
            </a:bodyPr>
            <a:lstStyle/>
            <a:p>
              <a:pPr algn="ctr" defTabSz="1086775"/>
              <a:r>
                <a:rPr lang="en-US" sz="1200">
                  <a:solidFill>
                    <a:srgbClr val="3D4647"/>
                  </a:solidFill>
                </a:rPr>
                <a:t>REST APIs</a:t>
              </a:r>
            </a:p>
          </p:txBody>
        </p:sp>
        <p:cxnSp>
          <p:nvCxnSpPr>
            <p:cNvPr id="271" name="Straight Arrow Connector 270"/>
            <p:cNvCxnSpPr>
              <a:endCxn id="73" idx="1"/>
            </p:cNvCxnSpPr>
            <p:nvPr/>
          </p:nvCxnSpPr>
          <p:spPr>
            <a:xfrm>
              <a:off x="7187663" y="1487659"/>
              <a:ext cx="840349" cy="1286"/>
            </a:xfrm>
            <a:prstGeom prst="straightConnector1">
              <a:avLst/>
            </a:prstGeom>
            <a:ln>
              <a:solidFill>
                <a:schemeClr val="bg2">
                  <a:lumMod val="75000"/>
                </a:schemeClr>
              </a:solidFill>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274" name="Elbow Connector 273"/>
            <p:cNvCxnSpPr>
              <a:stCxn id="48" idx="3"/>
              <a:endCxn id="59" idx="1"/>
            </p:cNvCxnSpPr>
            <p:nvPr/>
          </p:nvCxnSpPr>
          <p:spPr>
            <a:xfrm>
              <a:off x="4680433" y="2819985"/>
              <a:ext cx="454062" cy="887508"/>
            </a:xfrm>
            <a:prstGeom prst="bentConnector3">
              <a:avLst>
                <a:gd name="adj1" fmla="val 50000"/>
              </a:avLst>
            </a:prstGeom>
            <a:ln>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279" name="Straight Arrow Connector 278"/>
            <p:cNvCxnSpPr/>
            <p:nvPr/>
          </p:nvCxnSpPr>
          <p:spPr>
            <a:xfrm flipH="1" flipV="1">
              <a:off x="5490805" y="2669907"/>
              <a:ext cx="2529" cy="470186"/>
            </a:xfrm>
            <a:prstGeom prst="straightConnector1">
              <a:avLst/>
            </a:prstGeom>
            <a:ln>
              <a:solidFill>
                <a:schemeClr val="bg2">
                  <a:lumMod val="75000"/>
                </a:schemeClr>
              </a:solidFill>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309" name="Straight Arrow Connector 308"/>
            <p:cNvCxnSpPr/>
            <p:nvPr/>
          </p:nvCxnSpPr>
          <p:spPr>
            <a:xfrm flipH="1" flipV="1">
              <a:off x="8690748" y="1693884"/>
              <a:ext cx="12513" cy="1439024"/>
            </a:xfrm>
            <a:prstGeom prst="straightConnector1">
              <a:avLst/>
            </a:prstGeom>
            <a:ln>
              <a:solidFill>
                <a:schemeClr val="bg2">
                  <a:lumMod val="75000"/>
                </a:schemeClr>
              </a:solidFill>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397" name="Straight Arrow Connector 396"/>
            <p:cNvCxnSpPr/>
            <p:nvPr/>
          </p:nvCxnSpPr>
          <p:spPr>
            <a:xfrm flipH="1" flipV="1">
              <a:off x="6781577" y="4058868"/>
              <a:ext cx="6518" cy="346636"/>
            </a:xfrm>
            <a:prstGeom prst="straightConnector1">
              <a:avLst/>
            </a:prstGeom>
            <a:ln w="1905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Straight Arrow Connector 399"/>
            <p:cNvCxnSpPr/>
            <p:nvPr/>
          </p:nvCxnSpPr>
          <p:spPr>
            <a:xfrm flipH="1" flipV="1">
              <a:off x="7547935" y="4058868"/>
              <a:ext cx="6518" cy="346636"/>
            </a:xfrm>
            <a:prstGeom prst="straightConnector1">
              <a:avLst/>
            </a:prstGeom>
            <a:ln w="1905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Straight Arrow Connector 400"/>
            <p:cNvCxnSpPr/>
            <p:nvPr/>
          </p:nvCxnSpPr>
          <p:spPr>
            <a:xfrm flipH="1" flipV="1">
              <a:off x="8347785" y="4058868"/>
              <a:ext cx="6518" cy="346636"/>
            </a:xfrm>
            <a:prstGeom prst="straightConnector1">
              <a:avLst/>
            </a:prstGeom>
            <a:ln w="1905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5" name="Elbow Connector 404"/>
            <p:cNvCxnSpPr>
              <a:cxnSpLocks/>
            </p:cNvCxnSpPr>
            <p:nvPr/>
          </p:nvCxnSpPr>
          <p:spPr>
            <a:xfrm rot="5400000" flipH="1" flipV="1">
              <a:off x="5973911" y="3860332"/>
              <a:ext cx="828626" cy="234023"/>
            </a:xfrm>
            <a:prstGeom prst="bentConnector2">
              <a:avLst/>
            </a:prstGeom>
            <a:ln w="1905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7" name="Straight Arrow Connector 406"/>
            <p:cNvCxnSpPr>
              <a:cxnSpLocks/>
            </p:cNvCxnSpPr>
            <p:nvPr/>
          </p:nvCxnSpPr>
          <p:spPr>
            <a:xfrm>
              <a:off x="5769934" y="4405265"/>
              <a:ext cx="0" cy="997446"/>
            </a:xfrm>
            <a:prstGeom prst="straightConnector1">
              <a:avLst/>
            </a:prstGeom>
            <a:ln w="1905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6" name="Straight Arrow Connector 425"/>
            <p:cNvCxnSpPr>
              <a:cxnSpLocks/>
            </p:cNvCxnSpPr>
            <p:nvPr/>
          </p:nvCxnSpPr>
          <p:spPr>
            <a:xfrm flipV="1">
              <a:off x="8314203" y="4398461"/>
              <a:ext cx="0" cy="677543"/>
            </a:xfrm>
            <a:prstGeom prst="straightConnector1">
              <a:avLst/>
            </a:prstGeom>
            <a:ln>
              <a:headEnd type="triangle"/>
              <a:tailEnd type="triangle"/>
            </a:ln>
          </p:spPr>
          <p:style>
            <a:lnRef idx="1">
              <a:schemeClr val="accent4"/>
            </a:lnRef>
            <a:fillRef idx="0">
              <a:schemeClr val="accent4"/>
            </a:fillRef>
            <a:effectRef idx="0">
              <a:schemeClr val="accent4"/>
            </a:effectRef>
            <a:fontRef idx="minor">
              <a:schemeClr val="tx1"/>
            </a:fontRef>
          </p:style>
        </p:cxnSp>
        <p:sp>
          <p:nvSpPr>
            <p:cNvPr id="440" name="Rectangle 439"/>
            <p:cNvSpPr/>
            <p:nvPr/>
          </p:nvSpPr>
          <p:spPr>
            <a:xfrm rot="16200000">
              <a:off x="7906953" y="2425703"/>
              <a:ext cx="1197649" cy="276999"/>
            </a:xfrm>
            <a:prstGeom prst="rect">
              <a:avLst/>
            </a:prstGeom>
          </p:spPr>
          <p:txBody>
            <a:bodyPr wrap="square">
              <a:spAutoFit/>
            </a:bodyPr>
            <a:lstStyle/>
            <a:p>
              <a:pPr algn="ctr" defTabSz="1086775"/>
              <a:r>
                <a:rPr lang="en-US" sz="1200">
                  <a:solidFill>
                    <a:srgbClr val="3D4647"/>
                  </a:solidFill>
                </a:rPr>
                <a:t>Data Flow</a:t>
              </a:r>
            </a:p>
          </p:txBody>
        </p:sp>
        <p:sp>
          <p:nvSpPr>
            <p:cNvPr id="461" name="TextBox 460"/>
            <p:cNvSpPr txBox="1"/>
            <p:nvPr/>
          </p:nvSpPr>
          <p:spPr>
            <a:xfrm>
              <a:off x="5997768" y="1761067"/>
              <a:ext cx="992678" cy="408623"/>
            </a:xfrm>
            <a:prstGeom prst="roundRect">
              <a:avLst/>
            </a:prstGeom>
            <a:ln>
              <a:solidFill>
                <a:schemeClr val="tx2">
                  <a:lumMod val="40000"/>
                  <a:lumOff val="60000"/>
                </a:schemeClr>
              </a:solidFill>
            </a:ln>
          </p:spPr>
          <p:style>
            <a:lnRef idx="2">
              <a:schemeClr val="accent4"/>
            </a:lnRef>
            <a:fillRef idx="1">
              <a:schemeClr val="lt1"/>
            </a:fillRef>
            <a:effectRef idx="0">
              <a:schemeClr val="accent4"/>
            </a:effectRef>
            <a:fontRef idx="minor">
              <a:schemeClr val="dk1"/>
            </a:fontRef>
          </p:style>
          <p:txBody>
            <a:bodyPr wrap="square" lIns="0" tIns="0" rIns="0" bIns="0" rtlCol="0">
              <a:spAutoFit/>
            </a:bodyPr>
            <a:lstStyle/>
            <a:p>
              <a:pPr algn="ctr" defTabSz="1086775"/>
              <a:r>
                <a:rPr lang="en-US" sz="1200">
                  <a:solidFill>
                    <a:srgbClr val="3D4647"/>
                  </a:solidFill>
                </a:rPr>
                <a:t>Analytics Definition</a:t>
              </a:r>
            </a:p>
          </p:txBody>
        </p:sp>
        <p:sp>
          <p:nvSpPr>
            <p:cNvPr id="141" name="TextBox 140"/>
            <p:cNvSpPr txBox="1"/>
            <p:nvPr/>
          </p:nvSpPr>
          <p:spPr>
            <a:xfrm>
              <a:off x="9024104" y="2072969"/>
              <a:ext cx="1227712" cy="408623"/>
            </a:xfrm>
            <a:prstGeom prst="roundRect">
              <a:avLst/>
            </a:prstGeom>
          </p:spPr>
          <p:style>
            <a:lnRef idx="3">
              <a:schemeClr val="lt1"/>
            </a:lnRef>
            <a:fillRef idx="1">
              <a:schemeClr val="accent6"/>
            </a:fillRef>
            <a:effectRef idx="1">
              <a:schemeClr val="accent6"/>
            </a:effectRef>
            <a:fontRef idx="minor">
              <a:schemeClr val="lt1"/>
            </a:fontRef>
          </p:style>
          <p:txBody>
            <a:bodyPr wrap="square" lIns="0" tIns="0" rIns="0" bIns="0" rtlCol="0">
              <a:spAutoFit/>
            </a:bodyPr>
            <a:lstStyle/>
            <a:p>
              <a:pPr algn="ctr" defTabSz="1086775"/>
              <a:r>
                <a:rPr lang="en-US" sz="1200">
                  <a:solidFill>
                    <a:srgbClr val="FFFFFF"/>
                  </a:solidFill>
                </a:rPr>
                <a:t>ThingWorx Analytics</a:t>
              </a:r>
            </a:p>
          </p:txBody>
        </p:sp>
        <p:cxnSp>
          <p:nvCxnSpPr>
            <p:cNvPr id="142" name="Elbow Connector 141"/>
            <p:cNvCxnSpPr>
              <a:stCxn id="141" idx="0"/>
              <a:endCxn id="461" idx="3"/>
            </p:cNvCxnSpPr>
            <p:nvPr/>
          </p:nvCxnSpPr>
          <p:spPr>
            <a:xfrm rot="16200000" flipV="1">
              <a:off x="8260408" y="695418"/>
              <a:ext cx="107590" cy="2647514"/>
            </a:xfrm>
            <a:prstGeom prst="bentConnector2">
              <a:avLst/>
            </a:prstGeom>
            <a:ln>
              <a:solidFill>
                <a:schemeClr val="bg2">
                  <a:lumMod val="75000"/>
                </a:schemeClr>
              </a:solidFill>
              <a:headEnd type="triangle"/>
              <a:tailEnd type="triangle"/>
            </a:ln>
          </p:spPr>
          <p:style>
            <a:lnRef idx="1">
              <a:schemeClr val="accent4"/>
            </a:lnRef>
            <a:fillRef idx="0">
              <a:schemeClr val="accent4"/>
            </a:fillRef>
            <a:effectRef idx="0">
              <a:schemeClr val="accent4"/>
            </a:effectRef>
            <a:fontRef idx="minor">
              <a:schemeClr val="tx1"/>
            </a:fontRef>
          </p:style>
        </p:cxnSp>
        <p:sp>
          <p:nvSpPr>
            <p:cNvPr id="149" name="TextBox 148"/>
            <p:cNvSpPr txBox="1"/>
            <p:nvPr/>
          </p:nvSpPr>
          <p:spPr>
            <a:xfrm>
              <a:off x="9054992" y="2874150"/>
              <a:ext cx="1227712" cy="424874"/>
            </a:xfrm>
            <a:prstGeom prst="roundRect">
              <a:avLst/>
            </a:prstGeom>
            <a:solidFill>
              <a:srgbClr val="92D050"/>
            </a:solidFill>
          </p:spPr>
          <p:style>
            <a:lnRef idx="3">
              <a:schemeClr val="lt1"/>
            </a:lnRef>
            <a:fillRef idx="1">
              <a:schemeClr val="accent4"/>
            </a:fillRef>
            <a:effectRef idx="1">
              <a:schemeClr val="accent4"/>
            </a:effectRef>
            <a:fontRef idx="minor">
              <a:schemeClr val="lt1"/>
            </a:fontRef>
          </p:style>
          <p:txBody>
            <a:bodyPr wrap="square" lIns="0" tIns="0" rIns="0" bIns="0" rtlCol="0">
              <a:spAutoFit/>
            </a:bodyPr>
            <a:lstStyle/>
            <a:p>
              <a:pPr algn="ctr" defTabSz="1086775"/>
              <a:r>
                <a:rPr lang="en-US" sz="1200">
                  <a:solidFill>
                    <a:srgbClr val="FFFFFF"/>
                  </a:solidFill>
                </a:rPr>
                <a:t>Vuforia       Studio</a:t>
              </a:r>
            </a:p>
          </p:txBody>
        </p:sp>
        <p:sp>
          <p:nvSpPr>
            <p:cNvPr id="153" name="TextBox 152"/>
            <p:cNvSpPr txBox="1"/>
            <p:nvPr/>
          </p:nvSpPr>
          <p:spPr>
            <a:xfrm>
              <a:off x="7796392" y="5082809"/>
              <a:ext cx="1227712" cy="408623"/>
            </a:xfrm>
            <a:prstGeom prst="roundRect">
              <a:avLst/>
            </a:prstGeom>
          </p:spPr>
          <p:style>
            <a:lnRef idx="3">
              <a:schemeClr val="lt1"/>
            </a:lnRef>
            <a:fillRef idx="1">
              <a:schemeClr val="dk1"/>
            </a:fillRef>
            <a:effectRef idx="1">
              <a:schemeClr val="dk1"/>
            </a:effectRef>
            <a:fontRef idx="minor">
              <a:schemeClr val="lt1"/>
            </a:fontRef>
          </p:style>
          <p:txBody>
            <a:bodyPr wrap="square" lIns="0" tIns="0" rIns="0" bIns="0" rtlCol="0">
              <a:spAutoFit/>
            </a:bodyPr>
            <a:lstStyle/>
            <a:p>
              <a:pPr algn="ctr" defTabSz="1086775"/>
              <a:r>
                <a:rPr lang="en-US" sz="1200">
                  <a:solidFill>
                    <a:srgbClr val="FFFFFF"/>
                  </a:solidFill>
                </a:rPr>
                <a:t>ThingWorx</a:t>
              </a:r>
            </a:p>
            <a:p>
              <a:pPr algn="ctr" defTabSz="1086775"/>
              <a:r>
                <a:rPr lang="en-US" sz="1200">
                  <a:solidFill>
                    <a:srgbClr val="FFFFFF"/>
                  </a:solidFill>
                </a:rPr>
                <a:t>Marketplace</a:t>
              </a:r>
            </a:p>
          </p:txBody>
        </p:sp>
        <p:cxnSp>
          <p:nvCxnSpPr>
            <p:cNvPr id="160" name="Elbow Connector 159"/>
            <p:cNvCxnSpPr/>
            <p:nvPr/>
          </p:nvCxnSpPr>
          <p:spPr>
            <a:xfrm rot="10800000">
              <a:off x="9384291" y="1627339"/>
              <a:ext cx="1824479" cy="549589"/>
            </a:xfrm>
            <a:prstGeom prst="bentConnector3">
              <a:avLst>
                <a:gd name="adj1" fmla="val 19665"/>
              </a:avLst>
            </a:prstGeom>
            <a:ln>
              <a:prstDash val="solid"/>
              <a:headEnd type="triangle"/>
              <a:tailEnd type="triangle"/>
            </a:ln>
          </p:spPr>
          <p:style>
            <a:lnRef idx="1">
              <a:schemeClr val="accent4"/>
            </a:lnRef>
            <a:fillRef idx="0">
              <a:schemeClr val="accent4"/>
            </a:fillRef>
            <a:effectRef idx="0">
              <a:schemeClr val="accent4"/>
            </a:effectRef>
            <a:fontRef idx="minor">
              <a:schemeClr val="tx1"/>
            </a:fontRef>
          </p:style>
        </p:cxnSp>
        <p:pic>
          <p:nvPicPr>
            <p:cNvPr id="174" name="Picture 173"/>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295975" y="1721493"/>
              <a:ext cx="487302" cy="487302"/>
            </a:xfrm>
            <a:prstGeom prst="rect">
              <a:avLst/>
            </a:prstGeom>
          </p:spPr>
        </p:pic>
        <p:cxnSp>
          <p:nvCxnSpPr>
            <p:cNvPr id="176" name="Elbow Connector 175"/>
            <p:cNvCxnSpPr>
              <a:cxnSpLocks/>
              <a:stCxn id="84" idx="1"/>
              <a:endCxn id="141" idx="3"/>
            </p:cNvCxnSpPr>
            <p:nvPr/>
          </p:nvCxnSpPr>
          <p:spPr>
            <a:xfrm rot="10800000" flipV="1">
              <a:off x="10251817" y="1392867"/>
              <a:ext cx="775899" cy="884413"/>
            </a:xfrm>
            <a:prstGeom prst="bentConnector3">
              <a:avLst>
                <a:gd name="adj1" fmla="val 23271"/>
              </a:avLst>
            </a:prstGeom>
            <a:ln>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80" name="Elbow Connector 179"/>
            <p:cNvCxnSpPr>
              <a:cxnSpLocks/>
              <a:stCxn id="149" idx="3"/>
              <a:endCxn id="87" idx="1"/>
            </p:cNvCxnSpPr>
            <p:nvPr/>
          </p:nvCxnSpPr>
          <p:spPr>
            <a:xfrm>
              <a:off x="10282704" y="3086587"/>
              <a:ext cx="716849" cy="398439"/>
            </a:xfrm>
            <a:prstGeom prst="bentConnector3">
              <a:avLst>
                <a:gd name="adj1" fmla="val 74986"/>
              </a:avLst>
            </a:prstGeom>
            <a:ln>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87" name="Elbow Connector 186"/>
            <p:cNvCxnSpPr>
              <a:cxnSpLocks/>
              <a:stCxn id="149" idx="3"/>
              <a:endCxn id="91" idx="1"/>
            </p:cNvCxnSpPr>
            <p:nvPr/>
          </p:nvCxnSpPr>
          <p:spPr>
            <a:xfrm>
              <a:off x="10282704" y="3086587"/>
              <a:ext cx="628455" cy="1521735"/>
            </a:xfrm>
            <a:prstGeom prst="bentConnector3">
              <a:avLst>
                <a:gd name="adj1" fmla="val 86000"/>
              </a:avLst>
            </a:prstGeom>
            <a:ln>
              <a:headEnd type="triangle"/>
              <a:tailEnd type="triangle"/>
            </a:ln>
          </p:spPr>
          <p:style>
            <a:lnRef idx="1">
              <a:schemeClr val="accent4"/>
            </a:lnRef>
            <a:fillRef idx="0">
              <a:schemeClr val="accent4"/>
            </a:fillRef>
            <a:effectRef idx="0">
              <a:schemeClr val="accent4"/>
            </a:effectRef>
            <a:fontRef idx="minor">
              <a:schemeClr val="tx1"/>
            </a:fontRef>
          </p:style>
        </p:cxnSp>
        <p:sp>
          <p:nvSpPr>
            <p:cNvPr id="126" name="Rectangle 125"/>
            <p:cNvSpPr/>
            <p:nvPr/>
          </p:nvSpPr>
          <p:spPr>
            <a:xfrm>
              <a:off x="1" y="6519592"/>
              <a:ext cx="12166112" cy="311889"/>
            </a:xfrm>
            <a:prstGeom prst="rect">
              <a:avLst/>
            </a:prstGeom>
            <a:solidFill>
              <a:schemeClr val="bg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6775"/>
              <a:r>
                <a:rPr lang="en-US" sz="2200" b="1">
                  <a:solidFill>
                    <a:srgbClr val="FFFFFF"/>
                  </a:solidFill>
                </a:rPr>
                <a:t>Secure Data Flow</a:t>
              </a:r>
            </a:p>
          </p:txBody>
        </p:sp>
        <p:pic>
          <p:nvPicPr>
            <p:cNvPr id="68" name="Picture 67"/>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497211" y="2412544"/>
              <a:ext cx="608478" cy="608478"/>
            </a:xfrm>
            <a:prstGeom prst="rect">
              <a:avLst/>
            </a:prstGeom>
          </p:spPr>
        </p:pic>
        <p:cxnSp>
          <p:nvCxnSpPr>
            <p:cNvPr id="151" name="Elbow Connector 150"/>
            <p:cNvCxnSpPr>
              <a:cxnSpLocks/>
              <a:stCxn id="80" idx="2"/>
              <a:endCxn id="149" idx="3"/>
            </p:cNvCxnSpPr>
            <p:nvPr/>
          </p:nvCxnSpPr>
          <p:spPr>
            <a:xfrm rot="5400000">
              <a:off x="10768704" y="2368573"/>
              <a:ext cx="232014" cy="1204014"/>
            </a:xfrm>
            <a:prstGeom prst="bentConnector2">
              <a:avLst/>
            </a:prstGeom>
            <a:ln>
              <a:headEnd type="triangle"/>
              <a:tailEnd type="triangle"/>
            </a:ln>
          </p:spPr>
          <p:style>
            <a:lnRef idx="1">
              <a:schemeClr val="accent4"/>
            </a:lnRef>
            <a:fillRef idx="0">
              <a:schemeClr val="accent4"/>
            </a:fillRef>
            <a:effectRef idx="0">
              <a:schemeClr val="accent4"/>
            </a:effectRef>
            <a:fontRef idx="minor">
              <a:schemeClr val="tx1"/>
            </a:fontRef>
          </p:style>
        </p:cxnSp>
        <p:pic>
          <p:nvPicPr>
            <p:cNvPr id="147" name="Picture 14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911763" y="2704200"/>
              <a:ext cx="148062" cy="192221"/>
            </a:xfrm>
            <a:prstGeom prst="rect">
              <a:avLst/>
            </a:prstGeom>
          </p:spPr>
        </p:pic>
        <p:pic>
          <p:nvPicPr>
            <p:cNvPr id="148" name="Picture 14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911126" y="1998922"/>
              <a:ext cx="148062" cy="192221"/>
            </a:xfrm>
            <a:prstGeom prst="rect">
              <a:avLst/>
            </a:prstGeom>
          </p:spPr>
        </p:pic>
        <p:pic>
          <p:nvPicPr>
            <p:cNvPr id="154" name="Picture 153"/>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910815" y="983233"/>
              <a:ext cx="148062" cy="192221"/>
            </a:xfrm>
            <a:prstGeom prst="rect">
              <a:avLst/>
            </a:prstGeom>
          </p:spPr>
        </p:pic>
        <p:grpSp>
          <p:nvGrpSpPr>
            <p:cNvPr id="133" name="Group 132"/>
            <p:cNvGrpSpPr/>
            <p:nvPr/>
          </p:nvGrpSpPr>
          <p:grpSpPr>
            <a:xfrm>
              <a:off x="9216767" y="5459231"/>
              <a:ext cx="1441058" cy="918152"/>
              <a:chOff x="1945892" y="1349656"/>
              <a:chExt cx="1441058" cy="918152"/>
            </a:xfrm>
          </p:grpSpPr>
          <p:sp>
            <p:nvSpPr>
              <p:cNvPr id="134" name="TextBox 133"/>
              <p:cNvSpPr txBox="1"/>
              <p:nvPr/>
            </p:nvSpPr>
            <p:spPr>
              <a:xfrm>
                <a:off x="1945892" y="1898476"/>
                <a:ext cx="1441058" cy="369332"/>
              </a:xfrm>
              <a:prstGeom prst="rect">
                <a:avLst/>
              </a:prstGeom>
              <a:noFill/>
            </p:spPr>
            <p:txBody>
              <a:bodyPr wrap="square" lIns="0" tIns="0" rIns="0" bIns="0" rtlCol="0">
                <a:spAutoFit/>
              </a:bodyPr>
              <a:lstStyle/>
              <a:p>
                <a:pPr algn="ctr" defTabSz="1086775"/>
                <a:r>
                  <a:rPr lang="en-US" sz="1200">
                    <a:solidFill>
                      <a:srgbClr val="3D4647"/>
                    </a:solidFill>
                  </a:rPr>
                  <a:t>Business/IT</a:t>
                </a:r>
                <a:br>
                  <a:rPr lang="en-US" sz="1200">
                    <a:solidFill>
                      <a:srgbClr val="3D4647"/>
                    </a:solidFill>
                  </a:rPr>
                </a:br>
                <a:r>
                  <a:rPr lang="en-US" sz="1200">
                    <a:solidFill>
                      <a:srgbClr val="3D4647"/>
                    </a:solidFill>
                  </a:rPr>
                  <a:t>Systems</a:t>
                </a:r>
              </a:p>
            </p:txBody>
          </p:sp>
          <p:pic>
            <p:nvPicPr>
              <p:cNvPr id="135" name="Picture 134"/>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2395963" y="1349656"/>
                <a:ext cx="540917" cy="507420"/>
              </a:xfrm>
              <a:prstGeom prst="rect">
                <a:avLst/>
              </a:prstGeom>
            </p:spPr>
          </p:pic>
        </p:grpSp>
        <p:cxnSp>
          <p:nvCxnSpPr>
            <p:cNvPr id="137" name="Elbow Connector 136"/>
            <p:cNvCxnSpPr>
              <a:stCxn id="135" idx="0"/>
            </p:cNvCxnSpPr>
            <p:nvPr/>
          </p:nvCxnSpPr>
          <p:spPr>
            <a:xfrm rot="16200000" flipV="1">
              <a:off x="8767233" y="4289167"/>
              <a:ext cx="1540413" cy="799716"/>
            </a:xfrm>
            <a:prstGeom prst="bentConnector3">
              <a:avLst>
                <a:gd name="adj1" fmla="val 99207"/>
              </a:avLst>
            </a:prstGeom>
            <a:ln>
              <a:headEnd type="triangle"/>
              <a:tailEnd type="triangle"/>
            </a:ln>
          </p:spPr>
          <p:style>
            <a:lnRef idx="1">
              <a:schemeClr val="accent4"/>
            </a:lnRef>
            <a:fillRef idx="0">
              <a:schemeClr val="accent4"/>
            </a:fillRef>
            <a:effectRef idx="0">
              <a:schemeClr val="accent4"/>
            </a:effectRef>
            <a:fontRef idx="minor">
              <a:schemeClr val="tx1"/>
            </a:fontRef>
          </p:style>
        </p:cxnSp>
        <p:sp>
          <p:nvSpPr>
            <p:cNvPr id="139" name="Rectangle 138"/>
            <p:cNvSpPr/>
            <p:nvPr/>
          </p:nvSpPr>
          <p:spPr>
            <a:xfrm>
              <a:off x="3242585" y="3207892"/>
              <a:ext cx="1641309" cy="461665"/>
            </a:xfrm>
            <a:prstGeom prst="rect">
              <a:avLst/>
            </a:prstGeom>
          </p:spPr>
          <p:txBody>
            <a:bodyPr wrap="square">
              <a:spAutoFit/>
            </a:bodyPr>
            <a:lstStyle/>
            <a:p>
              <a:pPr algn="ctr" defTabSz="1086775"/>
              <a:r>
                <a:rPr lang="en-US" sz="1200">
                  <a:solidFill>
                    <a:srgbClr val="3D4647"/>
                  </a:solidFill>
                </a:rPr>
                <a:t>ThingWorx connection Server</a:t>
              </a:r>
            </a:p>
          </p:txBody>
        </p:sp>
        <p:cxnSp>
          <p:nvCxnSpPr>
            <p:cNvPr id="150" name="Straight Arrow Connector 149"/>
            <p:cNvCxnSpPr>
              <a:endCxn id="84" idx="1"/>
            </p:cNvCxnSpPr>
            <p:nvPr/>
          </p:nvCxnSpPr>
          <p:spPr>
            <a:xfrm>
              <a:off x="9336349" y="1383685"/>
              <a:ext cx="1691366" cy="9182"/>
            </a:xfrm>
            <a:prstGeom prst="straightConnector1">
              <a:avLst/>
            </a:prstGeom>
            <a:ln>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40" name="Elbow Connector 139"/>
            <p:cNvCxnSpPr/>
            <p:nvPr/>
          </p:nvCxnSpPr>
          <p:spPr>
            <a:xfrm flipV="1">
              <a:off x="1370135" y="2887576"/>
              <a:ext cx="2470440" cy="1236081"/>
            </a:xfrm>
            <a:prstGeom prst="bentConnector3">
              <a:avLst>
                <a:gd name="adj1" fmla="val 71873"/>
              </a:avLst>
            </a:prstGeom>
            <a:ln>
              <a:headEnd type="triangle"/>
              <a:tailEnd type="triangle"/>
            </a:ln>
          </p:spPr>
          <p:style>
            <a:lnRef idx="1">
              <a:schemeClr val="accent4"/>
            </a:lnRef>
            <a:fillRef idx="0">
              <a:schemeClr val="accent4"/>
            </a:fillRef>
            <a:effectRef idx="0">
              <a:schemeClr val="accent4"/>
            </a:effectRef>
            <a:fontRef idx="minor">
              <a:schemeClr val="tx1"/>
            </a:fontRef>
          </p:style>
        </p:cxnSp>
        <p:sp>
          <p:nvSpPr>
            <p:cNvPr id="155" name="TextBox 154"/>
            <p:cNvSpPr txBox="1"/>
            <p:nvPr/>
          </p:nvSpPr>
          <p:spPr>
            <a:xfrm>
              <a:off x="1584723" y="3586593"/>
              <a:ext cx="1227712" cy="612934"/>
            </a:xfrm>
            <a:prstGeom prst="roundRect">
              <a:avLst/>
            </a:prstGeom>
          </p:spPr>
          <p:style>
            <a:lnRef idx="3">
              <a:schemeClr val="lt1"/>
            </a:lnRef>
            <a:fillRef idx="1">
              <a:schemeClr val="accent3"/>
            </a:fillRef>
            <a:effectRef idx="1">
              <a:schemeClr val="accent3"/>
            </a:effectRef>
            <a:fontRef idx="minor">
              <a:schemeClr val="lt1"/>
            </a:fontRef>
          </p:style>
          <p:txBody>
            <a:bodyPr wrap="square" lIns="0" tIns="0" rIns="0" bIns="0" rtlCol="0">
              <a:spAutoFit/>
            </a:bodyPr>
            <a:lstStyle/>
            <a:p>
              <a:pPr algn="ctr" defTabSz="1086775"/>
              <a:r>
                <a:rPr lang="en-US" sz="1200">
                  <a:solidFill>
                    <a:srgbClr val="FFFFFF"/>
                  </a:solidFill>
                </a:rPr>
                <a:t>ThingWorx</a:t>
              </a:r>
            </a:p>
            <a:p>
              <a:pPr algn="ctr" defTabSz="1086775"/>
              <a:r>
                <a:rPr lang="en-US" sz="1200">
                  <a:solidFill>
                    <a:srgbClr val="FFFFFF"/>
                  </a:solidFill>
                </a:rPr>
                <a:t>Industrial </a:t>
              </a:r>
            </a:p>
            <a:p>
              <a:pPr algn="ctr" defTabSz="1086775"/>
              <a:r>
                <a:rPr lang="en-US" sz="1200">
                  <a:solidFill>
                    <a:srgbClr val="FFFFFF"/>
                  </a:solidFill>
                </a:rPr>
                <a:t>Connectivity</a:t>
              </a:r>
            </a:p>
          </p:txBody>
        </p:sp>
        <p:pic>
          <p:nvPicPr>
            <p:cNvPr id="156" name="Picture 155"/>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018569" y="3820172"/>
              <a:ext cx="148062" cy="192221"/>
            </a:xfrm>
            <a:prstGeom prst="rect">
              <a:avLst/>
            </a:prstGeom>
          </p:spPr>
        </p:pic>
        <p:cxnSp>
          <p:nvCxnSpPr>
            <p:cNvPr id="157" name="Elbow Connector 156"/>
            <p:cNvCxnSpPr/>
            <p:nvPr/>
          </p:nvCxnSpPr>
          <p:spPr>
            <a:xfrm flipV="1">
              <a:off x="1390593" y="3020502"/>
              <a:ext cx="2486636" cy="1335012"/>
            </a:xfrm>
            <a:prstGeom prst="bentConnector3">
              <a:avLst>
                <a:gd name="adj1" fmla="val 75238"/>
              </a:avLst>
            </a:prstGeom>
            <a:ln>
              <a:headEnd type="triangle"/>
              <a:tailEnd type="triangle"/>
            </a:ln>
          </p:spPr>
          <p:style>
            <a:lnRef idx="1">
              <a:schemeClr val="accent4"/>
            </a:lnRef>
            <a:fillRef idx="0">
              <a:schemeClr val="accent4"/>
            </a:fillRef>
            <a:effectRef idx="0">
              <a:schemeClr val="accent4"/>
            </a:effectRef>
            <a:fontRef idx="minor">
              <a:schemeClr val="tx1"/>
            </a:fontRef>
          </p:style>
        </p:cxnSp>
        <p:pic>
          <p:nvPicPr>
            <p:cNvPr id="159" name="Picture 158"/>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039041" y="4313353"/>
              <a:ext cx="148062" cy="192221"/>
            </a:xfrm>
            <a:prstGeom prst="rect">
              <a:avLst/>
            </a:prstGeom>
          </p:spPr>
        </p:pic>
        <p:sp>
          <p:nvSpPr>
            <p:cNvPr id="2" name="TextBox 1"/>
            <p:cNvSpPr txBox="1"/>
            <p:nvPr/>
          </p:nvSpPr>
          <p:spPr>
            <a:xfrm>
              <a:off x="9554355" y="4814313"/>
              <a:ext cx="907434" cy="408623"/>
            </a:xfrm>
            <a:prstGeom prst="roundRect">
              <a:avLst/>
            </a:prstGeom>
            <a:ln>
              <a:solidFill>
                <a:schemeClr val="bg1">
                  <a:lumMod val="85000"/>
                </a:schemeClr>
              </a:solidFill>
            </a:ln>
          </p:spPr>
          <p:style>
            <a:lnRef idx="2">
              <a:schemeClr val="dk1"/>
            </a:lnRef>
            <a:fillRef idx="1">
              <a:schemeClr val="lt1"/>
            </a:fillRef>
            <a:effectRef idx="0">
              <a:schemeClr val="dk1"/>
            </a:effectRef>
            <a:fontRef idx="minor">
              <a:schemeClr val="dk1"/>
            </a:fontRef>
          </p:style>
          <p:txBody>
            <a:bodyPr wrap="none" lIns="0" tIns="0" rIns="0" bIns="0" rtlCol="0">
              <a:spAutoFit/>
            </a:bodyPr>
            <a:lstStyle/>
            <a:p>
              <a:pPr algn="ctr"/>
              <a:r>
                <a:rPr lang="en-US" sz="1200"/>
                <a:t>Integration </a:t>
              </a:r>
            </a:p>
            <a:p>
              <a:pPr algn="ctr"/>
              <a:r>
                <a:rPr lang="en-US" sz="1200"/>
                <a:t>Connectors</a:t>
              </a:r>
            </a:p>
          </p:txBody>
        </p:sp>
        <p:cxnSp>
          <p:nvCxnSpPr>
            <p:cNvPr id="130" name="Straight Arrow Connector 129"/>
            <p:cNvCxnSpPr>
              <a:cxnSpLocks/>
              <a:stCxn id="153" idx="3"/>
              <a:endCxn id="2" idx="1"/>
            </p:cNvCxnSpPr>
            <p:nvPr/>
          </p:nvCxnSpPr>
          <p:spPr>
            <a:xfrm flipV="1">
              <a:off x="9024104" y="5018625"/>
              <a:ext cx="530251" cy="268496"/>
            </a:xfrm>
            <a:prstGeom prst="straightConnector1">
              <a:avLst/>
            </a:prstGeom>
            <a:ln>
              <a:solidFill>
                <a:schemeClr val="bg2">
                  <a:lumMod val="75000"/>
                </a:schemeClr>
              </a:solidFill>
              <a:headEnd type="triangle"/>
              <a:tailEnd type="triangle"/>
            </a:ln>
          </p:spPr>
          <p:style>
            <a:lnRef idx="1">
              <a:schemeClr val="accent4"/>
            </a:lnRef>
            <a:fillRef idx="0">
              <a:schemeClr val="accent4"/>
            </a:fillRef>
            <a:effectRef idx="0">
              <a:schemeClr val="accent4"/>
            </a:effectRef>
            <a:fontRef idx="minor">
              <a:schemeClr val="tx1"/>
            </a:fontRef>
          </p:style>
        </p:cxnSp>
      </p:grpSp>
      <p:sp>
        <p:nvSpPr>
          <p:cNvPr id="14" name="Title 13"/>
          <p:cNvSpPr>
            <a:spLocks noGrp="1"/>
          </p:cNvSpPr>
          <p:nvPr>
            <p:ph type="title"/>
          </p:nvPr>
        </p:nvSpPr>
        <p:spPr/>
        <p:txBody>
          <a:bodyPr/>
          <a:lstStyle/>
          <a:p>
            <a:r>
              <a:rPr lang="en-US"/>
              <a:t>ThingWorx architecture</a:t>
            </a:r>
          </a:p>
        </p:txBody>
      </p:sp>
      <p:pic>
        <p:nvPicPr>
          <p:cNvPr id="4" name="Picture 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641671" y="1341919"/>
            <a:ext cx="2866644" cy="274320"/>
          </a:xfrm>
          <a:prstGeom prst="rect">
            <a:avLst/>
          </a:prstGeom>
        </p:spPr>
      </p:pic>
      <p:sp>
        <p:nvSpPr>
          <p:cNvPr id="129" name="TextBox 128">
            <a:extLst>
              <a:ext uri="{FF2B5EF4-FFF2-40B4-BE49-F238E27FC236}">
                <a16:creationId xmlns:a16="http://schemas.microsoft.com/office/drawing/2014/main" id="{79646944-09C8-45D5-8A92-8BA8FFB30494}"/>
              </a:ext>
            </a:extLst>
          </p:cNvPr>
          <p:cNvSpPr txBox="1"/>
          <p:nvPr/>
        </p:nvSpPr>
        <p:spPr>
          <a:xfrm>
            <a:off x="6417051" y="4897725"/>
            <a:ext cx="1227712" cy="408623"/>
          </a:xfrm>
          <a:prstGeom prst="roundRect">
            <a:avLst/>
          </a:prstGeom>
          <a:solidFill>
            <a:schemeClr val="accent2"/>
          </a:solidFill>
        </p:spPr>
        <p:style>
          <a:lnRef idx="3">
            <a:schemeClr val="lt1"/>
          </a:lnRef>
          <a:fillRef idx="1">
            <a:schemeClr val="accent4"/>
          </a:fillRef>
          <a:effectRef idx="1">
            <a:schemeClr val="accent4"/>
          </a:effectRef>
          <a:fontRef idx="minor">
            <a:schemeClr val="lt1"/>
          </a:fontRef>
        </p:style>
        <p:txBody>
          <a:bodyPr wrap="square" lIns="0" tIns="0" rIns="0" bIns="0" rtlCol="0">
            <a:spAutoFit/>
          </a:bodyPr>
          <a:lstStyle/>
          <a:p>
            <a:pPr algn="ctr" defTabSz="1086775"/>
            <a:r>
              <a:rPr lang="en-US" sz="1200">
                <a:solidFill>
                  <a:srgbClr val="FFFFFF"/>
                </a:solidFill>
              </a:rPr>
              <a:t>ThingWorx   Flow</a:t>
            </a:r>
          </a:p>
        </p:txBody>
      </p:sp>
      <p:cxnSp>
        <p:nvCxnSpPr>
          <p:cNvPr id="131" name="Elbow Connector 136">
            <a:extLst>
              <a:ext uri="{FF2B5EF4-FFF2-40B4-BE49-F238E27FC236}">
                <a16:creationId xmlns:a16="http://schemas.microsoft.com/office/drawing/2014/main" id="{74942AFF-03E4-4B47-BAEE-AE84965740CA}"/>
              </a:ext>
            </a:extLst>
          </p:cNvPr>
          <p:cNvCxnSpPr>
            <a:cxnSpLocks/>
            <a:endCxn id="129" idx="2"/>
          </p:cNvCxnSpPr>
          <p:nvPr/>
        </p:nvCxnSpPr>
        <p:spPr>
          <a:xfrm rot="10800000">
            <a:off x="7030907" y="5306349"/>
            <a:ext cx="2661818" cy="641859"/>
          </a:xfrm>
          <a:prstGeom prst="bentConnector2">
            <a:avLst/>
          </a:prstGeom>
          <a:ln>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44" name="Straight Arrow Connector 143">
            <a:extLst>
              <a:ext uri="{FF2B5EF4-FFF2-40B4-BE49-F238E27FC236}">
                <a16:creationId xmlns:a16="http://schemas.microsoft.com/office/drawing/2014/main" id="{19ED78C8-398F-4066-BD16-5FF8EEDB1280}"/>
              </a:ext>
            </a:extLst>
          </p:cNvPr>
          <p:cNvCxnSpPr>
            <a:cxnSpLocks/>
          </p:cNvCxnSpPr>
          <p:nvPr/>
        </p:nvCxnSpPr>
        <p:spPr>
          <a:xfrm flipH="1" flipV="1">
            <a:off x="7026580" y="4690549"/>
            <a:ext cx="589" cy="225702"/>
          </a:xfrm>
          <a:prstGeom prst="straightConnector1">
            <a:avLst/>
          </a:prstGeom>
          <a:ln>
            <a:solidFill>
              <a:schemeClr val="bg2">
                <a:lumMod val="75000"/>
              </a:schemeClr>
            </a:solidFill>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45" name="Straight Arrow Connector 144">
            <a:extLst>
              <a:ext uri="{FF2B5EF4-FFF2-40B4-BE49-F238E27FC236}">
                <a16:creationId xmlns:a16="http://schemas.microsoft.com/office/drawing/2014/main" id="{B3A6C8CF-8530-4499-8568-645A7729D6C3}"/>
              </a:ext>
            </a:extLst>
          </p:cNvPr>
          <p:cNvCxnSpPr>
            <a:cxnSpLocks/>
          </p:cNvCxnSpPr>
          <p:nvPr/>
        </p:nvCxnSpPr>
        <p:spPr>
          <a:xfrm flipV="1">
            <a:off x="5814259" y="4335939"/>
            <a:ext cx="0" cy="354610"/>
          </a:xfrm>
          <a:prstGeom prst="straightConnector1">
            <a:avLst/>
          </a:prstGeom>
          <a:ln w="1905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7A937D0-A2E1-4528-923A-E7DC9E836409}"/>
              </a:ext>
            </a:extLst>
          </p:cNvPr>
          <p:cNvCxnSpPr>
            <a:cxnSpLocks/>
          </p:cNvCxnSpPr>
          <p:nvPr/>
        </p:nvCxnSpPr>
        <p:spPr>
          <a:xfrm>
            <a:off x="5786296" y="4690549"/>
            <a:ext cx="2601152" cy="0"/>
          </a:xfrm>
          <a:prstGeom prst="line">
            <a:avLst/>
          </a:prstGeom>
          <a:ln w="19050">
            <a:solidFill>
              <a:schemeClr val="bg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8D3E6D68-8D24-4E81-8872-97B0D95EFA82}"/>
              </a:ext>
            </a:extLst>
          </p:cNvPr>
          <p:cNvSpPr txBox="1"/>
          <p:nvPr/>
        </p:nvSpPr>
        <p:spPr>
          <a:xfrm>
            <a:off x="851579" y="1027828"/>
            <a:ext cx="595243" cy="204311"/>
          </a:xfrm>
          <a:prstGeom prst="round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wrap="square" lIns="91440" tIns="0" rIns="0" bIns="0" rtlCol="0" anchor="t">
            <a:spAutoFit/>
          </a:bodyPr>
          <a:lstStyle/>
          <a:p>
            <a:pPr defTabSz="1086775"/>
            <a:r>
              <a:rPr lang="en-US" sz="1200" dirty="0">
                <a:solidFill>
                  <a:srgbClr val="3D4647"/>
                </a:solidFill>
              </a:rPr>
              <a:t>Azure</a:t>
            </a:r>
            <a:endParaRPr lang="en-US"/>
          </a:p>
        </p:txBody>
      </p:sp>
      <p:cxnSp>
        <p:nvCxnSpPr>
          <p:cNvPr id="63" name="Connector: Elbow 62">
            <a:extLst>
              <a:ext uri="{FF2B5EF4-FFF2-40B4-BE49-F238E27FC236}">
                <a16:creationId xmlns:a16="http://schemas.microsoft.com/office/drawing/2014/main" id="{8BDCFDCC-74BE-42E7-A896-78A7813E0F93}"/>
              </a:ext>
            </a:extLst>
          </p:cNvPr>
          <p:cNvCxnSpPr>
            <a:endCxn id="153" idx="1"/>
          </p:cNvCxnSpPr>
          <p:nvPr/>
        </p:nvCxnSpPr>
        <p:spPr>
          <a:xfrm>
            <a:off x="7399564" y="5342177"/>
            <a:ext cx="422715" cy="196497"/>
          </a:xfrm>
          <a:prstGeom prst="bentConnector3">
            <a:avLst>
              <a:gd name="adj1" fmla="val 1072"/>
            </a:avLst>
          </a:prstGeom>
          <a:ln>
            <a:headEnd type="triangl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62560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a:t>ThingWorx flow – Deployment configurations</a:t>
            </a:r>
          </a:p>
        </p:txBody>
      </p:sp>
      <p:sp>
        <p:nvSpPr>
          <p:cNvPr id="78" name="TextBox 77">
            <a:extLst>
              <a:ext uri="{FF2B5EF4-FFF2-40B4-BE49-F238E27FC236}">
                <a16:creationId xmlns:a16="http://schemas.microsoft.com/office/drawing/2014/main" id="{9BA816EC-5CD5-4552-A888-F8A3B6C2FE0A}"/>
              </a:ext>
            </a:extLst>
          </p:cNvPr>
          <p:cNvSpPr txBox="1"/>
          <p:nvPr/>
        </p:nvSpPr>
        <p:spPr>
          <a:xfrm>
            <a:off x="3637808" y="1159163"/>
            <a:ext cx="442429" cy="184666"/>
          </a:xfrm>
          <a:prstGeom prst="rect">
            <a:avLst/>
          </a:prstGeom>
          <a:noFill/>
        </p:spPr>
        <p:txBody>
          <a:bodyPr wrap="none" lIns="0" tIns="0" rIns="0" bIns="0" rtlCol="0" anchor="t">
            <a:spAutoFit/>
          </a:bodyPr>
          <a:lstStyle/>
          <a:p>
            <a:pPr algn="ctr" defTabSz="914400">
              <a:defRPr/>
            </a:pPr>
            <a:r>
              <a:rPr kumimoji="0" lang="en-US" sz="1200" b="1" i="0" u="none" strike="noStrike" kern="0" cap="none" spc="0" normalizeH="0" baseline="0" noProof="0">
                <a:ln>
                  <a:noFill/>
                </a:ln>
                <a:effectLst/>
                <a:uLnTx/>
                <a:uFillTx/>
              </a:rPr>
              <a:t>User</a:t>
            </a:r>
            <a:r>
              <a:rPr lang="en-US" sz="1200" b="1" kern="0"/>
              <a:t> 1</a:t>
            </a:r>
            <a:endParaRPr lang="en-US"/>
          </a:p>
        </p:txBody>
      </p:sp>
      <p:pic>
        <p:nvPicPr>
          <p:cNvPr id="80" name="Picture 79">
            <a:extLst>
              <a:ext uri="{FF2B5EF4-FFF2-40B4-BE49-F238E27FC236}">
                <a16:creationId xmlns:a16="http://schemas.microsoft.com/office/drawing/2014/main" id="{563EC697-805A-481D-B29E-2D6A8B2A5CF3}"/>
              </a:ext>
            </a:extLst>
          </p:cNvPr>
          <p:cNvPicPr>
            <a:picLocks noChangeAspect="1"/>
          </p:cNvPicPr>
          <p:nvPr/>
        </p:nvPicPr>
        <p:blipFill rotWithShape="1">
          <a:blip r:embed="rId2"/>
          <a:srcRect l="13351" t="18026" r="16079" b="31113"/>
          <a:stretch/>
        </p:blipFill>
        <p:spPr>
          <a:xfrm>
            <a:off x="430646" y="1981256"/>
            <a:ext cx="788868" cy="568554"/>
          </a:xfrm>
          <a:prstGeom prst="rect">
            <a:avLst/>
          </a:prstGeom>
        </p:spPr>
      </p:pic>
      <p:cxnSp>
        <p:nvCxnSpPr>
          <p:cNvPr id="81" name="Straight Connector 80">
            <a:extLst>
              <a:ext uri="{FF2B5EF4-FFF2-40B4-BE49-F238E27FC236}">
                <a16:creationId xmlns:a16="http://schemas.microsoft.com/office/drawing/2014/main" id="{2875EDE6-7848-4EB1-BCCE-5C8560CF813B}"/>
              </a:ext>
            </a:extLst>
          </p:cNvPr>
          <p:cNvCxnSpPr>
            <a:cxnSpLocks/>
            <a:stCxn id="96" idx="1"/>
          </p:cNvCxnSpPr>
          <p:nvPr/>
        </p:nvCxnSpPr>
        <p:spPr>
          <a:xfrm flipH="1">
            <a:off x="2127223" y="2676312"/>
            <a:ext cx="360487" cy="0"/>
          </a:xfrm>
          <a:prstGeom prst="line">
            <a:avLst/>
          </a:prstGeom>
          <a:noFill/>
          <a:ln w="19050" cap="flat" cmpd="sng" algn="ctr">
            <a:solidFill>
              <a:srgbClr val="00ACC8"/>
            </a:solidFill>
            <a:prstDash val="solid"/>
            <a:headEnd type="oval" w="med" len="med"/>
            <a:tailEnd type="oval" w="med" len="med"/>
          </a:ln>
          <a:effectLst/>
        </p:spPr>
      </p:cxnSp>
      <p:pic>
        <p:nvPicPr>
          <p:cNvPr id="82" name="Picture 81">
            <a:extLst>
              <a:ext uri="{FF2B5EF4-FFF2-40B4-BE49-F238E27FC236}">
                <a16:creationId xmlns:a16="http://schemas.microsoft.com/office/drawing/2014/main" id="{358E8D92-D475-4965-A424-00607DEFFB8D}"/>
              </a:ext>
            </a:extLst>
          </p:cNvPr>
          <p:cNvPicPr>
            <a:picLocks noChangeAspect="1"/>
          </p:cNvPicPr>
          <p:nvPr/>
        </p:nvPicPr>
        <p:blipFill>
          <a:blip r:embed="rId3"/>
          <a:stretch>
            <a:fillRect/>
          </a:stretch>
        </p:blipFill>
        <p:spPr>
          <a:xfrm>
            <a:off x="494362" y="3512901"/>
            <a:ext cx="428065" cy="428065"/>
          </a:xfrm>
          <a:prstGeom prst="rect">
            <a:avLst/>
          </a:prstGeom>
        </p:spPr>
      </p:pic>
      <p:pic>
        <p:nvPicPr>
          <p:cNvPr id="86" name="Picture 85">
            <a:extLst>
              <a:ext uri="{FF2B5EF4-FFF2-40B4-BE49-F238E27FC236}">
                <a16:creationId xmlns:a16="http://schemas.microsoft.com/office/drawing/2014/main" id="{28579BC6-258E-448C-AE8A-8F088D68B8BE}"/>
              </a:ext>
            </a:extLst>
          </p:cNvPr>
          <p:cNvPicPr>
            <a:picLocks noChangeAspect="1"/>
          </p:cNvPicPr>
          <p:nvPr/>
        </p:nvPicPr>
        <p:blipFill>
          <a:blip r:embed="rId4"/>
          <a:stretch>
            <a:fillRect/>
          </a:stretch>
        </p:blipFill>
        <p:spPr>
          <a:xfrm>
            <a:off x="1298426" y="2034071"/>
            <a:ext cx="721550" cy="503407"/>
          </a:xfrm>
          <a:prstGeom prst="rect">
            <a:avLst/>
          </a:prstGeom>
        </p:spPr>
      </p:pic>
      <p:sp>
        <p:nvSpPr>
          <p:cNvPr id="87" name="TextBox 86">
            <a:extLst>
              <a:ext uri="{FF2B5EF4-FFF2-40B4-BE49-F238E27FC236}">
                <a16:creationId xmlns:a16="http://schemas.microsoft.com/office/drawing/2014/main" id="{210A475A-0ADB-423C-AA45-EF9CD085274E}"/>
              </a:ext>
            </a:extLst>
          </p:cNvPr>
          <p:cNvSpPr txBox="1"/>
          <p:nvPr/>
        </p:nvSpPr>
        <p:spPr>
          <a:xfrm>
            <a:off x="4393088" y="1511562"/>
            <a:ext cx="1646285" cy="246221"/>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ACC8"/>
                </a:solidFill>
                <a:effectLst/>
                <a:uLnTx/>
                <a:uFillTx/>
              </a:rPr>
              <a:t>PTC Azure Cloud</a:t>
            </a:r>
          </a:p>
        </p:txBody>
      </p:sp>
      <p:sp>
        <p:nvSpPr>
          <p:cNvPr id="96" name="Rounded Rectangle 104">
            <a:extLst>
              <a:ext uri="{FF2B5EF4-FFF2-40B4-BE49-F238E27FC236}">
                <a16:creationId xmlns:a16="http://schemas.microsoft.com/office/drawing/2014/main" id="{F05F643A-B56C-4484-ACCB-334C81BBA110}"/>
              </a:ext>
            </a:extLst>
          </p:cNvPr>
          <p:cNvSpPr/>
          <p:nvPr/>
        </p:nvSpPr>
        <p:spPr>
          <a:xfrm>
            <a:off x="2487710" y="1490507"/>
            <a:ext cx="5313486" cy="2371609"/>
          </a:xfrm>
          <a:prstGeom prst="roundRect">
            <a:avLst>
              <a:gd name="adj" fmla="val 7567"/>
            </a:avLst>
          </a:prstGeom>
          <a:noFill/>
          <a:ln w="25400" cap="flat" cmpd="sng" algn="ctr">
            <a:solidFill>
              <a:srgbClr val="00ACC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97" name="Rounded Rectangle 105">
            <a:extLst>
              <a:ext uri="{FF2B5EF4-FFF2-40B4-BE49-F238E27FC236}">
                <a16:creationId xmlns:a16="http://schemas.microsoft.com/office/drawing/2014/main" id="{AADD27C5-F197-4A95-A427-C93454B3D8C5}"/>
              </a:ext>
            </a:extLst>
          </p:cNvPr>
          <p:cNvSpPr/>
          <p:nvPr/>
        </p:nvSpPr>
        <p:spPr>
          <a:xfrm>
            <a:off x="174894" y="1498932"/>
            <a:ext cx="1941007" cy="2712514"/>
          </a:xfrm>
          <a:prstGeom prst="roundRect">
            <a:avLst>
              <a:gd name="adj" fmla="val 10386"/>
            </a:avLst>
          </a:prstGeom>
          <a:noFill/>
          <a:ln w="25400" cap="flat" cmpd="sng" algn="ctr">
            <a:solidFill>
              <a:srgbClr val="00ACC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98" name="TextBox 97">
            <a:extLst>
              <a:ext uri="{FF2B5EF4-FFF2-40B4-BE49-F238E27FC236}">
                <a16:creationId xmlns:a16="http://schemas.microsoft.com/office/drawing/2014/main" id="{16CEE9C6-BA36-4E7D-9307-9AF1D8FF9C7B}"/>
              </a:ext>
            </a:extLst>
          </p:cNvPr>
          <p:cNvSpPr txBox="1"/>
          <p:nvPr/>
        </p:nvSpPr>
        <p:spPr>
          <a:xfrm>
            <a:off x="592269" y="1570648"/>
            <a:ext cx="1102866" cy="215444"/>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ACC8"/>
                </a:solidFill>
                <a:effectLst/>
                <a:uLnTx/>
                <a:uFillTx/>
              </a:rPr>
              <a:t>Public Cloud</a:t>
            </a:r>
          </a:p>
        </p:txBody>
      </p:sp>
      <p:pic>
        <p:nvPicPr>
          <p:cNvPr id="99" name="Picture 98">
            <a:extLst>
              <a:ext uri="{FF2B5EF4-FFF2-40B4-BE49-F238E27FC236}">
                <a16:creationId xmlns:a16="http://schemas.microsoft.com/office/drawing/2014/main" id="{21368053-9A01-45C3-9D80-FD9BAB858BE0}"/>
              </a:ext>
            </a:extLst>
          </p:cNvPr>
          <p:cNvPicPr>
            <a:picLocks noChangeAspect="1"/>
          </p:cNvPicPr>
          <p:nvPr/>
        </p:nvPicPr>
        <p:blipFill>
          <a:blip r:embed="rId5"/>
          <a:stretch>
            <a:fillRect/>
          </a:stretch>
        </p:blipFill>
        <p:spPr>
          <a:xfrm>
            <a:off x="1391388" y="3510504"/>
            <a:ext cx="418272" cy="418272"/>
          </a:xfrm>
          <a:prstGeom prst="rect">
            <a:avLst/>
          </a:prstGeom>
        </p:spPr>
      </p:pic>
      <p:sp>
        <p:nvSpPr>
          <p:cNvPr id="119" name="TextBox 118">
            <a:extLst>
              <a:ext uri="{FF2B5EF4-FFF2-40B4-BE49-F238E27FC236}">
                <a16:creationId xmlns:a16="http://schemas.microsoft.com/office/drawing/2014/main" id="{19778486-A082-442A-9CEA-D6881C32ADA9}"/>
              </a:ext>
            </a:extLst>
          </p:cNvPr>
          <p:cNvSpPr txBox="1"/>
          <p:nvPr/>
        </p:nvSpPr>
        <p:spPr>
          <a:xfrm>
            <a:off x="6220921" y="1180272"/>
            <a:ext cx="442429" cy="184666"/>
          </a:xfrm>
          <a:prstGeom prst="rect">
            <a:avLst/>
          </a:prstGeom>
          <a:noFill/>
        </p:spPr>
        <p:txBody>
          <a:bodyPr wrap="none" lIns="0" tIns="0" rIns="0" bIns="0" rtlCol="0" anchor="t">
            <a:spAutoFit/>
          </a:bodyPr>
          <a:lstStyle/>
          <a:p>
            <a:pPr algn="ctr" defTabSz="914400">
              <a:defRPr/>
            </a:pPr>
            <a:r>
              <a:rPr lang="en-US" sz="1200" b="1" kern="0"/>
              <a:t>User 2</a:t>
            </a:r>
            <a:endParaRPr kumimoji="0" lang="en-US" sz="1200" b="1" i="0" u="none" strike="noStrike" kern="0" cap="none" spc="0" normalizeH="0" baseline="0" noProof="0">
              <a:ln>
                <a:noFill/>
              </a:ln>
              <a:solidFill>
                <a:sysClr val="windowText" lastClr="000000"/>
              </a:solidFill>
              <a:effectLst/>
              <a:uLnTx/>
              <a:uFillTx/>
            </a:endParaRPr>
          </a:p>
        </p:txBody>
      </p:sp>
      <p:sp>
        <p:nvSpPr>
          <p:cNvPr id="120" name="Rectangle 119">
            <a:extLst>
              <a:ext uri="{FF2B5EF4-FFF2-40B4-BE49-F238E27FC236}">
                <a16:creationId xmlns:a16="http://schemas.microsoft.com/office/drawing/2014/main" id="{406D0A5A-82DA-4A2C-85B6-486CDA570CF0}"/>
              </a:ext>
            </a:extLst>
          </p:cNvPr>
          <p:cNvSpPr/>
          <p:nvPr/>
        </p:nvSpPr>
        <p:spPr>
          <a:xfrm>
            <a:off x="3279326" y="4905088"/>
            <a:ext cx="1197864" cy="497545"/>
          </a:xfrm>
          <a:prstGeom prst="rect">
            <a:avLst/>
          </a:prstGeom>
          <a:solidFill>
            <a:srgbClr val="6CC04A">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Century Gothic" panose="020F0302020204030204"/>
                <a:ea typeface="+mn-ea"/>
                <a:cs typeface="+mn-cs"/>
              </a:rPr>
              <a:t>ThingWorx Federation Server</a:t>
            </a:r>
          </a:p>
        </p:txBody>
      </p:sp>
      <p:sp>
        <p:nvSpPr>
          <p:cNvPr id="122" name="TextBox 121">
            <a:extLst>
              <a:ext uri="{FF2B5EF4-FFF2-40B4-BE49-F238E27FC236}">
                <a16:creationId xmlns:a16="http://schemas.microsoft.com/office/drawing/2014/main" id="{B9850029-3D14-4EC8-93DF-C70EEDE77338}"/>
              </a:ext>
            </a:extLst>
          </p:cNvPr>
          <p:cNvSpPr txBox="1"/>
          <p:nvPr/>
        </p:nvSpPr>
        <p:spPr>
          <a:xfrm rot="16200000">
            <a:off x="3507831" y="4279188"/>
            <a:ext cx="731571" cy="33855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0000"/>
                </a:solidFill>
                <a:effectLst/>
                <a:uLnTx/>
                <a:uFillTx/>
              </a:rPr>
              <a:t>Web Socket</a:t>
            </a:r>
          </a:p>
        </p:txBody>
      </p:sp>
      <p:pic>
        <p:nvPicPr>
          <p:cNvPr id="123" name="Picture 122">
            <a:extLst>
              <a:ext uri="{FF2B5EF4-FFF2-40B4-BE49-F238E27FC236}">
                <a16:creationId xmlns:a16="http://schemas.microsoft.com/office/drawing/2014/main" id="{E7655E75-7178-47C4-B44B-A9D4B59112D3}"/>
              </a:ext>
            </a:extLst>
          </p:cNvPr>
          <p:cNvPicPr>
            <a:picLocks noChangeAspect="1"/>
          </p:cNvPicPr>
          <p:nvPr/>
        </p:nvPicPr>
        <p:blipFill>
          <a:blip r:embed="rId6">
            <a:duotone>
              <a:srgbClr val="236192">
                <a:shade val="45000"/>
                <a:satMod val="135000"/>
              </a:srgbClr>
              <a:prstClr val="white"/>
            </a:duotone>
          </a:blip>
          <a:stretch>
            <a:fillRect/>
          </a:stretch>
        </p:blipFill>
        <p:spPr>
          <a:xfrm>
            <a:off x="6783036" y="5917871"/>
            <a:ext cx="678507" cy="344909"/>
          </a:xfrm>
          <a:prstGeom prst="rect">
            <a:avLst/>
          </a:prstGeom>
        </p:spPr>
      </p:pic>
      <p:pic>
        <p:nvPicPr>
          <p:cNvPr id="124" name="Picture 123">
            <a:extLst>
              <a:ext uri="{FF2B5EF4-FFF2-40B4-BE49-F238E27FC236}">
                <a16:creationId xmlns:a16="http://schemas.microsoft.com/office/drawing/2014/main" id="{86EFE042-E1DE-4E60-9ADF-021E69DA2632}"/>
              </a:ext>
            </a:extLst>
          </p:cNvPr>
          <p:cNvPicPr>
            <a:picLocks noChangeAspect="1"/>
          </p:cNvPicPr>
          <p:nvPr/>
        </p:nvPicPr>
        <p:blipFill>
          <a:blip r:embed="rId7"/>
          <a:stretch>
            <a:fillRect/>
          </a:stretch>
        </p:blipFill>
        <p:spPr>
          <a:xfrm>
            <a:off x="5180750" y="5900826"/>
            <a:ext cx="1435833" cy="357098"/>
          </a:xfrm>
          <a:prstGeom prst="rect">
            <a:avLst/>
          </a:prstGeom>
        </p:spPr>
      </p:pic>
      <p:sp>
        <p:nvSpPr>
          <p:cNvPr id="125" name="Rectangle 124">
            <a:extLst>
              <a:ext uri="{FF2B5EF4-FFF2-40B4-BE49-F238E27FC236}">
                <a16:creationId xmlns:a16="http://schemas.microsoft.com/office/drawing/2014/main" id="{E6CDB17B-48C2-4250-8F3C-F0B9A0676326}"/>
              </a:ext>
            </a:extLst>
          </p:cNvPr>
          <p:cNvSpPr/>
          <p:nvPr/>
        </p:nvSpPr>
        <p:spPr>
          <a:xfrm>
            <a:off x="5830192" y="4905088"/>
            <a:ext cx="1197864" cy="497545"/>
          </a:xfrm>
          <a:prstGeom prst="rect">
            <a:avLst/>
          </a:prstGeom>
          <a:solidFill>
            <a:srgbClr val="6CC04A">
              <a:lumMod val="50000"/>
            </a:srgbClr>
          </a:solidFill>
          <a:ln w="25400" cap="flat" cmpd="sng" algn="ctr">
            <a:noFill/>
            <a:prstDash val="solid"/>
          </a:ln>
          <a:effectLst/>
        </p:spPr>
        <p:txBody>
          <a:bodyPr rtlCol="0" anchor="ctr"/>
          <a:lstStyle/>
          <a:p>
            <a:pPr lvl="0" algn="ctr" defTabSz="914400">
              <a:defRPr/>
            </a:pPr>
            <a:r>
              <a:rPr lang="en-US" sz="1050" b="1" kern="0">
                <a:solidFill>
                  <a:srgbClr val="FFFFFF"/>
                </a:solidFill>
              </a:rPr>
              <a:t>ThingWorx Federation Server</a:t>
            </a:r>
          </a:p>
        </p:txBody>
      </p:sp>
      <p:cxnSp>
        <p:nvCxnSpPr>
          <p:cNvPr id="126" name="Straight Connector 125">
            <a:extLst>
              <a:ext uri="{FF2B5EF4-FFF2-40B4-BE49-F238E27FC236}">
                <a16:creationId xmlns:a16="http://schemas.microsoft.com/office/drawing/2014/main" id="{6151666B-C9D0-407F-A9AF-6AA60CBD97B8}"/>
              </a:ext>
            </a:extLst>
          </p:cNvPr>
          <p:cNvCxnSpPr>
            <a:stCxn id="124" idx="0"/>
            <a:endCxn id="125" idx="2"/>
          </p:cNvCxnSpPr>
          <p:nvPr/>
        </p:nvCxnSpPr>
        <p:spPr>
          <a:xfrm flipV="1">
            <a:off x="5898667" y="5402633"/>
            <a:ext cx="530457" cy="498193"/>
          </a:xfrm>
          <a:prstGeom prst="line">
            <a:avLst/>
          </a:prstGeom>
          <a:noFill/>
          <a:ln w="9525" cap="flat" cmpd="sng" algn="ctr">
            <a:solidFill>
              <a:srgbClr val="6CC04A">
                <a:lumMod val="50000"/>
              </a:srgbClr>
            </a:solidFill>
            <a:prstDash val="solid"/>
            <a:headEnd type="oval" w="med" len="med"/>
            <a:tailEnd type="oval" w="med" len="med"/>
          </a:ln>
          <a:effectLst/>
        </p:spPr>
      </p:cxnSp>
      <p:cxnSp>
        <p:nvCxnSpPr>
          <p:cNvPr id="127" name="Straight Connector 126">
            <a:extLst>
              <a:ext uri="{FF2B5EF4-FFF2-40B4-BE49-F238E27FC236}">
                <a16:creationId xmlns:a16="http://schemas.microsoft.com/office/drawing/2014/main" id="{DF52E178-4E82-4880-AE0E-701673ECB7D0}"/>
              </a:ext>
            </a:extLst>
          </p:cNvPr>
          <p:cNvCxnSpPr>
            <a:stCxn id="123" idx="0"/>
            <a:endCxn id="125" idx="2"/>
          </p:cNvCxnSpPr>
          <p:nvPr/>
        </p:nvCxnSpPr>
        <p:spPr>
          <a:xfrm flipH="1" flipV="1">
            <a:off x="6429124" y="5402633"/>
            <a:ext cx="693166" cy="515238"/>
          </a:xfrm>
          <a:prstGeom prst="line">
            <a:avLst/>
          </a:prstGeom>
          <a:noFill/>
          <a:ln w="9525" cap="flat" cmpd="sng" algn="ctr">
            <a:solidFill>
              <a:srgbClr val="6CC04A">
                <a:lumMod val="50000"/>
              </a:srgbClr>
            </a:solidFill>
            <a:prstDash val="solid"/>
            <a:headEnd type="oval" w="med" len="med"/>
            <a:tailEnd type="oval" w="med" len="med"/>
          </a:ln>
          <a:effectLst/>
        </p:spPr>
      </p:cxnSp>
      <p:sp>
        <p:nvSpPr>
          <p:cNvPr id="128" name="TextBox 127">
            <a:extLst>
              <a:ext uri="{FF2B5EF4-FFF2-40B4-BE49-F238E27FC236}">
                <a16:creationId xmlns:a16="http://schemas.microsoft.com/office/drawing/2014/main" id="{A32649C7-9EE2-473A-9D30-14CD32F7B23E}"/>
              </a:ext>
            </a:extLst>
          </p:cNvPr>
          <p:cNvSpPr txBox="1"/>
          <p:nvPr/>
        </p:nvSpPr>
        <p:spPr>
          <a:xfrm rot="16200000">
            <a:off x="6124721" y="4372086"/>
            <a:ext cx="592511" cy="33855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0000"/>
                </a:solidFill>
                <a:effectLst/>
                <a:uLnTx/>
                <a:uFillTx/>
              </a:rPr>
              <a:t>Web Socket</a:t>
            </a:r>
          </a:p>
        </p:txBody>
      </p:sp>
      <p:sp>
        <p:nvSpPr>
          <p:cNvPr id="129" name="Rectangle 128">
            <a:extLst>
              <a:ext uri="{FF2B5EF4-FFF2-40B4-BE49-F238E27FC236}">
                <a16:creationId xmlns:a16="http://schemas.microsoft.com/office/drawing/2014/main" id="{BE09B559-AE38-408B-AE32-1D42B747A6E1}"/>
              </a:ext>
            </a:extLst>
          </p:cNvPr>
          <p:cNvSpPr/>
          <p:nvPr/>
        </p:nvSpPr>
        <p:spPr>
          <a:xfrm>
            <a:off x="5219032" y="4008043"/>
            <a:ext cx="2299073" cy="245987"/>
          </a:xfrm>
          <a:prstGeom prst="rect">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rgbClr val="FFFFFF"/>
                </a:solidFill>
                <a:latin typeface="Century Gothic" panose="020F0302020204030204"/>
              </a:rPr>
              <a:t>On-prem</a:t>
            </a:r>
            <a:r>
              <a:rPr kumimoji="0" lang="en-US" sz="1400" b="0" i="0" u="none" strike="noStrike" kern="0" cap="none" spc="0" normalizeH="0" baseline="0" noProof="0">
                <a:ln>
                  <a:noFill/>
                </a:ln>
                <a:solidFill>
                  <a:srgbClr val="FFFFFF"/>
                </a:solidFill>
                <a:effectLst/>
                <a:uLnTx/>
                <a:uFillTx/>
                <a:latin typeface="Century Gothic" panose="020F0302020204030204"/>
                <a:ea typeface="+mn-ea"/>
                <a:cs typeface="+mn-cs"/>
              </a:rPr>
              <a:t> firewall</a:t>
            </a:r>
          </a:p>
        </p:txBody>
      </p:sp>
      <p:sp>
        <p:nvSpPr>
          <p:cNvPr id="130" name="Rectangle 129">
            <a:extLst>
              <a:ext uri="{FF2B5EF4-FFF2-40B4-BE49-F238E27FC236}">
                <a16:creationId xmlns:a16="http://schemas.microsoft.com/office/drawing/2014/main" id="{8FA93FB0-ED0D-4240-A09B-4CB4116D28B2}"/>
              </a:ext>
            </a:extLst>
          </p:cNvPr>
          <p:cNvSpPr/>
          <p:nvPr/>
        </p:nvSpPr>
        <p:spPr>
          <a:xfrm>
            <a:off x="3396078" y="2786290"/>
            <a:ext cx="987110" cy="327068"/>
          </a:xfrm>
          <a:prstGeom prst="rect">
            <a:avLst/>
          </a:prstGeom>
          <a:solidFill>
            <a:srgbClr val="6CC04A"/>
          </a:solidFill>
          <a:ln w="25400" cap="flat" cmpd="sng" algn="ctr">
            <a:noFill/>
            <a:prstDash val="solid"/>
          </a:ln>
          <a:effectLst/>
        </p:spPr>
        <p:txBody>
          <a:bodyPr rtlCol="0" anchor="ctr"/>
          <a:lstStyle/>
          <a:p>
            <a:pPr algn="ctr" defTabSz="914400">
              <a:defRPr/>
            </a:pPr>
            <a:r>
              <a:rPr lang="en-US" sz="1000" b="1" kern="0">
                <a:solidFill>
                  <a:srgbClr val="FFFFFF"/>
                </a:solidFill>
                <a:latin typeface="Century Gothic" panose="020F0302020204030204"/>
              </a:rPr>
              <a:t>User 1</a:t>
            </a:r>
            <a:r>
              <a:rPr kumimoji="0" lang="en-US" sz="1000" b="1" i="0" u="none" strike="noStrike" kern="0" cap="none" spc="0" normalizeH="0" baseline="0" noProof="0">
                <a:ln>
                  <a:noFill/>
                </a:ln>
                <a:solidFill>
                  <a:srgbClr val="FFFFFF"/>
                </a:solidFill>
                <a:effectLst/>
                <a:uLnTx/>
                <a:uFillTx/>
                <a:latin typeface="Century Gothic" panose="020F0302020204030204"/>
                <a:ea typeface="+mn-ea"/>
                <a:cs typeface="+mn-cs"/>
              </a:rPr>
              <a:t> Cloud flows</a:t>
            </a:r>
          </a:p>
        </p:txBody>
      </p:sp>
      <p:sp>
        <p:nvSpPr>
          <p:cNvPr id="131" name="Rectangle 130">
            <a:extLst>
              <a:ext uri="{FF2B5EF4-FFF2-40B4-BE49-F238E27FC236}">
                <a16:creationId xmlns:a16="http://schemas.microsoft.com/office/drawing/2014/main" id="{ADB950DC-37ED-4B00-B388-2570D29F9051}"/>
              </a:ext>
            </a:extLst>
          </p:cNvPr>
          <p:cNvSpPr/>
          <p:nvPr/>
        </p:nvSpPr>
        <p:spPr>
          <a:xfrm>
            <a:off x="5932782" y="2406050"/>
            <a:ext cx="987110" cy="327068"/>
          </a:xfrm>
          <a:prstGeom prst="rect">
            <a:avLst/>
          </a:prstGeom>
          <a:solidFill>
            <a:srgbClr val="6CC04A"/>
          </a:solidFill>
          <a:ln w="25400" cap="flat" cmpd="sng" algn="ctr">
            <a:noFill/>
            <a:prstDash val="solid"/>
          </a:ln>
          <a:effectLst/>
        </p:spPr>
        <p:txBody>
          <a:bodyPr rtlCol="0" anchor="ctr"/>
          <a:lstStyle/>
          <a:p>
            <a:pPr algn="ctr" defTabSz="914400">
              <a:defRPr/>
            </a:pPr>
            <a:r>
              <a:rPr lang="en-US" sz="1000" b="1" kern="0">
                <a:solidFill>
                  <a:srgbClr val="FFFFFF"/>
                </a:solidFill>
                <a:latin typeface="Century Gothic" panose="020F0302020204030204"/>
              </a:rPr>
              <a:t>User 2</a:t>
            </a:r>
            <a:r>
              <a:rPr kumimoji="0" lang="en-US" sz="1000" b="1" i="0" u="none" strike="noStrike" kern="0" cap="none" spc="0" normalizeH="0" baseline="0" noProof="0">
                <a:ln>
                  <a:noFill/>
                </a:ln>
                <a:solidFill>
                  <a:srgbClr val="FFFFFF"/>
                </a:solidFill>
                <a:effectLst/>
                <a:uLnTx/>
                <a:uFillTx/>
                <a:latin typeface="Century Gothic" panose="020F0302020204030204"/>
                <a:ea typeface="+mn-ea"/>
                <a:cs typeface="+mn-cs"/>
              </a:rPr>
              <a:t> Cloud flows</a:t>
            </a:r>
          </a:p>
        </p:txBody>
      </p:sp>
      <p:cxnSp>
        <p:nvCxnSpPr>
          <p:cNvPr id="137" name="Straight Connector 136">
            <a:extLst>
              <a:ext uri="{FF2B5EF4-FFF2-40B4-BE49-F238E27FC236}">
                <a16:creationId xmlns:a16="http://schemas.microsoft.com/office/drawing/2014/main" id="{929940DD-5FA0-49C4-BFB6-F737B2D7CA88}"/>
              </a:ext>
            </a:extLst>
          </p:cNvPr>
          <p:cNvCxnSpPr>
            <a:stCxn id="125" idx="0"/>
            <a:endCxn id="131" idx="2"/>
          </p:cNvCxnSpPr>
          <p:nvPr/>
        </p:nvCxnSpPr>
        <p:spPr>
          <a:xfrm flipH="1" flipV="1">
            <a:off x="6426337" y="2733118"/>
            <a:ext cx="2787" cy="2171970"/>
          </a:xfrm>
          <a:prstGeom prst="line">
            <a:avLst/>
          </a:prstGeom>
          <a:noFill/>
          <a:ln w="19050" cap="flat" cmpd="sng" algn="ctr">
            <a:solidFill>
              <a:srgbClr val="FF0000"/>
            </a:solidFill>
            <a:prstDash val="solid"/>
            <a:headEnd type="oval" w="med" len="med"/>
            <a:tailEnd type="oval" w="med" len="med"/>
          </a:ln>
          <a:effectLst/>
        </p:spPr>
      </p:cxnSp>
      <p:pic>
        <p:nvPicPr>
          <p:cNvPr id="138" name="Picture 137">
            <a:extLst>
              <a:ext uri="{FF2B5EF4-FFF2-40B4-BE49-F238E27FC236}">
                <a16:creationId xmlns:a16="http://schemas.microsoft.com/office/drawing/2014/main" id="{B2CAD7A7-72A4-4E5B-ACBC-5B478E97FBDB}"/>
              </a:ext>
            </a:extLst>
          </p:cNvPr>
          <p:cNvPicPr>
            <a:picLocks noChangeAspect="1"/>
          </p:cNvPicPr>
          <p:nvPr/>
        </p:nvPicPr>
        <p:blipFill>
          <a:blip r:embed="rId8"/>
          <a:stretch>
            <a:fillRect/>
          </a:stretch>
        </p:blipFill>
        <p:spPr>
          <a:xfrm>
            <a:off x="603231" y="2638152"/>
            <a:ext cx="1175144" cy="282035"/>
          </a:xfrm>
          <a:prstGeom prst="rect">
            <a:avLst/>
          </a:prstGeom>
        </p:spPr>
      </p:pic>
      <p:pic>
        <p:nvPicPr>
          <p:cNvPr id="139" name="Picture 138">
            <a:extLst>
              <a:ext uri="{FF2B5EF4-FFF2-40B4-BE49-F238E27FC236}">
                <a16:creationId xmlns:a16="http://schemas.microsoft.com/office/drawing/2014/main" id="{FB7E1BC2-3CDF-483A-93AE-FA53963EFF07}"/>
              </a:ext>
            </a:extLst>
          </p:cNvPr>
          <p:cNvPicPr>
            <a:picLocks noChangeAspect="1"/>
          </p:cNvPicPr>
          <p:nvPr/>
        </p:nvPicPr>
        <p:blipFill>
          <a:blip r:embed="rId9"/>
          <a:stretch>
            <a:fillRect/>
          </a:stretch>
        </p:blipFill>
        <p:spPr>
          <a:xfrm>
            <a:off x="534093" y="3004447"/>
            <a:ext cx="1313419" cy="426695"/>
          </a:xfrm>
          <a:prstGeom prst="rect">
            <a:avLst/>
          </a:prstGeom>
        </p:spPr>
      </p:pic>
      <p:pic>
        <p:nvPicPr>
          <p:cNvPr id="140" name="Picture 139">
            <a:extLst>
              <a:ext uri="{FF2B5EF4-FFF2-40B4-BE49-F238E27FC236}">
                <a16:creationId xmlns:a16="http://schemas.microsoft.com/office/drawing/2014/main" id="{E2C952C7-D191-41EA-AC8A-A0ADB59A60CA}"/>
              </a:ext>
            </a:extLst>
          </p:cNvPr>
          <p:cNvPicPr>
            <a:picLocks noChangeAspect="1"/>
          </p:cNvPicPr>
          <p:nvPr/>
        </p:nvPicPr>
        <p:blipFill rotWithShape="1">
          <a:blip r:embed="rId10"/>
          <a:srcRect t="16386" b="15557"/>
          <a:stretch/>
        </p:blipFill>
        <p:spPr>
          <a:xfrm>
            <a:off x="3067279" y="2446553"/>
            <a:ext cx="1527362" cy="344716"/>
          </a:xfrm>
          <a:prstGeom prst="rect">
            <a:avLst/>
          </a:prstGeom>
        </p:spPr>
      </p:pic>
      <p:pic>
        <p:nvPicPr>
          <p:cNvPr id="141" name="Picture 140">
            <a:extLst>
              <a:ext uri="{FF2B5EF4-FFF2-40B4-BE49-F238E27FC236}">
                <a16:creationId xmlns:a16="http://schemas.microsoft.com/office/drawing/2014/main" id="{474C82CC-BC6F-4C48-AB08-5FBC2A77065E}"/>
              </a:ext>
            </a:extLst>
          </p:cNvPr>
          <p:cNvPicPr>
            <a:picLocks noChangeAspect="1"/>
          </p:cNvPicPr>
          <p:nvPr/>
        </p:nvPicPr>
        <p:blipFill>
          <a:blip r:embed="rId6">
            <a:duotone>
              <a:srgbClr val="236192">
                <a:shade val="45000"/>
                <a:satMod val="135000"/>
              </a:srgbClr>
              <a:prstClr val="white"/>
            </a:duotone>
          </a:blip>
          <a:stretch>
            <a:fillRect/>
          </a:stretch>
        </p:blipFill>
        <p:spPr>
          <a:xfrm>
            <a:off x="3525578" y="6009881"/>
            <a:ext cx="678507" cy="344909"/>
          </a:xfrm>
          <a:prstGeom prst="rect">
            <a:avLst/>
          </a:prstGeom>
        </p:spPr>
      </p:pic>
      <p:cxnSp>
        <p:nvCxnSpPr>
          <p:cNvPr id="142" name="Straight Connector 141">
            <a:extLst>
              <a:ext uri="{FF2B5EF4-FFF2-40B4-BE49-F238E27FC236}">
                <a16:creationId xmlns:a16="http://schemas.microsoft.com/office/drawing/2014/main" id="{F6AA9AC7-B019-4FAA-96A0-1D6E518316EA}"/>
              </a:ext>
            </a:extLst>
          </p:cNvPr>
          <p:cNvCxnSpPr>
            <a:cxnSpLocks/>
            <a:stCxn id="141" idx="0"/>
            <a:endCxn id="120" idx="2"/>
          </p:cNvCxnSpPr>
          <p:nvPr/>
        </p:nvCxnSpPr>
        <p:spPr>
          <a:xfrm flipV="1">
            <a:off x="3864832" y="5402633"/>
            <a:ext cx="13426" cy="607248"/>
          </a:xfrm>
          <a:prstGeom prst="line">
            <a:avLst/>
          </a:prstGeom>
          <a:noFill/>
          <a:ln w="9525" cap="flat" cmpd="sng" algn="ctr">
            <a:solidFill>
              <a:srgbClr val="6CC04A">
                <a:lumMod val="50000"/>
              </a:srgbClr>
            </a:solidFill>
            <a:prstDash val="solid"/>
            <a:headEnd type="oval" w="med" len="med"/>
            <a:tailEnd type="oval" w="med" len="med"/>
          </a:ln>
          <a:effectLst/>
        </p:spPr>
      </p:cxnSp>
      <p:pic>
        <p:nvPicPr>
          <p:cNvPr id="143" name="Picture 142">
            <a:extLst>
              <a:ext uri="{FF2B5EF4-FFF2-40B4-BE49-F238E27FC236}">
                <a16:creationId xmlns:a16="http://schemas.microsoft.com/office/drawing/2014/main" id="{C709295C-4407-4D0C-AE4F-52B7161C88CC}"/>
              </a:ext>
            </a:extLst>
          </p:cNvPr>
          <p:cNvPicPr>
            <a:picLocks noChangeAspect="1"/>
          </p:cNvPicPr>
          <p:nvPr/>
        </p:nvPicPr>
        <p:blipFill>
          <a:blip r:embed="rId7"/>
          <a:stretch>
            <a:fillRect/>
          </a:stretch>
        </p:blipFill>
        <p:spPr>
          <a:xfrm>
            <a:off x="3067279" y="2018682"/>
            <a:ext cx="1435833" cy="357098"/>
          </a:xfrm>
          <a:prstGeom prst="rect">
            <a:avLst/>
          </a:prstGeom>
        </p:spPr>
      </p:pic>
      <p:sp>
        <p:nvSpPr>
          <p:cNvPr id="144" name="Rounded Rectangle 157">
            <a:extLst>
              <a:ext uri="{FF2B5EF4-FFF2-40B4-BE49-F238E27FC236}">
                <a16:creationId xmlns:a16="http://schemas.microsoft.com/office/drawing/2014/main" id="{8D4E2486-254F-46C3-BC99-FF4A17133AC6}"/>
              </a:ext>
            </a:extLst>
          </p:cNvPr>
          <p:cNvSpPr/>
          <p:nvPr/>
        </p:nvSpPr>
        <p:spPr>
          <a:xfrm>
            <a:off x="2933756" y="1953853"/>
            <a:ext cx="1900378" cy="1227693"/>
          </a:xfrm>
          <a:prstGeom prst="roundRect">
            <a:avLst>
              <a:gd name="adj" fmla="val 11464"/>
            </a:avLst>
          </a:prstGeom>
          <a:noFill/>
          <a:ln w="25400" cap="flat" cmpd="sng" algn="ctr">
            <a:solidFill>
              <a:srgbClr val="00ACC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145" name="Rounded Rectangle 157">
            <a:extLst>
              <a:ext uri="{FF2B5EF4-FFF2-40B4-BE49-F238E27FC236}">
                <a16:creationId xmlns:a16="http://schemas.microsoft.com/office/drawing/2014/main" id="{C3B6B6C4-3A6C-4E46-A4DE-8940FAFD65B2}"/>
              </a:ext>
            </a:extLst>
          </p:cNvPr>
          <p:cNvSpPr/>
          <p:nvPr/>
        </p:nvSpPr>
        <p:spPr>
          <a:xfrm>
            <a:off x="5470787" y="1948914"/>
            <a:ext cx="1900378" cy="1227693"/>
          </a:xfrm>
          <a:prstGeom prst="roundRect">
            <a:avLst>
              <a:gd name="adj" fmla="val 11464"/>
            </a:avLst>
          </a:prstGeom>
          <a:noFill/>
          <a:ln w="25400" cap="flat" cmpd="sng" algn="ctr">
            <a:solidFill>
              <a:srgbClr val="00ACC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cxnSp>
        <p:nvCxnSpPr>
          <p:cNvPr id="146" name="Straight Connector 145">
            <a:extLst>
              <a:ext uri="{FF2B5EF4-FFF2-40B4-BE49-F238E27FC236}">
                <a16:creationId xmlns:a16="http://schemas.microsoft.com/office/drawing/2014/main" id="{00C35D05-A222-4D1E-BEA5-F685C4E6C0B7}"/>
              </a:ext>
            </a:extLst>
          </p:cNvPr>
          <p:cNvCxnSpPr>
            <a:cxnSpLocks/>
          </p:cNvCxnSpPr>
          <p:nvPr/>
        </p:nvCxnSpPr>
        <p:spPr>
          <a:xfrm flipV="1">
            <a:off x="3886525" y="1343829"/>
            <a:ext cx="5691" cy="598149"/>
          </a:xfrm>
          <a:prstGeom prst="line">
            <a:avLst/>
          </a:prstGeom>
          <a:noFill/>
          <a:ln w="19050" cap="flat" cmpd="sng" algn="ctr">
            <a:solidFill>
              <a:srgbClr val="6CC04A"/>
            </a:solidFill>
            <a:prstDash val="solid"/>
            <a:headEnd type="oval" w="med" len="med"/>
            <a:tailEnd type="oval" w="med" len="med"/>
          </a:ln>
          <a:effectLst/>
        </p:spPr>
      </p:cxnSp>
      <p:cxnSp>
        <p:nvCxnSpPr>
          <p:cNvPr id="147" name="Straight Connector 146">
            <a:extLst>
              <a:ext uri="{FF2B5EF4-FFF2-40B4-BE49-F238E27FC236}">
                <a16:creationId xmlns:a16="http://schemas.microsoft.com/office/drawing/2014/main" id="{46BFACCD-E45F-4A7E-BBAC-6CD0227DCB15}"/>
              </a:ext>
            </a:extLst>
          </p:cNvPr>
          <p:cNvCxnSpPr>
            <a:cxnSpLocks/>
          </p:cNvCxnSpPr>
          <p:nvPr/>
        </p:nvCxnSpPr>
        <p:spPr>
          <a:xfrm flipV="1">
            <a:off x="6444817" y="1384903"/>
            <a:ext cx="261" cy="596353"/>
          </a:xfrm>
          <a:prstGeom prst="line">
            <a:avLst/>
          </a:prstGeom>
          <a:noFill/>
          <a:ln w="19050" cap="flat" cmpd="sng" algn="ctr">
            <a:solidFill>
              <a:srgbClr val="6CC04A"/>
            </a:solidFill>
            <a:prstDash val="solid"/>
            <a:headEnd type="oval" w="med" len="med"/>
            <a:tailEnd type="oval" w="med" len="med"/>
          </a:ln>
          <a:effectLst/>
        </p:spPr>
      </p:cxnSp>
      <p:pic>
        <p:nvPicPr>
          <p:cNvPr id="148" name="Picture 147">
            <a:extLst>
              <a:ext uri="{FF2B5EF4-FFF2-40B4-BE49-F238E27FC236}">
                <a16:creationId xmlns:a16="http://schemas.microsoft.com/office/drawing/2014/main" id="{3AEF8F5C-8C52-44C9-A9C9-EA4F91AA3E28}"/>
              </a:ext>
            </a:extLst>
          </p:cNvPr>
          <p:cNvPicPr>
            <a:picLocks noChangeAspect="1"/>
          </p:cNvPicPr>
          <p:nvPr/>
        </p:nvPicPr>
        <p:blipFill>
          <a:blip r:embed="rId6">
            <a:duotone>
              <a:srgbClr val="236192">
                <a:shade val="45000"/>
                <a:satMod val="135000"/>
              </a:srgbClr>
              <a:prstClr val="white"/>
            </a:duotone>
          </a:blip>
          <a:stretch>
            <a:fillRect/>
          </a:stretch>
        </p:blipFill>
        <p:spPr>
          <a:xfrm>
            <a:off x="11268188" y="5837905"/>
            <a:ext cx="678507" cy="344909"/>
          </a:xfrm>
          <a:prstGeom prst="rect">
            <a:avLst/>
          </a:prstGeom>
        </p:spPr>
      </p:pic>
      <p:pic>
        <p:nvPicPr>
          <p:cNvPr id="150" name="Picture 149">
            <a:extLst>
              <a:ext uri="{FF2B5EF4-FFF2-40B4-BE49-F238E27FC236}">
                <a16:creationId xmlns:a16="http://schemas.microsoft.com/office/drawing/2014/main" id="{8EBB7D50-F373-4751-963A-55AD634EB625}"/>
              </a:ext>
            </a:extLst>
          </p:cNvPr>
          <p:cNvPicPr>
            <a:picLocks noChangeAspect="1"/>
          </p:cNvPicPr>
          <p:nvPr/>
        </p:nvPicPr>
        <p:blipFill>
          <a:blip r:embed="rId7"/>
          <a:stretch>
            <a:fillRect/>
          </a:stretch>
        </p:blipFill>
        <p:spPr>
          <a:xfrm>
            <a:off x="9621569" y="5839798"/>
            <a:ext cx="1371600" cy="341123"/>
          </a:xfrm>
          <a:prstGeom prst="rect">
            <a:avLst/>
          </a:prstGeom>
        </p:spPr>
      </p:pic>
      <p:sp>
        <p:nvSpPr>
          <p:cNvPr id="154" name="TextBox 153">
            <a:extLst>
              <a:ext uri="{FF2B5EF4-FFF2-40B4-BE49-F238E27FC236}">
                <a16:creationId xmlns:a16="http://schemas.microsoft.com/office/drawing/2014/main" id="{0480093F-61DA-4A4E-823F-C3509FDEDB36}"/>
              </a:ext>
            </a:extLst>
          </p:cNvPr>
          <p:cNvSpPr txBox="1"/>
          <p:nvPr/>
        </p:nvSpPr>
        <p:spPr>
          <a:xfrm>
            <a:off x="10205901" y="4766323"/>
            <a:ext cx="1366026"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D4647"/>
                </a:solidFill>
                <a:effectLst/>
                <a:uLnTx/>
                <a:uFillTx/>
              </a:rPr>
              <a:t>ThingWorx Flow</a:t>
            </a:r>
          </a:p>
        </p:txBody>
      </p:sp>
      <p:sp>
        <p:nvSpPr>
          <p:cNvPr id="155" name="Rectangle 154">
            <a:extLst>
              <a:ext uri="{FF2B5EF4-FFF2-40B4-BE49-F238E27FC236}">
                <a16:creationId xmlns:a16="http://schemas.microsoft.com/office/drawing/2014/main" id="{36019674-1AC6-4073-B2E3-C56B58DB4D16}"/>
              </a:ext>
            </a:extLst>
          </p:cNvPr>
          <p:cNvSpPr/>
          <p:nvPr/>
        </p:nvSpPr>
        <p:spPr>
          <a:xfrm>
            <a:off x="8351724" y="4007041"/>
            <a:ext cx="3589973" cy="245866"/>
          </a:xfrm>
          <a:prstGeom prst="rect">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entury Gothic" panose="020F0302020204030204"/>
                <a:ea typeface="+mn-ea"/>
                <a:cs typeface="+mn-cs"/>
              </a:rPr>
              <a:t>Entirely </a:t>
            </a:r>
            <a:r>
              <a:rPr lang="en-US" sz="1400" kern="0">
                <a:solidFill>
                  <a:srgbClr val="FFFFFF"/>
                </a:solidFill>
                <a:latin typeface="Century Gothic" panose="020F0302020204030204"/>
              </a:rPr>
              <a:t>on-prem</a:t>
            </a:r>
            <a:r>
              <a:rPr kumimoji="0" lang="en-US" sz="1400" b="0" i="0" u="none" strike="noStrike" kern="0" cap="none" spc="0" normalizeH="0" baseline="0" noProof="0">
                <a:ln>
                  <a:noFill/>
                </a:ln>
                <a:solidFill>
                  <a:srgbClr val="FFFFFF"/>
                </a:solidFill>
                <a:effectLst/>
                <a:uLnTx/>
                <a:uFillTx/>
                <a:latin typeface="Century Gothic" panose="020F0302020204030204"/>
                <a:ea typeface="+mn-ea"/>
                <a:cs typeface="+mn-cs"/>
              </a:rPr>
              <a:t> deployment</a:t>
            </a:r>
          </a:p>
        </p:txBody>
      </p:sp>
      <p:cxnSp>
        <p:nvCxnSpPr>
          <p:cNvPr id="156" name="Straight Connector 155">
            <a:extLst>
              <a:ext uri="{FF2B5EF4-FFF2-40B4-BE49-F238E27FC236}">
                <a16:creationId xmlns:a16="http://schemas.microsoft.com/office/drawing/2014/main" id="{C1C7D89F-7FD9-4A0E-AC2F-E3264184C71C}"/>
              </a:ext>
            </a:extLst>
          </p:cNvPr>
          <p:cNvCxnSpPr>
            <a:cxnSpLocks/>
            <a:stCxn id="148" idx="0"/>
            <a:endCxn id="154" idx="2"/>
          </p:cNvCxnSpPr>
          <p:nvPr/>
        </p:nvCxnSpPr>
        <p:spPr>
          <a:xfrm flipH="1" flipV="1">
            <a:off x="10888914" y="4981767"/>
            <a:ext cx="718528" cy="856138"/>
          </a:xfrm>
          <a:prstGeom prst="line">
            <a:avLst/>
          </a:prstGeom>
          <a:noFill/>
          <a:ln w="9525" cap="flat" cmpd="sng" algn="ctr">
            <a:solidFill>
              <a:srgbClr val="6CC04A">
                <a:lumMod val="50000"/>
              </a:srgbClr>
            </a:solidFill>
            <a:prstDash val="solid"/>
            <a:headEnd type="oval" w="med" len="med"/>
            <a:tailEnd type="oval" w="med" len="med"/>
          </a:ln>
          <a:effectLst/>
        </p:spPr>
      </p:cxnSp>
      <p:cxnSp>
        <p:nvCxnSpPr>
          <p:cNvPr id="158" name="Straight Connector 157">
            <a:extLst>
              <a:ext uri="{FF2B5EF4-FFF2-40B4-BE49-F238E27FC236}">
                <a16:creationId xmlns:a16="http://schemas.microsoft.com/office/drawing/2014/main" id="{E2E7F152-838A-42B8-BFFF-A11A7047E867}"/>
              </a:ext>
            </a:extLst>
          </p:cNvPr>
          <p:cNvCxnSpPr>
            <a:cxnSpLocks/>
            <a:stCxn id="154" idx="2"/>
          </p:cNvCxnSpPr>
          <p:nvPr/>
        </p:nvCxnSpPr>
        <p:spPr>
          <a:xfrm flipH="1">
            <a:off x="10411328" y="4981767"/>
            <a:ext cx="477586" cy="777347"/>
          </a:xfrm>
          <a:prstGeom prst="line">
            <a:avLst/>
          </a:prstGeom>
          <a:noFill/>
          <a:ln w="9525" cap="flat" cmpd="sng" algn="ctr">
            <a:solidFill>
              <a:srgbClr val="6CC04A">
                <a:lumMod val="50000"/>
              </a:srgbClr>
            </a:solidFill>
            <a:prstDash val="solid"/>
            <a:headEnd type="oval" w="med" len="med"/>
            <a:tailEnd type="oval" w="med" len="med"/>
          </a:ln>
          <a:effectLst/>
        </p:spPr>
      </p:cxnSp>
      <p:sp>
        <p:nvSpPr>
          <p:cNvPr id="165" name="TextBox 164">
            <a:extLst>
              <a:ext uri="{FF2B5EF4-FFF2-40B4-BE49-F238E27FC236}">
                <a16:creationId xmlns:a16="http://schemas.microsoft.com/office/drawing/2014/main" id="{D235957F-020F-455F-97C9-C891FC4753DE}"/>
              </a:ext>
            </a:extLst>
          </p:cNvPr>
          <p:cNvSpPr txBox="1"/>
          <p:nvPr/>
        </p:nvSpPr>
        <p:spPr>
          <a:xfrm>
            <a:off x="8518912" y="4849209"/>
            <a:ext cx="1035540" cy="184666"/>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a:t>On-prem</a:t>
            </a:r>
            <a:r>
              <a:rPr kumimoji="0" lang="en-US" sz="1200" b="1" i="0" u="none" strike="noStrike" kern="0" cap="none" spc="0" normalizeH="0" baseline="0" noProof="0">
                <a:ln>
                  <a:noFill/>
                </a:ln>
                <a:effectLst/>
                <a:uLnTx/>
                <a:uFillTx/>
              </a:rPr>
              <a:t> User</a:t>
            </a:r>
          </a:p>
        </p:txBody>
      </p:sp>
      <p:cxnSp>
        <p:nvCxnSpPr>
          <p:cNvPr id="172" name="Straight Connector 171">
            <a:extLst>
              <a:ext uri="{FF2B5EF4-FFF2-40B4-BE49-F238E27FC236}">
                <a16:creationId xmlns:a16="http://schemas.microsoft.com/office/drawing/2014/main" id="{35FEB86C-856D-4CBD-9034-0031D9E24433}"/>
              </a:ext>
            </a:extLst>
          </p:cNvPr>
          <p:cNvCxnSpPr>
            <a:cxnSpLocks/>
          </p:cNvCxnSpPr>
          <p:nvPr/>
        </p:nvCxnSpPr>
        <p:spPr>
          <a:xfrm flipH="1">
            <a:off x="9257602" y="4600291"/>
            <a:ext cx="602144" cy="2912"/>
          </a:xfrm>
          <a:prstGeom prst="line">
            <a:avLst/>
          </a:prstGeom>
          <a:noFill/>
          <a:ln w="19050" cap="flat" cmpd="sng" algn="ctr">
            <a:solidFill>
              <a:srgbClr val="6CC04A"/>
            </a:solidFill>
            <a:prstDash val="solid"/>
            <a:headEnd type="oval" w="med" len="med"/>
            <a:tailEnd type="oval" w="med" len="med"/>
          </a:ln>
          <a:effectLst/>
        </p:spPr>
      </p:cxnSp>
      <p:cxnSp>
        <p:nvCxnSpPr>
          <p:cNvPr id="185" name="Straight Connector 184">
            <a:extLst>
              <a:ext uri="{FF2B5EF4-FFF2-40B4-BE49-F238E27FC236}">
                <a16:creationId xmlns:a16="http://schemas.microsoft.com/office/drawing/2014/main" id="{2FF90D52-3A92-4899-A1DC-02AC8B99EF11}"/>
              </a:ext>
            </a:extLst>
          </p:cNvPr>
          <p:cNvCxnSpPr>
            <a:cxnSpLocks/>
            <a:stCxn id="141" idx="0"/>
            <a:endCxn id="194" idx="2"/>
          </p:cNvCxnSpPr>
          <p:nvPr/>
        </p:nvCxnSpPr>
        <p:spPr>
          <a:xfrm flipH="1" flipV="1">
            <a:off x="2402711" y="5494734"/>
            <a:ext cx="1462121" cy="515147"/>
          </a:xfrm>
          <a:prstGeom prst="line">
            <a:avLst/>
          </a:prstGeom>
          <a:noFill/>
          <a:ln w="9525" cap="flat" cmpd="sng" algn="ctr">
            <a:solidFill>
              <a:srgbClr val="6CC04A">
                <a:lumMod val="50000"/>
              </a:srgbClr>
            </a:solidFill>
            <a:prstDash val="solid"/>
            <a:headEnd type="oval" w="med" len="med"/>
            <a:tailEnd type="oval" w="med" len="med"/>
          </a:ln>
          <a:effectLst/>
        </p:spPr>
      </p:cxnSp>
      <p:cxnSp>
        <p:nvCxnSpPr>
          <p:cNvPr id="190" name="Straight Connector 189">
            <a:extLst>
              <a:ext uri="{FF2B5EF4-FFF2-40B4-BE49-F238E27FC236}">
                <a16:creationId xmlns:a16="http://schemas.microsoft.com/office/drawing/2014/main" id="{156CC674-9B98-4276-ADB7-667020281B8E}"/>
              </a:ext>
            </a:extLst>
          </p:cNvPr>
          <p:cNvCxnSpPr>
            <a:cxnSpLocks/>
          </p:cNvCxnSpPr>
          <p:nvPr/>
        </p:nvCxnSpPr>
        <p:spPr>
          <a:xfrm flipH="1">
            <a:off x="8897072" y="6160759"/>
            <a:ext cx="3475" cy="148681"/>
          </a:xfrm>
          <a:prstGeom prst="line">
            <a:avLst/>
          </a:prstGeom>
          <a:noFill/>
          <a:ln w="9525" cap="flat" cmpd="sng" algn="ctr">
            <a:solidFill>
              <a:srgbClr val="6CC04A">
                <a:lumMod val="50000"/>
              </a:srgbClr>
            </a:solidFill>
            <a:prstDash val="solid"/>
            <a:headEnd type="oval" w="med" len="med"/>
            <a:tailEnd type="oval" w="med" len="med"/>
          </a:ln>
          <a:effectLst/>
        </p:spPr>
      </p:cxnSp>
      <p:cxnSp>
        <p:nvCxnSpPr>
          <p:cNvPr id="191" name="Straight Connector 190">
            <a:extLst>
              <a:ext uri="{FF2B5EF4-FFF2-40B4-BE49-F238E27FC236}">
                <a16:creationId xmlns:a16="http://schemas.microsoft.com/office/drawing/2014/main" id="{40168C7A-4950-4BE0-A4B3-F7F6DED929CD}"/>
              </a:ext>
            </a:extLst>
          </p:cNvPr>
          <p:cNvCxnSpPr>
            <a:cxnSpLocks/>
            <a:stCxn id="154" idx="2"/>
          </p:cNvCxnSpPr>
          <p:nvPr/>
        </p:nvCxnSpPr>
        <p:spPr>
          <a:xfrm flipH="1">
            <a:off x="8897072" y="4981767"/>
            <a:ext cx="1991842" cy="844658"/>
          </a:xfrm>
          <a:prstGeom prst="line">
            <a:avLst/>
          </a:prstGeom>
          <a:noFill/>
          <a:ln w="9525" cap="flat" cmpd="sng" algn="ctr">
            <a:solidFill>
              <a:srgbClr val="6CC04A">
                <a:lumMod val="50000"/>
              </a:srgbClr>
            </a:solidFill>
            <a:prstDash val="solid"/>
            <a:headEnd type="oval" w="med" len="med"/>
            <a:tailEnd type="oval" w="med" len="med"/>
          </a:ln>
          <a:effectLst/>
        </p:spPr>
      </p:cxnSp>
      <p:sp>
        <p:nvSpPr>
          <p:cNvPr id="194" name="TextBox 193">
            <a:extLst>
              <a:ext uri="{FF2B5EF4-FFF2-40B4-BE49-F238E27FC236}">
                <a16:creationId xmlns:a16="http://schemas.microsoft.com/office/drawing/2014/main" id="{E2375B90-3BA3-4CA4-9A9A-D384E8DF07D7}"/>
              </a:ext>
            </a:extLst>
          </p:cNvPr>
          <p:cNvSpPr txBox="1"/>
          <p:nvPr/>
        </p:nvSpPr>
        <p:spPr>
          <a:xfrm>
            <a:off x="1725612" y="5279290"/>
            <a:ext cx="1354198"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D4647"/>
                </a:solidFill>
                <a:effectLst/>
                <a:uLnTx/>
                <a:uFillTx/>
              </a:rPr>
              <a:t>ThingWorx Flow</a:t>
            </a:r>
          </a:p>
        </p:txBody>
      </p:sp>
      <p:cxnSp>
        <p:nvCxnSpPr>
          <p:cNvPr id="199" name="Straight Connector 198">
            <a:extLst>
              <a:ext uri="{FF2B5EF4-FFF2-40B4-BE49-F238E27FC236}">
                <a16:creationId xmlns:a16="http://schemas.microsoft.com/office/drawing/2014/main" id="{AE74C937-6A5A-4FAD-B2E3-AE9C44284870}"/>
              </a:ext>
            </a:extLst>
          </p:cNvPr>
          <p:cNvCxnSpPr>
            <a:cxnSpLocks/>
            <a:stCxn id="194" idx="2"/>
            <a:endCxn id="85" idx="0"/>
          </p:cNvCxnSpPr>
          <p:nvPr/>
        </p:nvCxnSpPr>
        <p:spPr>
          <a:xfrm flipH="1">
            <a:off x="1248512" y="5494734"/>
            <a:ext cx="1154199" cy="464342"/>
          </a:xfrm>
          <a:prstGeom prst="line">
            <a:avLst/>
          </a:prstGeom>
          <a:noFill/>
          <a:ln w="9525" cap="flat" cmpd="sng" algn="ctr">
            <a:solidFill>
              <a:srgbClr val="6CC04A">
                <a:lumMod val="50000"/>
              </a:srgbClr>
            </a:solidFill>
            <a:prstDash val="solid"/>
            <a:headEnd type="oval" w="med" len="med"/>
            <a:tailEnd type="oval" w="med" len="med"/>
          </a:ln>
          <a:effectLst/>
        </p:spPr>
      </p:cxnSp>
      <p:cxnSp>
        <p:nvCxnSpPr>
          <p:cNvPr id="200" name="Straight Connector 199">
            <a:extLst>
              <a:ext uri="{FF2B5EF4-FFF2-40B4-BE49-F238E27FC236}">
                <a16:creationId xmlns:a16="http://schemas.microsoft.com/office/drawing/2014/main" id="{64F29E38-1855-4107-AFD2-52FA49F3CB98}"/>
              </a:ext>
            </a:extLst>
          </p:cNvPr>
          <p:cNvCxnSpPr>
            <a:cxnSpLocks/>
            <a:endCxn id="121" idx="0"/>
          </p:cNvCxnSpPr>
          <p:nvPr/>
        </p:nvCxnSpPr>
        <p:spPr>
          <a:xfrm>
            <a:off x="1413800" y="6246599"/>
            <a:ext cx="1" cy="108191"/>
          </a:xfrm>
          <a:prstGeom prst="line">
            <a:avLst/>
          </a:prstGeom>
          <a:noFill/>
          <a:ln w="9525" cap="flat" cmpd="sng" algn="ctr">
            <a:solidFill>
              <a:srgbClr val="6CC04A">
                <a:lumMod val="50000"/>
              </a:srgbClr>
            </a:solidFill>
            <a:prstDash val="solid"/>
            <a:headEnd type="oval" w="med" len="med"/>
            <a:tailEnd type="oval" w="med" len="med"/>
          </a:ln>
          <a:effectLst/>
        </p:spPr>
      </p:cxnSp>
      <p:pic>
        <p:nvPicPr>
          <p:cNvPr id="201" name="Picture 200">
            <a:extLst>
              <a:ext uri="{FF2B5EF4-FFF2-40B4-BE49-F238E27FC236}">
                <a16:creationId xmlns:a16="http://schemas.microsoft.com/office/drawing/2014/main" id="{A8EC259C-CB69-42E8-9BAD-B5D00DD79DDB}"/>
              </a:ext>
            </a:extLst>
          </p:cNvPr>
          <p:cNvPicPr>
            <a:picLocks noChangeAspect="1"/>
          </p:cNvPicPr>
          <p:nvPr/>
        </p:nvPicPr>
        <p:blipFill rotWithShape="1">
          <a:blip r:embed="rId10"/>
          <a:srcRect t="16386" b="15557"/>
          <a:stretch/>
        </p:blipFill>
        <p:spPr>
          <a:xfrm>
            <a:off x="5662656" y="2054842"/>
            <a:ext cx="1527362" cy="344716"/>
          </a:xfrm>
          <a:prstGeom prst="rect">
            <a:avLst/>
          </a:prstGeom>
        </p:spPr>
      </p:pic>
      <p:sp>
        <p:nvSpPr>
          <p:cNvPr id="83" name="Footer Placeholder 3">
            <a:extLst>
              <a:ext uri="{FF2B5EF4-FFF2-40B4-BE49-F238E27FC236}">
                <a16:creationId xmlns:a16="http://schemas.microsoft.com/office/drawing/2014/main" id="{C05E0814-7CFC-9C4C-AED9-C7AD739DEDCC}"/>
              </a:ext>
            </a:extLst>
          </p:cNvPr>
          <p:cNvSpPr txBox="1">
            <a:spLocks/>
          </p:cNvSpPr>
          <p:nvPr/>
        </p:nvSpPr>
        <p:spPr>
          <a:xfrm>
            <a:off x="3104188" y="6631783"/>
            <a:ext cx="5983624" cy="109728"/>
          </a:xfrm>
          <a:prstGeom prst="rect">
            <a:avLst/>
          </a:prstGeom>
        </p:spPr>
        <p:txBody>
          <a:bodyPr lIns="0" tIns="0" rIns="0" bIns="0" anchor="ctr"/>
          <a:lstStyle>
            <a:defPPr>
              <a:defRPr lang="en-US"/>
            </a:defPPr>
            <a:lvl1pPr marL="0" algn="ctr" defTabSz="1086775" rtl="0" eaLnBrk="1" latinLnBrk="0" hangingPunct="1">
              <a:defRPr sz="700" b="1"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bg1"/>
                </a:solidFill>
                <a:effectLst/>
                <a:uLnTx/>
                <a:uFillTx/>
                <a:latin typeface="Century Gothic" panose="020F0302020204030204"/>
                <a:ea typeface="+mn-ea"/>
                <a:cs typeface="+mn-cs"/>
              </a:rPr>
              <a:t>Forward looking information subject to change without notice</a:t>
            </a:r>
          </a:p>
        </p:txBody>
      </p:sp>
      <p:pic>
        <p:nvPicPr>
          <p:cNvPr id="84" name="Picture 83">
            <a:extLst>
              <a:ext uri="{FF2B5EF4-FFF2-40B4-BE49-F238E27FC236}">
                <a16:creationId xmlns:a16="http://schemas.microsoft.com/office/drawing/2014/main" id="{C2745024-628C-E349-A9E6-EFC9BD68EB7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711502" y="6361525"/>
            <a:ext cx="371141" cy="363702"/>
          </a:xfrm>
          <a:prstGeom prst="rect">
            <a:avLst/>
          </a:prstGeom>
        </p:spPr>
      </p:pic>
      <p:pic>
        <p:nvPicPr>
          <p:cNvPr id="8" name="Picture 7">
            <a:extLst>
              <a:ext uri="{FF2B5EF4-FFF2-40B4-BE49-F238E27FC236}">
                <a16:creationId xmlns:a16="http://schemas.microsoft.com/office/drawing/2014/main" id="{50E0FB59-757A-C043-9263-A225D8670DA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989529" y="5851361"/>
            <a:ext cx="1371600" cy="317997"/>
          </a:xfrm>
          <a:prstGeom prst="rect">
            <a:avLst/>
          </a:prstGeom>
        </p:spPr>
      </p:pic>
      <p:pic>
        <p:nvPicPr>
          <p:cNvPr id="85" name="Picture 84">
            <a:extLst>
              <a:ext uri="{FF2B5EF4-FFF2-40B4-BE49-F238E27FC236}">
                <a16:creationId xmlns:a16="http://schemas.microsoft.com/office/drawing/2014/main" id="{2F60CEAA-1346-5F40-B799-027EDCBCD3A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62712" y="5959076"/>
            <a:ext cx="1371600" cy="317997"/>
          </a:xfrm>
          <a:prstGeom prst="rect">
            <a:avLst/>
          </a:prstGeom>
        </p:spPr>
      </p:pic>
      <p:pic>
        <p:nvPicPr>
          <p:cNvPr id="88" name="Picture 87">
            <a:extLst>
              <a:ext uri="{FF2B5EF4-FFF2-40B4-BE49-F238E27FC236}">
                <a16:creationId xmlns:a16="http://schemas.microsoft.com/office/drawing/2014/main" id="{8C5F11B0-94C7-2140-912E-60F5ED3621EE}"/>
              </a:ext>
            </a:extLst>
          </p:cNvPr>
          <p:cNvPicPr>
            <a:picLocks noChangeAspect="1"/>
          </p:cNvPicPr>
          <p:nvPr/>
        </p:nvPicPr>
        <p:blipFill rotWithShape="1">
          <a:blip r:embed="rId10"/>
          <a:srcRect t="16386" b="15557"/>
          <a:stretch/>
        </p:blipFill>
        <p:spPr>
          <a:xfrm>
            <a:off x="1384691" y="4940363"/>
            <a:ext cx="1527362" cy="344716"/>
          </a:xfrm>
          <a:prstGeom prst="rect">
            <a:avLst/>
          </a:prstGeom>
        </p:spPr>
      </p:pic>
      <p:pic>
        <p:nvPicPr>
          <p:cNvPr id="89" name="Picture 88">
            <a:extLst>
              <a:ext uri="{FF2B5EF4-FFF2-40B4-BE49-F238E27FC236}">
                <a16:creationId xmlns:a16="http://schemas.microsoft.com/office/drawing/2014/main" id="{6323FE45-91F2-9D40-A4D7-D56330E86582}"/>
              </a:ext>
            </a:extLst>
          </p:cNvPr>
          <p:cNvPicPr>
            <a:picLocks noChangeAspect="1"/>
          </p:cNvPicPr>
          <p:nvPr/>
        </p:nvPicPr>
        <p:blipFill rotWithShape="1">
          <a:blip r:embed="rId10"/>
          <a:srcRect t="16386" b="15557"/>
          <a:stretch/>
        </p:blipFill>
        <p:spPr>
          <a:xfrm>
            <a:off x="9982682" y="4415589"/>
            <a:ext cx="1527362" cy="344716"/>
          </a:xfrm>
          <a:prstGeom prst="rect">
            <a:avLst/>
          </a:prstGeom>
        </p:spPr>
      </p:pic>
      <p:pic>
        <p:nvPicPr>
          <p:cNvPr id="109" name="Picture 108">
            <a:extLst>
              <a:ext uri="{FF2B5EF4-FFF2-40B4-BE49-F238E27FC236}">
                <a16:creationId xmlns:a16="http://schemas.microsoft.com/office/drawing/2014/main" id="{AD781231-7732-7A4A-A6C1-0747BF9A21ED}"/>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 r="-2262" b="56853"/>
          <a:stretch/>
        </p:blipFill>
        <p:spPr>
          <a:xfrm>
            <a:off x="3693449" y="827308"/>
            <a:ext cx="327928" cy="356285"/>
          </a:xfrm>
          <a:prstGeom prst="rect">
            <a:avLst/>
          </a:prstGeom>
        </p:spPr>
      </p:pic>
      <p:pic>
        <p:nvPicPr>
          <p:cNvPr id="110" name="Picture 109">
            <a:extLst>
              <a:ext uri="{FF2B5EF4-FFF2-40B4-BE49-F238E27FC236}">
                <a16:creationId xmlns:a16="http://schemas.microsoft.com/office/drawing/2014/main" id="{F1F221F0-3DA8-5843-9BA8-04CD61CA5794}"/>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 r="-2262" b="56853"/>
          <a:stretch/>
        </p:blipFill>
        <p:spPr>
          <a:xfrm>
            <a:off x="6278172" y="827308"/>
            <a:ext cx="327928" cy="356285"/>
          </a:xfrm>
          <a:prstGeom prst="rect">
            <a:avLst/>
          </a:prstGeom>
        </p:spPr>
      </p:pic>
      <p:pic>
        <p:nvPicPr>
          <p:cNvPr id="111" name="Picture 110">
            <a:extLst>
              <a:ext uri="{FF2B5EF4-FFF2-40B4-BE49-F238E27FC236}">
                <a16:creationId xmlns:a16="http://schemas.microsoft.com/office/drawing/2014/main" id="{60F48CEB-BD00-9A49-8D20-352844061FF5}"/>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 r="-2262" b="56853"/>
          <a:stretch/>
        </p:blipFill>
        <p:spPr>
          <a:xfrm>
            <a:off x="8853221" y="4422149"/>
            <a:ext cx="327928" cy="356285"/>
          </a:xfrm>
          <a:prstGeom prst="rect">
            <a:avLst/>
          </a:prstGeom>
        </p:spPr>
      </p:pic>
      <p:pic>
        <p:nvPicPr>
          <p:cNvPr id="121" name="Picture 120">
            <a:extLst>
              <a:ext uri="{FF2B5EF4-FFF2-40B4-BE49-F238E27FC236}">
                <a16:creationId xmlns:a16="http://schemas.microsoft.com/office/drawing/2014/main" id="{3884EB2B-93FE-D44E-A828-AB495E7823B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228230" y="6354790"/>
            <a:ext cx="371141" cy="363702"/>
          </a:xfrm>
          <a:prstGeom prst="rect">
            <a:avLst/>
          </a:prstGeom>
        </p:spPr>
      </p:pic>
      <p:cxnSp>
        <p:nvCxnSpPr>
          <p:cNvPr id="183" name="Straight Connector 182">
            <a:extLst>
              <a:ext uri="{FF2B5EF4-FFF2-40B4-BE49-F238E27FC236}">
                <a16:creationId xmlns:a16="http://schemas.microsoft.com/office/drawing/2014/main" id="{0FE41956-7E81-4EC9-93A2-A6CE6E0CC011}"/>
              </a:ext>
            </a:extLst>
          </p:cNvPr>
          <p:cNvCxnSpPr>
            <a:cxnSpLocks/>
            <a:stCxn id="88" idx="0"/>
          </p:cNvCxnSpPr>
          <p:nvPr/>
        </p:nvCxnSpPr>
        <p:spPr>
          <a:xfrm flipV="1">
            <a:off x="3533063" y="8643623"/>
            <a:ext cx="1723173" cy="1269760"/>
          </a:xfrm>
          <a:prstGeom prst="line">
            <a:avLst/>
          </a:prstGeom>
          <a:noFill/>
          <a:ln w="19050" cap="flat" cmpd="sng" algn="ctr">
            <a:solidFill>
              <a:srgbClr val="FF0000"/>
            </a:solidFill>
            <a:prstDash val="solid"/>
            <a:headEnd type="oval" w="med" len="med"/>
            <a:tailEnd type="oval" w="med" len="med"/>
          </a:ln>
          <a:effectLst/>
        </p:spPr>
      </p:cxnSp>
      <p:cxnSp>
        <p:nvCxnSpPr>
          <p:cNvPr id="136" name="Straight Connector 135">
            <a:extLst>
              <a:ext uri="{FF2B5EF4-FFF2-40B4-BE49-F238E27FC236}">
                <a16:creationId xmlns:a16="http://schemas.microsoft.com/office/drawing/2014/main" id="{75B9D445-480E-4F88-8076-7AB035B7CBED}"/>
              </a:ext>
            </a:extLst>
          </p:cNvPr>
          <p:cNvCxnSpPr>
            <a:stCxn id="120" idx="0"/>
            <a:endCxn id="130" idx="2"/>
          </p:cNvCxnSpPr>
          <p:nvPr/>
        </p:nvCxnSpPr>
        <p:spPr>
          <a:xfrm flipV="1">
            <a:off x="3878258" y="3113358"/>
            <a:ext cx="11375" cy="1791730"/>
          </a:xfrm>
          <a:prstGeom prst="line">
            <a:avLst/>
          </a:prstGeom>
          <a:noFill/>
          <a:ln w="19050" cap="flat" cmpd="sng" algn="ctr">
            <a:solidFill>
              <a:srgbClr val="FF0000"/>
            </a:solidFill>
            <a:prstDash val="solid"/>
            <a:headEnd type="oval" w="med" len="med"/>
            <a:tailEnd type="oval" w="med" len="med"/>
          </a:ln>
          <a:effectLst/>
        </p:spPr>
      </p:cxnSp>
      <p:sp>
        <p:nvSpPr>
          <p:cNvPr id="184" name="Rectangle 183">
            <a:extLst>
              <a:ext uri="{FF2B5EF4-FFF2-40B4-BE49-F238E27FC236}">
                <a16:creationId xmlns:a16="http://schemas.microsoft.com/office/drawing/2014/main" id="{01CF4DAC-210E-4540-B394-4C106D0D78C2}"/>
              </a:ext>
            </a:extLst>
          </p:cNvPr>
          <p:cNvSpPr/>
          <p:nvPr/>
        </p:nvSpPr>
        <p:spPr>
          <a:xfrm>
            <a:off x="2714899" y="4002379"/>
            <a:ext cx="2330632" cy="245986"/>
          </a:xfrm>
          <a:prstGeom prst="rect">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rgbClr val="FFFFFF"/>
                </a:solidFill>
                <a:latin typeface="Century Gothic" panose="020F0302020204030204"/>
              </a:rPr>
              <a:t>On-prem</a:t>
            </a:r>
            <a:r>
              <a:rPr kumimoji="0" lang="en-US" sz="1400" b="0" i="0" u="none" strike="noStrike" kern="0" cap="none" spc="0" normalizeH="0" baseline="0" noProof="0">
                <a:ln>
                  <a:noFill/>
                </a:ln>
                <a:solidFill>
                  <a:srgbClr val="FFFFFF"/>
                </a:solidFill>
                <a:effectLst/>
                <a:uLnTx/>
                <a:uFillTx/>
                <a:latin typeface="Century Gothic" panose="020F0302020204030204"/>
                <a:ea typeface="+mn-ea"/>
                <a:cs typeface="+mn-cs"/>
              </a:rPr>
              <a:t> firewall</a:t>
            </a:r>
          </a:p>
        </p:txBody>
      </p:sp>
    </p:spTree>
    <p:extLst>
      <p:ext uri="{BB962C8B-B14F-4D97-AF65-F5344CB8AC3E}">
        <p14:creationId xmlns:p14="http://schemas.microsoft.com/office/powerpoint/2010/main" val="3348115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98147" y="139918"/>
            <a:ext cx="10259568" cy="344710"/>
          </a:xfrm>
        </p:spPr>
        <p:txBody>
          <a:bodyPr/>
          <a:lstStyle/>
          <a:p>
            <a:r>
              <a:rPr lang="en-US"/>
              <a:t>Reference architecture – high Availability (HA)</a:t>
            </a:r>
          </a:p>
        </p:txBody>
      </p:sp>
      <p:sp>
        <p:nvSpPr>
          <p:cNvPr id="3" name="Content Placeholder 2"/>
          <p:cNvSpPr>
            <a:spLocks noGrp="1"/>
          </p:cNvSpPr>
          <p:nvPr>
            <p:ph sz="half" idx="4294967295"/>
          </p:nvPr>
        </p:nvSpPr>
        <p:spPr>
          <a:xfrm>
            <a:off x="6138863" y="1222375"/>
            <a:ext cx="6053137" cy="4956175"/>
          </a:xfrm>
        </p:spPr>
        <p:txBody>
          <a:bodyPr vert="horz" lIns="0" tIns="0" rIns="0" bIns="0" rtlCol="0" anchor="t">
            <a:normAutofit fontScale="92500" lnSpcReduction="10000"/>
          </a:bodyPr>
          <a:lstStyle/>
          <a:p>
            <a:pPr marL="0" indent="0">
              <a:buNone/>
            </a:pPr>
            <a:r>
              <a:rPr lang="en-US" u="sng"/>
              <a:t>High Availability System (HA)</a:t>
            </a:r>
          </a:p>
          <a:p>
            <a:pPr marL="273050" indent="-273050"/>
            <a:r>
              <a:rPr lang="en-US"/>
              <a:t>Multiple Connection Servers as needed</a:t>
            </a:r>
          </a:p>
          <a:p>
            <a:pPr marL="273050" indent="-273050"/>
            <a:r>
              <a:rPr lang="en-US"/>
              <a:t>Load balancers to direct to active platform</a:t>
            </a:r>
          </a:p>
          <a:p>
            <a:pPr marL="273050" indent="-273050"/>
            <a:r>
              <a:rPr lang="en-US"/>
              <a:t>Active/Passive model for ThingWorx Platform HA</a:t>
            </a:r>
          </a:p>
          <a:p>
            <a:pPr marL="273050" indent="-273050"/>
            <a:r>
              <a:rPr lang="en-US" err="1"/>
              <a:t>ZooKeeper</a:t>
            </a:r>
            <a:r>
              <a:rPr lang="en-US"/>
              <a:t> to manage leader election</a:t>
            </a:r>
          </a:p>
          <a:p>
            <a:pPr marL="273050" indent="-273050">
              <a:spcBef>
                <a:spcPts val="2100"/>
              </a:spcBef>
            </a:pPr>
            <a:r>
              <a:rPr lang="en-US"/>
              <a:t>File Server with ThingWorx Repository</a:t>
            </a:r>
          </a:p>
          <a:p>
            <a:pPr marL="273050" indent="-273050"/>
            <a:r>
              <a:rPr lang="en-US"/>
              <a:t>HA requirements for chosen data providers</a:t>
            </a:r>
          </a:p>
          <a:p>
            <a:pPr marL="812800" lvl="1" indent="-271145"/>
            <a:r>
              <a:rPr lang="en-US"/>
              <a:t>PostgreSQL using </a:t>
            </a:r>
            <a:r>
              <a:rPr lang="en-US" err="1"/>
              <a:t>pgpool</a:t>
            </a:r>
            <a:r>
              <a:rPr lang="en-US"/>
              <a:t> II and multiple nodes</a:t>
            </a:r>
          </a:p>
          <a:p>
            <a:pPr marL="273050" indent="-273050"/>
            <a:endParaRPr lang="en-US"/>
          </a:p>
        </p:txBody>
      </p:sp>
      <p:pic>
        <p:nvPicPr>
          <p:cNvPr id="5" name="Picture 4">
            <a:extLst>
              <a:ext uri="{FF2B5EF4-FFF2-40B4-BE49-F238E27FC236}">
                <a16:creationId xmlns:a16="http://schemas.microsoft.com/office/drawing/2014/main" id="{235CC2F7-E8E6-419B-91FB-5FD9131EE539}"/>
              </a:ext>
            </a:extLst>
          </p:cNvPr>
          <p:cNvPicPr>
            <a:picLocks noChangeAspect="1"/>
          </p:cNvPicPr>
          <p:nvPr/>
        </p:nvPicPr>
        <p:blipFill>
          <a:blip r:embed="rId2"/>
          <a:stretch>
            <a:fillRect/>
          </a:stretch>
        </p:blipFill>
        <p:spPr>
          <a:xfrm>
            <a:off x="706456" y="5203394"/>
            <a:ext cx="1885788" cy="1512282"/>
          </a:xfrm>
          <a:prstGeom prst="rect">
            <a:avLst/>
          </a:prstGeom>
        </p:spPr>
      </p:pic>
      <p:grpSp>
        <p:nvGrpSpPr>
          <p:cNvPr id="7" name="Group 6">
            <a:extLst>
              <a:ext uri="{FF2B5EF4-FFF2-40B4-BE49-F238E27FC236}">
                <a16:creationId xmlns:a16="http://schemas.microsoft.com/office/drawing/2014/main" id="{9DCD7F89-257E-4060-8D94-59FCAD8A3310}"/>
              </a:ext>
            </a:extLst>
          </p:cNvPr>
          <p:cNvGrpSpPr/>
          <p:nvPr/>
        </p:nvGrpSpPr>
        <p:grpSpPr>
          <a:xfrm>
            <a:off x="1649350" y="586327"/>
            <a:ext cx="2474232" cy="6228270"/>
            <a:chOff x="1649350" y="586327"/>
            <a:chExt cx="2474232" cy="6228270"/>
          </a:xfrm>
        </p:grpSpPr>
        <p:pic>
          <p:nvPicPr>
            <p:cNvPr id="9" name="Picture 9" descr="A screenshot of a video game&#10;&#10;Description generated with high confidence">
              <a:extLst>
                <a:ext uri="{FF2B5EF4-FFF2-40B4-BE49-F238E27FC236}">
                  <a16:creationId xmlns:a16="http://schemas.microsoft.com/office/drawing/2014/main" id="{404F3346-47D3-457C-A5B2-886013CF1744}"/>
                </a:ext>
              </a:extLst>
            </p:cNvPr>
            <p:cNvPicPr>
              <a:picLocks noChangeAspect="1"/>
            </p:cNvPicPr>
            <p:nvPr/>
          </p:nvPicPr>
          <p:blipFill>
            <a:blip r:embed="rId3"/>
            <a:stretch>
              <a:fillRect/>
            </a:stretch>
          </p:blipFill>
          <p:spPr>
            <a:xfrm>
              <a:off x="1649350" y="586327"/>
              <a:ext cx="2474232" cy="6228270"/>
            </a:xfrm>
            <a:prstGeom prst="rect">
              <a:avLst/>
            </a:prstGeom>
          </p:spPr>
        </p:pic>
        <p:pic>
          <p:nvPicPr>
            <p:cNvPr id="2" name="Picture 1">
              <a:extLst>
                <a:ext uri="{FF2B5EF4-FFF2-40B4-BE49-F238E27FC236}">
                  <a16:creationId xmlns:a16="http://schemas.microsoft.com/office/drawing/2014/main" id="{DC4A431D-EF91-41ED-B79B-5D56AAD53F3C}"/>
                </a:ext>
              </a:extLst>
            </p:cNvPr>
            <p:cNvPicPr>
              <a:picLocks noChangeAspect="1"/>
            </p:cNvPicPr>
            <p:nvPr/>
          </p:nvPicPr>
          <p:blipFill>
            <a:blip r:embed="rId4"/>
            <a:stretch>
              <a:fillRect/>
            </a:stretch>
          </p:blipFill>
          <p:spPr>
            <a:xfrm>
              <a:off x="2229725" y="5645518"/>
              <a:ext cx="670618" cy="188992"/>
            </a:xfrm>
            <a:prstGeom prst="rect">
              <a:avLst/>
            </a:prstGeom>
          </p:spPr>
        </p:pic>
      </p:grpSp>
    </p:spTree>
    <p:extLst>
      <p:ext uri="{BB962C8B-B14F-4D97-AF65-F5344CB8AC3E}">
        <p14:creationId xmlns:p14="http://schemas.microsoft.com/office/powerpoint/2010/main" val="399183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Left Arrow 41"/>
          <p:cNvSpPr/>
          <p:nvPr/>
        </p:nvSpPr>
        <p:spPr>
          <a:xfrm flipH="1">
            <a:off x="0" y="621149"/>
            <a:ext cx="3233545" cy="790044"/>
          </a:xfrm>
          <a:prstGeom prst="leftArrow">
            <a:avLst>
              <a:gd name="adj1" fmla="val 80946"/>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panose="020F0302020204030204"/>
                <a:ea typeface="+mn-ea"/>
                <a:cs typeface="+mn-cs"/>
              </a:rPr>
              <a:t>Current </a:t>
            </a:r>
          </a:p>
        </p:txBody>
      </p:sp>
      <p:sp>
        <p:nvSpPr>
          <p:cNvPr id="74" name="Rounded Rectangle 73"/>
          <p:cNvSpPr/>
          <p:nvPr/>
        </p:nvSpPr>
        <p:spPr>
          <a:xfrm>
            <a:off x="345658" y="2913506"/>
            <a:ext cx="2887887" cy="891998"/>
          </a:xfrm>
          <a:prstGeom prst="roundRect">
            <a:avLst/>
          </a:prstGeom>
          <a:solidFill>
            <a:schemeClr val="accent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CA" sz="2195"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5" name="Rounded Rectangle 74"/>
          <p:cNvSpPr/>
          <p:nvPr/>
        </p:nvSpPr>
        <p:spPr>
          <a:xfrm>
            <a:off x="345659" y="2913506"/>
            <a:ext cx="483825" cy="889566"/>
          </a:xfrm>
          <a:prstGeom prst="roundRect">
            <a:avLst/>
          </a:prstGeom>
          <a:solidFill>
            <a:schemeClr val="accent2"/>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entury Gothic" panose="020F0302020204030204"/>
                <a:ea typeface="+mn-ea"/>
                <a:cs typeface="+mn-cs"/>
              </a:rPr>
              <a:t>L3</a:t>
            </a:r>
            <a:endParaRPr kumimoji="0" lang="en-CA" sz="24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6" name="TextBox 75"/>
          <p:cNvSpPr txBox="1"/>
          <p:nvPr/>
        </p:nvSpPr>
        <p:spPr>
          <a:xfrm>
            <a:off x="985948" y="3121142"/>
            <a:ext cx="2218773" cy="476726"/>
          </a:xfrm>
          <a:prstGeom prst="roundRect">
            <a:avLst/>
          </a:prstGeom>
          <a:noFill/>
        </p:spPr>
        <p:txBody>
          <a:bodyPr wrap="square" lIns="0" tIns="0" rIns="0" bIns="0" rtlCol="0" anchor="ctr">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Production Execution</a:t>
            </a: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MES / MOM)</a:t>
            </a:r>
            <a:endParaRPr kumimoji="0" lang="en-US" sz="1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7" name="Rounded Rectangle 76"/>
          <p:cNvSpPr/>
          <p:nvPr/>
        </p:nvSpPr>
        <p:spPr>
          <a:xfrm>
            <a:off x="345658" y="3928575"/>
            <a:ext cx="2887887" cy="891998"/>
          </a:xfrm>
          <a:prstGeom prst="roundRect">
            <a:avLst/>
          </a:prstGeom>
          <a:solidFill>
            <a:schemeClr val="accent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CA" sz="2195"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8" name="Rounded Rectangle 77"/>
          <p:cNvSpPr/>
          <p:nvPr/>
        </p:nvSpPr>
        <p:spPr>
          <a:xfrm>
            <a:off x="345659" y="3928575"/>
            <a:ext cx="483825" cy="888719"/>
          </a:xfrm>
          <a:prstGeom prst="roundRect">
            <a:avLst/>
          </a:prstGeom>
          <a:solidFill>
            <a:schemeClr val="accent2"/>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entury Gothic" panose="020F0302020204030204"/>
                <a:ea typeface="+mn-ea"/>
                <a:cs typeface="+mn-cs"/>
              </a:rPr>
              <a:t>L2</a:t>
            </a:r>
            <a:endParaRPr kumimoji="0" lang="en-CA" sz="24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9" name="TextBox 78"/>
          <p:cNvSpPr txBox="1"/>
          <p:nvPr/>
        </p:nvSpPr>
        <p:spPr>
          <a:xfrm>
            <a:off x="985948" y="4136211"/>
            <a:ext cx="2218773" cy="476726"/>
          </a:xfrm>
          <a:prstGeom prst="roundRect">
            <a:avLst/>
          </a:prstGeom>
          <a:noFill/>
        </p:spPr>
        <p:txBody>
          <a:bodyPr wrap="square" lIns="0" tIns="0" rIns="0" bIns="0" rtlCol="0" anchor="ctr">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Process Monitoring</a:t>
            </a: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HMI-SCADA)</a:t>
            </a:r>
            <a:endParaRPr kumimoji="0" lang="en-US" sz="1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80" name="Rounded Rectangle 79"/>
          <p:cNvSpPr/>
          <p:nvPr/>
        </p:nvSpPr>
        <p:spPr>
          <a:xfrm>
            <a:off x="345658" y="4945230"/>
            <a:ext cx="2887887" cy="891997"/>
          </a:xfrm>
          <a:prstGeom prst="roundRect">
            <a:avLst/>
          </a:prstGeom>
          <a:solidFill>
            <a:schemeClr val="accent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CA" sz="2195"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81" name="Rounded Rectangle 80"/>
          <p:cNvSpPr/>
          <p:nvPr/>
        </p:nvSpPr>
        <p:spPr>
          <a:xfrm>
            <a:off x="345659" y="4945229"/>
            <a:ext cx="483825" cy="886287"/>
          </a:xfrm>
          <a:prstGeom prst="roundRect">
            <a:avLst/>
          </a:prstGeom>
          <a:solidFill>
            <a:schemeClr val="accent2"/>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entury Gothic" panose="020F0302020204030204"/>
                <a:ea typeface="+mn-ea"/>
                <a:cs typeface="+mn-cs"/>
              </a:rPr>
              <a:t>L1</a:t>
            </a:r>
            <a:endParaRPr kumimoji="0" lang="en-CA" sz="24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94" name="TextBox 93"/>
          <p:cNvSpPr txBox="1"/>
          <p:nvPr/>
        </p:nvSpPr>
        <p:spPr>
          <a:xfrm>
            <a:off x="985948" y="5033684"/>
            <a:ext cx="2218773" cy="715089"/>
          </a:xfrm>
          <a:prstGeom prst="roundRect">
            <a:avLst/>
          </a:prstGeom>
          <a:noFill/>
        </p:spPr>
        <p:txBody>
          <a:bodyPr wrap="square" lIns="0" tIns="0" rIns="0" bIns="0" rtlCol="0" anchor="ctr">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Process Sensing, Manipulating</a:t>
            </a: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PLC)</a:t>
            </a:r>
            <a:endParaRPr kumimoji="0" lang="en-US" sz="1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95" name="Rounded Rectangle 94"/>
          <p:cNvSpPr/>
          <p:nvPr/>
        </p:nvSpPr>
        <p:spPr>
          <a:xfrm>
            <a:off x="345658" y="1922671"/>
            <a:ext cx="2887887" cy="867818"/>
          </a:xfrm>
          <a:prstGeom prst="roundRect">
            <a:avLst/>
          </a:prstGeom>
          <a:solidFill>
            <a:schemeClr val="accent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CA" sz="2195"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96" name="Rounded Rectangle 95"/>
          <p:cNvSpPr/>
          <p:nvPr/>
        </p:nvSpPr>
        <p:spPr>
          <a:xfrm>
            <a:off x="345659" y="1924312"/>
            <a:ext cx="483825" cy="864538"/>
          </a:xfrm>
          <a:prstGeom prst="roundRect">
            <a:avLst/>
          </a:prstGeom>
          <a:solidFill>
            <a:schemeClr val="accent2"/>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panose="020F0302020204030204"/>
                <a:ea typeface="+mn-ea"/>
                <a:cs typeface="+mn-cs"/>
              </a:rPr>
              <a:t>L4/L5</a:t>
            </a:r>
            <a:endParaRPr kumimoji="0" lang="en-CA" sz="20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97" name="TextBox 96"/>
          <p:cNvSpPr txBox="1"/>
          <p:nvPr/>
        </p:nvSpPr>
        <p:spPr>
          <a:xfrm>
            <a:off x="981259" y="1999037"/>
            <a:ext cx="2232889" cy="715089"/>
          </a:xfrm>
          <a:prstGeom prst="roundRect">
            <a:avLst/>
          </a:prstGeom>
          <a:noFill/>
        </p:spPr>
        <p:txBody>
          <a:bodyPr wrap="square" lIns="0" tIns="0" rIns="0" bIns="0" rtlCol="0" anchor="ctr">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Business Systems</a:t>
            </a:r>
            <a:b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b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ERP, SCM, PLM)</a:t>
            </a:r>
            <a:b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b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Governance &amp; planning</a:t>
            </a:r>
          </a:p>
        </p:txBody>
      </p:sp>
      <p:sp>
        <p:nvSpPr>
          <p:cNvPr id="2" name="TextBox 1"/>
          <p:cNvSpPr txBox="1"/>
          <p:nvPr/>
        </p:nvSpPr>
        <p:spPr>
          <a:xfrm>
            <a:off x="597269" y="1487559"/>
            <a:ext cx="2384664" cy="430887"/>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entury Gothic" panose="020F0302020204030204"/>
                <a:ea typeface="+mn-ea"/>
                <a:cs typeface="+mn-cs"/>
              </a:rPr>
              <a:t>ISA-95</a:t>
            </a:r>
            <a:endParaRPr kumimoji="0" lang="en-CA" sz="2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7" name="TextBox 36"/>
          <p:cNvSpPr txBox="1"/>
          <p:nvPr/>
        </p:nvSpPr>
        <p:spPr>
          <a:xfrm>
            <a:off x="1658645" y="6616711"/>
            <a:ext cx="718145" cy="184666"/>
          </a:xfrm>
          <a:prstGeom prst="rect">
            <a:avLst/>
          </a:prstGeom>
          <a:noFill/>
        </p:spPr>
        <p:txBody>
          <a:bodyPr wrap="none" lIns="0" tIns="0" rIns="0" bIns="0" rtlCol="0">
            <a:spAutoFit/>
          </a:bodyPr>
          <a:lstStyle/>
          <a:p>
            <a:pPr marL="0" marR="0" lvl="0" indent="0" algn="ctr" defTabSz="121885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38B00"/>
                </a:solidFill>
                <a:effectLst/>
                <a:uLnTx/>
                <a:uFillTx/>
                <a:latin typeface="Century Gothic" panose="020F0302020204030204"/>
                <a:ea typeface="+mn-ea"/>
                <a:cs typeface="+mn-cs"/>
              </a:rPr>
              <a:t>SUPPLIERS</a:t>
            </a:r>
          </a:p>
        </p:txBody>
      </p:sp>
      <p:sp>
        <p:nvSpPr>
          <p:cNvPr id="38" name="TextBox 37"/>
          <p:cNvSpPr txBox="1"/>
          <p:nvPr/>
        </p:nvSpPr>
        <p:spPr>
          <a:xfrm>
            <a:off x="2666627" y="6616711"/>
            <a:ext cx="1264770" cy="184666"/>
          </a:xfrm>
          <a:prstGeom prst="rect">
            <a:avLst/>
          </a:prstGeom>
          <a:noFill/>
        </p:spPr>
        <p:txBody>
          <a:bodyPr wrap="none" lIns="0" tIns="0" rIns="0" bIns="0" rtlCol="0">
            <a:spAutoFit/>
          </a:bodyPr>
          <a:lstStyle>
            <a:defPPr>
              <a:defRPr lang="en-US"/>
            </a:defPPr>
            <a:lvl1pPr algn="ctr" defTabSz="1218852">
              <a:defRPr sz="1100">
                <a:solidFill>
                  <a:schemeClr val="bg2"/>
                </a:solidFill>
              </a:defRPr>
            </a:lvl1pPr>
          </a:lstStyle>
          <a:p>
            <a:pPr marL="0" marR="0" lvl="0" indent="0" algn="ctr" defTabSz="121885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38B00"/>
                </a:solidFill>
                <a:effectLst/>
                <a:uLnTx/>
                <a:uFillTx/>
                <a:latin typeface="Century Gothic" panose="020F0302020204030204"/>
                <a:ea typeface="+mn-ea"/>
                <a:cs typeface="+mn-cs"/>
              </a:rPr>
              <a:t>ENVIRONMENTAL</a:t>
            </a:r>
          </a:p>
        </p:txBody>
      </p:sp>
      <p:sp>
        <p:nvSpPr>
          <p:cNvPr id="39" name="TextBox 38"/>
          <p:cNvSpPr txBox="1"/>
          <p:nvPr/>
        </p:nvSpPr>
        <p:spPr>
          <a:xfrm>
            <a:off x="615396" y="6616711"/>
            <a:ext cx="753412" cy="184666"/>
          </a:xfrm>
          <a:prstGeom prst="rect">
            <a:avLst/>
          </a:prstGeom>
          <a:noFill/>
        </p:spPr>
        <p:txBody>
          <a:bodyPr wrap="none" lIns="0" tIns="0" rIns="0" bIns="0" rtlCol="0">
            <a:spAutoFit/>
          </a:bodyPr>
          <a:lstStyle>
            <a:defPPr>
              <a:defRPr lang="en-US"/>
            </a:defPPr>
            <a:lvl1pPr algn="ctr" defTabSz="1218852">
              <a:defRPr sz="1100">
                <a:solidFill>
                  <a:schemeClr val="bg2"/>
                </a:solidFill>
              </a:defRPr>
            </a:lvl1pPr>
          </a:lstStyle>
          <a:p>
            <a:pPr marL="0" marR="0" lvl="0" indent="0" algn="ctr" defTabSz="121885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38B00"/>
                </a:solidFill>
                <a:effectLst/>
                <a:uLnTx/>
                <a:uFillTx/>
                <a:latin typeface="Century Gothic" panose="020F0302020204030204"/>
                <a:ea typeface="+mn-ea"/>
                <a:cs typeface="+mn-cs"/>
              </a:rPr>
              <a:t>LOGISTICS</a:t>
            </a:r>
          </a:p>
        </p:txBody>
      </p:sp>
      <p:sp>
        <p:nvSpPr>
          <p:cNvPr id="40" name="TextBox 39"/>
          <p:cNvSpPr txBox="1"/>
          <p:nvPr/>
        </p:nvSpPr>
        <p:spPr>
          <a:xfrm>
            <a:off x="4221235" y="6616711"/>
            <a:ext cx="1025923" cy="184666"/>
          </a:xfrm>
          <a:prstGeom prst="rect">
            <a:avLst/>
          </a:prstGeom>
          <a:noFill/>
        </p:spPr>
        <p:txBody>
          <a:bodyPr wrap="none" lIns="0" tIns="0" rIns="0" bIns="0" rtlCol="0">
            <a:spAutoFit/>
          </a:bodyPr>
          <a:lstStyle>
            <a:defPPr>
              <a:defRPr lang="en-US"/>
            </a:defPPr>
            <a:lvl1pPr algn="ctr" defTabSz="1218852">
              <a:defRPr sz="1100">
                <a:solidFill>
                  <a:schemeClr val="bg2"/>
                </a:solidFill>
              </a:defRPr>
            </a:lvl1pPr>
          </a:lstStyle>
          <a:p>
            <a:pPr marL="0" marR="0" lvl="0" indent="0" algn="ctr" defTabSz="121885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38B00"/>
                </a:solidFill>
                <a:effectLst/>
                <a:uLnTx/>
                <a:uFillTx/>
                <a:latin typeface="Century Gothic" panose="020F0302020204030204"/>
                <a:ea typeface="+mn-ea"/>
                <a:cs typeface="+mn-cs"/>
              </a:rPr>
              <a:t>IOT GATEWAY</a:t>
            </a:r>
          </a:p>
        </p:txBody>
      </p:sp>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5734" y="5987023"/>
            <a:ext cx="563967" cy="505221"/>
          </a:xfrm>
          <a:prstGeom prst="rect">
            <a:avLst/>
          </a:prstGeom>
        </p:spPr>
      </p:pic>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683090" y="6108609"/>
            <a:ext cx="618024" cy="383635"/>
          </a:xfrm>
          <a:prstGeom prst="rect">
            <a:avLst/>
          </a:prstGeom>
        </p:spPr>
      </p:pic>
      <p:pic>
        <p:nvPicPr>
          <p:cNvPr id="44" name="Picture 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84332" y="6045633"/>
            <a:ext cx="499728" cy="446611"/>
          </a:xfrm>
          <a:prstGeom prst="rect">
            <a:avLst/>
          </a:prstGeom>
        </p:spPr>
      </p:pic>
      <p:grpSp>
        <p:nvGrpSpPr>
          <p:cNvPr id="45" name="Group 44"/>
          <p:cNvGrpSpPr>
            <a:grpSpLocks noChangeAspect="1"/>
          </p:cNvGrpSpPr>
          <p:nvPr/>
        </p:nvGrpSpPr>
        <p:grpSpPr>
          <a:xfrm>
            <a:off x="2933750" y="5937160"/>
            <a:ext cx="730525" cy="555084"/>
            <a:chOff x="5204270" y="5571607"/>
            <a:chExt cx="1086383" cy="825480"/>
          </a:xfrm>
        </p:grpSpPr>
        <p:pic>
          <p:nvPicPr>
            <p:cNvPr id="46" name="Picture 4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4270" y="5723530"/>
              <a:ext cx="1086383" cy="673557"/>
            </a:xfrm>
            <a:prstGeom prst="rect">
              <a:avLst/>
            </a:prstGeom>
          </p:spPr>
        </p:pic>
        <p:pic>
          <p:nvPicPr>
            <p:cNvPr id="47" name="Picture 4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78858" y="5571607"/>
              <a:ext cx="290582" cy="365580"/>
            </a:xfrm>
            <a:prstGeom prst="rect">
              <a:avLst/>
            </a:prstGeom>
          </p:spPr>
        </p:pic>
        <p:pic>
          <p:nvPicPr>
            <p:cNvPr id="48" name="Picture 47"/>
            <p:cNvPicPr>
              <a:picLocks noChangeAspect="1"/>
            </p:cNvPicPr>
            <p:nvPr/>
          </p:nvPicPr>
          <p:blipFill>
            <a:blip r:embed="rId8" cstate="print">
              <a:extLst>
                <a:ext uri="{BEBA8EAE-BF5A-486C-A8C5-ECC9F3942E4B}">
                  <a14:imgProps xmlns:a14="http://schemas.microsoft.com/office/drawing/2010/main">
                    <a14:imgLayer r:embed="rId9">
                      <a14:imgEffect>
                        <a14:sharpenSoften amount="50000"/>
                      </a14:imgEffect>
                    </a14:imgLayer>
                  </a14:imgProps>
                </a:ext>
                <a:ext uri="{28A0092B-C50C-407E-A947-70E740481C1C}">
                  <a14:useLocalDpi xmlns:a14="http://schemas.microsoft.com/office/drawing/2010/main" val="0"/>
                </a:ext>
              </a:extLst>
            </a:blip>
            <a:stretch>
              <a:fillRect/>
            </a:stretch>
          </p:blipFill>
          <p:spPr>
            <a:xfrm>
              <a:off x="5550574" y="5838069"/>
              <a:ext cx="208978" cy="505581"/>
            </a:xfrm>
            <a:prstGeom prst="rect">
              <a:avLst/>
            </a:prstGeom>
          </p:spPr>
        </p:pic>
        <p:sp>
          <p:nvSpPr>
            <p:cNvPr id="49" name="TextBox 48"/>
            <p:cNvSpPr txBox="1"/>
            <p:nvPr/>
          </p:nvSpPr>
          <p:spPr>
            <a:xfrm>
              <a:off x="5858974" y="5700974"/>
              <a:ext cx="131114" cy="183082"/>
            </a:xfrm>
            <a:prstGeom prst="rect">
              <a:avLst/>
            </a:prstGeom>
            <a:noFill/>
          </p:spPr>
          <p:txBody>
            <a:bodyPr wrap="non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entury Gothic" panose="020F0302020204030204"/>
                  <a:ea typeface="+mn-ea"/>
                  <a:cs typeface="+mn-cs"/>
                </a:rPr>
                <a:t>%</a:t>
              </a:r>
            </a:p>
          </p:txBody>
        </p:sp>
      </p:grpSp>
      <p:sp>
        <p:nvSpPr>
          <p:cNvPr id="50" name="Content Placeholder 1"/>
          <p:cNvSpPr txBox="1">
            <a:spLocks/>
          </p:cNvSpPr>
          <p:nvPr/>
        </p:nvSpPr>
        <p:spPr>
          <a:xfrm>
            <a:off x="5035553" y="2355907"/>
            <a:ext cx="6804513" cy="2589322"/>
          </a:xfrm>
          <a:prstGeom prst="rect">
            <a:avLst/>
          </a:prstGeom>
        </p:spPr>
        <p:txBody>
          <a:bodyPr>
            <a:noAutofit/>
          </a:bodyPr>
          <a:lst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73582" marR="0" lvl="0" indent="-273582" algn="l" defTabSz="1086775" rtl="0" eaLnBrk="1" fontAlgn="auto" latinLnBrk="0" hangingPunct="1">
              <a:lnSpc>
                <a:spcPct val="90000"/>
              </a:lnSpc>
              <a:spcBef>
                <a:spcPts val="2139"/>
              </a:spcBef>
              <a:spcAft>
                <a:spcPts val="0"/>
              </a:spcAft>
              <a:buClr>
                <a:srgbClr val="FFFFFF"/>
              </a:buClr>
              <a:buSzTx/>
              <a:buFont typeface="Arial" pitchFamily="34" charset="0"/>
              <a:buChar char="•"/>
              <a:tabLst/>
              <a:defRPr/>
            </a:pPr>
            <a:r>
              <a:rPr kumimoji="0" lang="en-US" sz="2800" b="0" i="0" u="none" strike="noStrike" kern="1200" cap="none" spc="0" normalizeH="0" baseline="0" noProof="0" dirty="0">
                <a:ln>
                  <a:noFill/>
                </a:ln>
                <a:solidFill>
                  <a:srgbClr val="FFFFFF"/>
                </a:solidFill>
                <a:effectLst/>
                <a:uLnTx/>
                <a:uFillTx/>
                <a:latin typeface="Century Gothic" panose="020F0302020204030204"/>
                <a:ea typeface="+mn-ea"/>
                <a:cs typeface="+mn-cs"/>
              </a:rPr>
              <a:t>Disparate equipment &amp; data</a:t>
            </a:r>
          </a:p>
          <a:p>
            <a:pPr marL="273582" marR="0" lvl="0" indent="-273582" algn="l" defTabSz="1086775" rtl="0" eaLnBrk="1" fontAlgn="auto" latinLnBrk="0" hangingPunct="1">
              <a:lnSpc>
                <a:spcPct val="90000"/>
              </a:lnSpc>
              <a:spcBef>
                <a:spcPts val="2139"/>
              </a:spcBef>
              <a:spcAft>
                <a:spcPts val="0"/>
              </a:spcAft>
              <a:buClr>
                <a:srgbClr val="FFFFFF"/>
              </a:buClr>
              <a:buSzTx/>
              <a:buFont typeface="Arial" pitchFamily="34" charset="0"/>
              <a:buChar char="•"/>
              <a:tabLst/>
              <a:defRPr/>
            </a:pPr>
            <a:r>
              <a:rPr kumimoji="0" lang="en-US" sz="2800" b="0" i="0" u="none" strike="noStrike" kern="1200" cap="none" spc="0" normalizeH="0" baseline="0" noProof="0" dirty="0">
                <a:ln>
                  <a:noFill/>
                </a:ln>
                <a:solidFill>
                  <a:srgbClr val="FFFFFF"/>
                </a:solidFill>
                <a:effectLst/>
                <a:uLnTx/>
                <a:uFillTx/>
                <a:latin typeface="Century Gothic" panose="020F0302020204030204"/>
                <a:ea typeface="+mn-ea"/>
                <a:cs typeface="+mn-cs"/>
              </a:rPr>
              <a:t>Unique structures of data </a:t>
            </a:r>
          </a:p>
          <a:p>
            <a:pPr marL="273582" marR="0" lvl="0" indent="-273582" algn="l" defTabSz="1086775" rtl="0" eaLnBrk="1" fontAlgn="auto" latinLnBrk="0" hangingPunct="1">
              <a:lnSpc>
                <a:spcPct val="90000"/>
              </a:lnSpc>
              <a:spcBef>
                <a:spcPts val="2139"/>
              </a:spcBef>
              <a:spcAft>
                <a:spcPts val="0"/>
              </a:spcAft>
              <a:buClr>
                <a:srgbClr val="FFFFFF"/>
              </a:buClr>
              <a:buSzTx/>
              <a:buFont typeface="Arial" pitchFamily="34" charset="0"/>
              <a:buChar char="•"/>
              <a:tabLst/>
              <a:defRPr/>
            </a:pPr>
            <a:r>
              <a:rPr kumimoji="0" lang="en-US" sz="2800" b="0" i="0" u="none" strike="noStrike" kern="1200" cap="none" spc="0" normalizeH="0" baseline="0" noProof="0" dirty="0">
                <a:ln>
                  <a:noFill/>
                </a:ln>
                <a:solidFill>
                  <a:srgbClr val="FFFFFF"/>
                </a:solidFill>
                <a:effectLst/>
                <a:uLnTx/>
                <a:uFillTx/>
                <a:latin typeface="Century Gothic" panose="020F0302020204030204"/>
                <a:ea typeface="+mn-ea"/>
                <a:cs typeface="+mn-cs"/>
              </a:rPr>
              <a:t>Production sensitive networks</a:t>
            </a:r>
          </a:p>
          <a:p>
            <a:pPr marL="273582" marR="0" lvl="0" indent="-273582" algn="l" defTabSz="1086775" rtl="0" eaLnBrk="1" fontAlgn="auto" latinLnBrk="0" hangingPunct="1">
              <a:lnSpc>
                <a:spcPct val="90000"/>
              </a:lnSpc>
              <a:spcBef>
                <a:spcPts val="2139"/>
              </a:spcBef>
              <a:spcAft>
                <a:spcPts val="0"/>
              </a:spcAft>
              <a:buClr>
                <a:srgbClr val="FFFFFF"/>
              </a:buClr>
              <a:buSzTx/>
              <a:buFont typeface="Arial" pitchFamily="34" charset="0"/>
              <a:buChar char="•"/>
              <a:tabLst/>
              <a:defRPr/>
            </a:pPr>
            <a:r>
              <a:rPr kumimoji="0" lang="en-US" sz="2800" b="0" i="0" u="none" strike="noStrike" kern="1200" cap="none" spc="0" normalizeH="0" baseline="0" noProof="0" dirty="0">
                <a:ln>
                  <a:noFill/>
                </a:ln>
                <a:solidFill>
                  <a:srgbClr val="FFFFFF"/>
                </a:solidFill>
                <a:effectLst/>
                <a:uLnTx/>
                <a:uFillTx/>
                <a:latin typeface="Century Gothic" panose="020F0302020204030204"/>
                <a:ea typeface="+mn-ea"/>
                <a:cs typeface="+mn-cs"/>
              </a:rPr>
              <a:t>Rigid systems - costly to evolve</a:t>
            </a:r>
          </a:p>
          <a:p>
            <a:pPr marL="273582" marR="0" lvl="0" indent="-273582" algn="l" defTabSz="1086775" rtl="0" eaLnBrk="1" fontAlgn="auto" latinLnBrk="0" hangingPunct="1">
              <a:lnSpc>
                <a:spcPct val="90000"/>
              </a:lnSpc>
              <a:spcBef>
                <a:spcPts val="2139"/>
              </a:spcBef>
              <a:spcAft>
                <a:spcPts val="0"/>
              </a:spcAft>
              <a:buClr>
                <a:srgbClr val="FFFFFF"/>
              </a:buClr>
              <a:buSzTx/>
              <a:buFont typeface="Arial" pitchFamily="34" charset="0"/>
              <a:buChar char="•"/>
              <a:tabLst/>
              <a:defRPr/>
            </a:pPr>
            <a:r>
              <a:rPr kumimoji="0" lang="en-US" sz="2800" b="0" i="0" u="none" strike="noStrike" kern="1200" cap="none" spc="0" normalizeH="0" baseline="0" noProof="0" dirty="0">
                <a:ln>
                  <a:noFill/>
                </a:ln>
                <a:solidFill>
                  <a:srgbClr val="FFFFFF"/>
                </a:solidFill>
                <a:effectLst/>
                <a:uLnTx/>
                <a:uFillTx/>
                <a:latin typeface="Century Gothic" panose="020F0302020204030204"/>
                <a:ea typeface="+mn-ea"/>
                <a:cs typeface="+mn-cs"/>
              </a:rPr>
              <a:t>Rip and Replace Innovation</a:t>
            </a:r>
            <a:endParaRPr kumimoji="0" lang="en-US" sz="2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976057346"/>
      </p:ext>
    </p:extLst>
  </p:cSld>
  <p:clrMapOvr>
    <a:masterClrMapping/>
  </p:clrMapOvr>
  <p:transition spd="slow">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Left Arrow 41"/>
          <p:cNvSpPr/>
          <p:nvPr/>
        </p:nvSpPr>
        <p:spPr>
          <a:xfrm flipH="1">
            <a:off x="0" y="621149"/>
            <a:ext cx="3233545" cy="790044"/>
          </a:xfrm>
          <a:prstGeom prst="leftArrow">
            <a:avLst>
              <a:gd name="adj1" fmla="val 80946"/>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panose="020F0302020204030204"/>
                <a:ea typeface="+mn-ea"/>
                <a:cs typeface="+mn-cs"/>
              </a:rPr>
              <a:t>Current </a:t>
            </a:r>
          </a:p>
        </p:txBody>
      </p:sp>
      <p:sp>
        <p:nvSpPr>
          <p:cNvPr id="74" name="Rounded Rectangle 73"/>
          <p:cNvSpPr/>
          <p:nvPr/>
        </p:nvSpPr>
        <p:spPr>
          <a:xfrm>
            <a:off x="345658" y="2913506"/>
            <a:ext cx="2887887" cy="891998"/>
          </a:xfrm>
          <a:prstGeom prst="roundRect">
            <a:avLst/>
          </a:prstGeom>
          <a:solidFill>
            <a:schemeClr val="accent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CA" sz="2195"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5" name="Rounded Rectangle 74"/>
          <p:cNvSpPr/>
          <p:nvPr/>
        </p:nvSpPr>
        <p:spPr>
          <a:xfrm>
            <a:off x="345659" y="2913506"/>
            <a:ext cx="483825" cy="889566"/>
          </a:xfrm>
          <a:prstGeom prst="roundRect">
            <a:avLst/>
          </a:prstGeom>
          <a:solidFill>
            <a:schemeClr val="accent2"/>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entury Gothic" panose="020F0302020204030204"/>
                <a:ea typeface="+mn-ea"/>
                <a:cs typeface="+mn-cs"/>
              </a:rPr>
              <a:t>L3</a:t>
            </a:r>
            <a:endParaRPr kumimoji="0" lang="en-CA" sz="24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6" name="TextBox 75"/>
          <p:cNvSpPr txBox="1"/>
          <p:nvPr/>
        </p:nvSpPr>
        <p:spPr>
          <a:xfrm>
            <a:off x="985948" y="3121142"/>
            <a:ext cx="2218773" cy="476726"/>
          </a:xfrm>
          <a:prstGeom prst="roundRect">
            <a:avLst/>
          </a:prstGeom>
          <a:noFill/>
        </p:spPr>
        <p:txBody>
          <a:bodyPr wrap="square" lIns="0" tIns="0" rIns="0" bIns="0" rtlCol="0" anchor="ctr">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Production Execution</a:t>
            </a: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MES / MOM)</a:t>
            </a:r>
            <a:endParaRPr kumimoji="0" lang="en-US" sz="1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7" name="Rounded Rectangle 76"/>
          <p:cNvSpPr/>
          <p:nvPr/>
        </p:nvSpPr>
        <p:spPr>
          <a:xfrm>
            <a:off x="345658" y="3928575"/>
            <a:ext cx="2887887" cy="891998"/>
          </a:xfrm>
          <a:prstGeom prst="roundRect">
            <a:avLst/>
          </a:prstGeom>
          <a:solidFill>
            <a:schemeClr val="accent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CA" sz="2195"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8" name="Rounded Rectangle 77"/>
          <p:cNvSpPr/>
          <p:nvPr/>
        </p:nvSpPr>
        <p:spPr>
          <a:xfrm>
            <a:off x="345659" y="3928575"/>
            <a:ext cx="483825" cy="888719"/>
          </a:xfrm>
          <a:prstGeom prst="roundRect">
            <a:avLst/>
          </a:prstGeom>
          <a:solidFill>
            <a:schemeClr val="accent2"/>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entury Gothic" panose="020F0302020204030204"/>
                <a:ea typeface="+mn-ea"/>
                <a:cs typeface="+mn-cs"/>
              </a:rPr>
              <a:t>L2</a:t>
            </a:r>
            <a:endParaRPr kumimoji="0" lang="en-CA" sz="24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9" name="TextBox 78"/>
          <p:cNvSpPr txBox="1"/>
          <p:nvPr/>
        </p:nvSpPr>
        <p:spPr>
          <a:xfrm>
            <a:off x="985948" y="4136211"/>
            <a:ext cx="2218773" cy="476726"/>
          </a:xfrm>
          <a:prstGeom prst="roundRect">
            <a:avLst/>
          </a:prstGeom>
          <a:noFill/>
        </p:spPr>
        <p:txBody>
          <a:bodyPr wrap="square" lIns="0" tIns="0" rIns="0" bIns="0" rtlCol="0" anchor="ctr">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Process Monitoring</a:t>
            </a: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HMI-SCADA)</a:t>
            </a:r>
            <a:endParaRPr kumimoji="0" lang="en-US" sz="1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80" name="Rounded Rectangle 79"/>
          <p:cNvSpPr/>
          <p:nvPr/>
        </p:nvSpPr>
        <p:spPr>
          <a:xfrm>
            <a:off x="345658" y="4945230"/>
            <a:ext cx="2887887" cy="891997"/>
          </a:xfrm>
          <a:prstGeom prst="roundRect">
            <a:avLst/>
          </a:prstGeom>
          <a:solidFill>
            <a:schemeClr val="accent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CA" sz="2195"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81" name="Rounded Rectangle 80"/>
          <p:cNvSpPr/>
          <p:nvPr/>
        </p:nvSpPr>
        <p:spPr>
          <a:xfrm>
            <a:off x="345659" y="4945229"/>
            <a:ext cx="483825" cy="886287"/>
          </a:xfrm>
          <a:prstGeom prst="roundRect">
            <a:avLst/>
          </a:prstGeom>
          <a:solidFill>
            <a:schemeClr val="accent2"/>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entury Gothic" panose="020F0302020204030204"/>
                <a:ea typeface="+mn-ea"/>
                <a:cs typeface="+mn-cs"/>
              </a:rPr>
              <a:t>L1</a:t>
            </a:r>
            <a:endParaRPr kumimoji="0" lang="en-CA" sz="24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94" name="TextBox 93"/>
          <p:cNvSpPr txBox="1"/>
          <p:nvPr/>
        </p:nvSpPr>
        <p:spPr>
          <a:xfrm>
            <a:off x="985948" y="5033684"/>
            <a:ext cx="2218773" cy="715089"/>
          </a:xfrm>
          <a:prstGeom prst="roundRect">
            <a:avLst/>
          </a:prstGeom>
          <a:noFill/>
        </p:spPr>
        <p:txBody>
          <a:bodyPr wrap="square" lIns="0" tIns="0" rIns="0" bIns="0" rtlCol="0" anchor="ctr">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Process Sensing, Manipulating</a:t>
            </a: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PLC)</a:t>
            </a:r>
            <a:endParaRPr kumimoji="0" lang="en-US" sz="1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95" name="Rounded Rectangle 94"/>
          <p:cNvSpPr/>
          <p:nvPr/>
        </p:nvSpPr>
        <p:spPr>
          <a:xfrm>
            <a:off x="345658" y="1922671"/>
            <a:ext cx="2887887" cy="867818"/>
          </a:xfrm>
          <a:prstGeom prst="roundRect">
            <a:avLst/>
          </a:prstGeom>
          <a:solidFill>
            <a:schemeClr val="accent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CA" sz="2195"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96" name="Rounded Rectangle 95"/>
          <p:cNvSpPr/>
          <p:nvPr/>
        </p:nvSpPr>
        <p:spPr>
          <a:xfrm>
            <a:off x="345659" y="1924312"/>
            <a:ext cx="483825" cy="864538"/>
          </a:xfrm>
          <a:prstGeom prst="roundRect">
            <a:avLst/>
          </a:prstGeom>
          <a:solidFill>
            <a:schemeClr val="accent2"/>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panose="020F0302020204030204"/>
                <a:ea typeface="+mn-ea"/>
                <a:cs typeface="+mn-cs"/>
              </a:rPr>
              <a:t>L4/L5</a:t>
            </a:r>
            <a:endParaRPr kumimoji="0" lang="en-CA" sz="20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97" name="TextBox 96"/>
          <p:cNvSpPr txBox="1"/>
          <p:nvPr/>
        </p:nvSpPr>
        <p:spPr>
          <a:xfrm>
            <a:off x="981259" y="1999037"/>
            <a:ext cx="2232889" cy="715089"/>
          </a:xfrm>
          <a:prstGeom prst="roundRect">
            <a:avLst/>
          </a:prstGeom>
          <a:noFill/>
        </p:spPr>
        <p:txBody>
          <a:bodyPr wrap="square" lIns="0" tIns="0" rIns="0" bIns="0" rtlCol="0" anchor="ctr">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Business Systems</a:t>
            </a:r>
            <a:b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b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ERP, SCM, PLM)</a:t>
            </a:r>
            <a:b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br>
            <a:r>
              <a:rPr kumimoji="0" lang="en-CA" sz="1400" b="0" i="0" u="none" strike="noStrike" kern="1200" cap="none" spc="0" normalizeH="0" baseline="0" noProof="0" dirty="0">
                <a:ln>
                  <a:noFill/>
                </a:ln>
                <a:solidFill>
                  <a:srgbClr val="FFFFFF"/>
                </a:solidFill>
                <a:effectLst/>
                <a:uLnTx/>
                <a:uFillTx/>
                <a:latin typeface="Century Gothic" panose="020F0302020204030204"/>
                <a:ea typeface="+mn-ea"/>
                <a:cs typeface="+mn-cs"/>
              </a:rPr>
              <a:t>Governance &amp; planning</a:t>
            </a:r>
          </a:p>
        </p:txBody>
      </p:sp>
      <p:sp>
        <p:nvSpPr>
          <p:cNvPr id="2" name="TextBox 1"/>
          <p:cNvSpPr txBox="1"/>
          <p:nvPr/>
        </p:nvSpPr>
        <p:spPr>
          <a:xfrm>
            <a:off x="597269" y="1487559"/>
            <a:ext cx="2384664" cy="430887"/>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entury Gothic" panose="020F0302020204030204"/>
                <a:ea typeface="+mn-ea"/>
                <a:cs typeface="+mn-cs"/>
              </a:rPr>
              <a:t>ISA-95</a:t>
            </a:r>
            <a:endParaRPr kumimoji="0" lang="en-CA" sz="2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7" name="Rounded Rectangle 98"/>
          <p:cNvSpPr/>
          <p:nvPr/>
        </p:nvSpPr>
        <p:spPr>
          <a:xfrm>
            <a:off x="3477288" y="1922672"/>
            <a:ext cx="1804781" cy="3914556"/>
          </a:xfrm>
          <a:prstGeom prst="roundRect">
            <a:avLst>
              <a:gd name="adj" fmla="val 7029"/>
            </a:avLst>
          </a:prstGeom>
          <a:solidFill>
            <a:schemeClr val="accent3"/>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CA" sz="2195"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8" name="Isosceles Triangle 17"/>
          <p:cNvSpPr/>
          <p:nvPr/>
        </p:nvSpPr>
        <p:spPr>
          <a:xfrm rot="5400000">
            <a:off x="4008379" y="3195216"/>
            <a:ext cx="4327297" cy="1360911"/>
          </a:xfrm>
          <a:prstGeom prst="triangle">
            <a:avLst>
              <a:gd name="adj" fmla="val 5016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9" name="TextBox 18"/>
          <p:cNvSpPr txBox="1"/>
          <p:nvPr/>
        </p:nvSpPr>
        <p:spPr>
          <a:xfrm>
            <a:off x="5564764" y="3612358"/>
            <a:ext cx="1236185" cy="553998"/>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FFFFF"/>
                </a:solidFill>
                <a:effectLst/>
                <a:uLnTx/>
                <a:uFillTx/>
                <a:latin typeface="Century Gothic" panose="020F0302020204030204"/>
                <a:ea typeface="+mn-ea"/>
                <a:cs typeface="+mn-cs"/>
              </a:rPr>
              <a:t>Break-Thru Solutions</a:t>
            </a:r>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3579" y="1712023"/>
            <a:ext cx="228436" cy="588189"/>
          </a:xfrm>
          <a:prstGeom prst="rect">
            <a:avLst/>
          </a:prstGeom>
        </p:spPr>
      </p:pic>
      <p:sp>
        <p:nvSpPr>
          <p:cNvPr id="21" name="TextBox 20"/>
          <p:cNvSpPr txBox="1"/>
          <p:nvPr/>
        </p:nvSpPr>
        <p:spPr>
          <a:xfrm>
            <a:off x="6919039" y="2380951"/>
            <a:ext cx="1477516" cy="369332"/>
          </a:xfrm>
          <a:prstGeom prst="rect">
            <a:avLst/>
          </a:prstGeom>
          <a:noFill/>
        </p:spPr>
        <p:txBody>
          <a:bodyPr wrap="square" lIns="0" tIns="0" rIns="0" bIns="0" rtlCol="0" anchor="ctr">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CC04A"/>
                </a:solidFill>
                <a:effectLst/>
                <a:uLnTx/>
                <a:uFillTx/>
                <a:latin typeface="Century Gothic" panose="020F0302020204030204"/>
                <a:ea typeface="+mn-ea"/>
                <a:cs typeface="Myriad Pro"/>
              </a:rPr>
              <a:t>PLANT &amp; CORP.</a:t>
            </a: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CC04A"/>
                </a:solidFill>
                <a:effectLst/>
                <a:uLnTx/>
                <a:uFillTx/>
                <a:latin typeface="Century Gothic" panose="020F0302020204030204"/>
                <a:ea typeface="+mn-ea"/>
                <a:cs typeface="Myriad Pro"/>
              </a:rPr>
              <a:t>MANAGEMENT</a:t>
            </a:r>
          </a:p>
        </p:txBody>
      </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69537" y="1712023"/>
            <a:ext cx="228436" cy="588189"/>
          </a:xfrm>
          <a:prstGeom prst="rect">
            <a:avLst/>
          </a:prstGeom>
        </p:spPr>
      </p:pic>
      <p:sp>
        <p:nvSpPr>
          <p:cNvPr id="23" name="TextBox 22"/>
          <p:cNvSpPr txBox="1"/>
          <p:nvPr/>
        </p:nvSpPr>
        <p:spPr>
          <a:xfrm>
            <a:off x="8477290" y="2473284"/>
            <a:ext cx="1212930" cy="184666"/>
          </a:xfrm>
          <a:prstGeom prst="rect">
            <a:avLst/>
          </a:prstGeom>
          <a:noFill/>
        </p:spPr>
        <p:txBody>
          <a:bodyPr wrap="square" lIns="0" tIns="0" rIns="0" bIns="0" rtlCol="0" anchor="ctr">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CC04A"/>
                </a:solidFill>
                <a:effectLst/>
                <a:uLnTx/>
                <a:uFillTx/>
                <a:latin typeface="Century Gothic" panose="020F0302020204030204"/>
                <a:ea typeface="+mn-ea"/>
                <a:cs typeface="Myriad Pro"/>
              </a:rPr>
              <a:t>MAINTENANCE</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64132" y="1712023"/>
            <a:ext cx="228436" cy="588189"/>
          </a:xfrm>
          <a:prstGeom prst="rect">
            <a:avLst/>
          </a:prstGeom>
        </p:spPr>
      </p:pic>
      <p:sp>
        <p:nvSpPr>
          <p:cNvPr id="25" name="TextBox 24"/>
          <p:cNvSpPr txBox="1"/>
          <p:nvPr/>
        </p:nvSpPr>
        <p:spPr>
          <a:xfrm>
            <a:off x="9938881" y="2473284"/>
            <a:ext cx="678938" cy="184666"/>
          </a:xfrm>
          <a:prstGeom prst="rect">
            <a:avLst/>
          </a:prstGeom>
          <a:noFill/>
        </p:spPr>
        <p:txBody>
          <a:bodyPr wrap="square" lIns="0" tIns="0" rIns="0" bIns="0" rtlCol="0" anchor="ctr">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CC04A"/>
                </a:solidFill>
                <a:effectLst/>
                <a:uLnTx/>
                <a:uFillTx/>
                <a:latin typeface="Century Gothic" panose="020F0302020204030204"/>
                <a:ea typeface="+mn-ea"/>
                <a:cs typeface="Myriad Pro"/>
              </a:rPr>
              <a:t>QUALITY</a:t>
            </a:r>
          </a:p>
        </p:txBody>
      </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53819" y="1712023"/>
            <a:ext cx="228436" cy="588189"/>
          </a:xfrm>
          <a:prstGeom prst="rect">
            <a:avLst/>
          </a:prstGeom>
        </p:spPr>
      </p:pic>
      <p:sp>
        <p:nvSpPr>
          <p:cNvPr id="27" name="TextBox 26"/>
          <p:cNvSpPr txBox="1"/>
          <p:nvPr/>
        </p:nvSpPr>
        <p:spPr>
          <a:xfrm>
            <a:off x="10866479" y="2473284"/>
            <a:ext cx="1007759" cy="184666"/>
          </a:xfrm>
          <a:prstGeom prst="rect">
            <a:avLst/>
          </a:prstGeom>
          <a:noFill/>
        </p:spPr>
        <p:txBody>
          <a:bodyPr wrap="square" lIns="0" tIns="0" rIns="0" bIns="0" rtlCol="0" anchor="ctr">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CC04A"/>
                </a:solidFill>
                <a:effectLst/>
                <a:uLnTx/>
                <a:uFillTx/>
                <a:latin typeface="Century Gothic" panose="020F0302020204030204"/>
                <a:ea typeface="+mn-ea"/>
                <a:cs typeface="Myriad Pro"/>
              </a:rPr>
              <a:t>OPERATORS</a:t>
            </a:r>
          </a:p>
        </p:txBody>
      </p:sp>
      <p:sp>
        <p:nvSpPr>
          <p:cNvPr id="28" name="TextBox 27"/>
          <p:cNvSpPr txBox="1"/>
          <p:nvPr/>
        </p:nvSpPr>
        <p:spPr>
          <a:xfrm>
            <a:off x="7258665" y="3079705"/>
            <a:ext cx="4876627" cy="3148554"/>
          </a:xfrm>
          <a:prstGeom prst="rect">
            <a:avLst/>
          </a:prstGeom>
          <a:noFill/>
        </p:spPr>
        <p:txBody>
          <a:bodyPr wrap="square" lIns="0" tIns="0" rIns="0" bIns="0" rtlCol="0" anchor="ctr">
            <a:spAutoFit/>
          </a:bodyPr>
          <a:lstStyle/>
          <a:p>
            <a:pPr marL="228600" marR="0" lvl="0" indent="-228600" algn="l" defTabSz="1086775"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entury Gothic" panose="020F0302020204030204"/>
                <a:ea typeface="+mn-ea"/>
                <a:cs typeface="+mn-cs"/>
              </a:rPr>
              <a:t>Connected</a:t>
            </a:r>
          </a:p>
          <a:p>
            <a:pPr marL="228600" marR="0" lvl="0" indent="-228600" algn="l" defTabSz="1086775"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entury Gothic" panose="020F0302020204030204"/>
                <a:ea typeface="+mn-ea"/>
                <a:cs typeface="+mn-cs"/>
              </a:rPr>
              <a:t>Real-time</a:t>
            </a:r>
          </a:p>
          <a:p>
            <a:pPr marL="228600" marR="0" lvl="0" indent="-228600" algn="l" defTabSz="1086775"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entury Gothic" panose="020F0302020204030204"/>
                <a:ea typeface="+mn-ea"/>
                <a:cs typeface="+mn-cs"/>
              </a:rPr>
              <a:t>Role-based</a:t>
            </a:r>
          </a:p>
          <a:p>
            <a:pPr marL="228600" marR="0" lvl="0" indent="-228600" algn="l" defTabSz="1086775"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entury Gothic" panose="020F0302020204030204"/>
                <a:ea typeface="+mn-ea"/>
                <a:cs typeface="+mn-cs"/>
              </a:rPr>
              <a:t>Predictive / Prescriptive</a:t>
            </a:r>
          </a:p>
          <a:p>
            <a:pPr marL="228600" marR="0" lvl="0" indent="-228600" algn="l" defTabSz="1086775"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entury Gothic" panose="020F0302020204030204"/>
                <a:ea typeface="+mn-ea"/>
                <a:cs typeface="+mn-cs"/>
              </a:rPr>
              <a:t>Mobile &amp; augmented</a:t>
            </a:r>
          </a:p>
          <a:p>
            <a:pPr marL="228600" marR="0" lvl="0" indent="-228600" algn="l" defTabSz="1086775"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entury Gothic" panose="020F0302020204030204"/>
                <a:ea typeface="+mn-ea"/>
                <a:cs typeface="+mn-cs"/>
              </a:rPr>
              <a:t>Wrap and extend Innovation</a:t>
            </a:r>
          </a:p>
        </p:txBody>
      </p:sp>
      <p:sp>
        <p:nvSpPr>
          <p:cNvPr id="29" name="Left Arrow 42"/>
          <p:cNvSpPr/>
          <p:nvPr/>
        </p:nvSpPr>
        <p:spPr>
          <a:xfrm>
            <a:off x="3233545" y="621149"/>
            <a:ext cx="8958455" cy="790044"/>
          </a:xfrm>
          <a:prstGeom prst="rightArrow">
            <a:avLst>
              <a:gd name="adj1" fmla="val 88182"/>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panose="020F0302020204030204"/>
                <a:ea typeface="+mn-ea"/>
                <a:cs typeface="+mn-cs"/>
              </a:rPr>
              <a:t>Industrial Innovation Platform</a:t>
            </a:r>
          </a:p>
        </p:txBody>
      </p:sp>
      <p:sp>
        <p:nvSpPr>
          <p:cNvPr id="30" name="Rounded Rectangle 67"/>
          <p:cNvSpPr/>
          <p:nvPr/>
        </p:nvSpPr>
        <p:spPr>
          <a:xfrm>
            <a:off x="3470163" y="1865967"/>
            <a:ext cx="1811906" cy="706304"/>
          </a:xfrm>
          <a:prstGeom prst="roundRect">
            <a:avLst>
              <a:gd name="adj" fmla="val 27655"/>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entury Gothic" panose="020F0302020204030204"/>
                <a:ea typeface="+mn-ea"/>
                <a:cs typeface="+mn-cs"/>
              </a:rPr>
              <a:t>Innovation Platform</a:t>
            </a:r>
            <a:endParaRPr kumimoji="0" lang="en-CA" sz="24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1" name="TextBox 30"/>
          <p:cNvSpPr txBox="1"/>
          <p:nvPr/>
        </p:nvSpPr>
        <p:spPr>
          <a:xfrm>
            <a:off x="3541562" y="5274774"/>
            <a:ext cx="1618405" cy="306467"/>
          </a:xfrm>
          <a:prstGeom prst="roundRect">
            <a:avLst/>
          </a:prstGeom>
          <a:noFill/>
        </p:spPr>
        <p:txBody>
          <a:bodyPr wrap="square" lIns="0" tIns="0" rIns="0" bIns="0" rtlCol="0" anchor="ctr">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rPr>
              <a:t>Source</a:t>
            </a: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7" name="TextBox 36"/>
          <p:cNvSpPr txBox="1"/>
          <p:nvPr/>
        </p:nvSpPr>
        <p:spPr>
          <a:xfrm>
            <a:off x="1658645" y="6616711"/>
            <a:ext cx="718145" cy="184666"/>
          </a:xfrm>
          <a:prstGeom prst="rect">
            <a:avLst/>
          </a:prstGeom>
          <a:noFill/>
        </p:spPr>
        <p:txBody>
          <a:bodyPr wrap="none" lIns="0" tIns="0" rIns="0" bIns="0" rtlCol="0">
            <a:spAutoFit/>
          </a:bodyPr>
          <a:lstStyle/>
          <a:p>
            <a:pPr marL="0" marR="0" lvl="0" indent="0" algn="ctr" defTabSz="121885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38B00"/>
                </a:solidFill>
                <a:effectLst/>
                <a:uLnTx/>
                <a:uFillTx/>
                <a:latin typeface="Century Gothic" panose="020F0302020204030204"/>
                <a:ea typeface="+mn-ea"/>
                <a:cs typeface="+mn-cs"/>
              </a:rPr>
              <a:t>SUPPLIERS</a:t>
            </a:r>
          </a:p>
        </p:txBody>
      </p:sp>
      <p:sp>
        <p:nvSpPr>
          <p:cNvPr id="38" name="TextBox 37"/>
          <p:cNvSpPr txBox="1"/>
          <p:nvPr/>
        </p:nvSpPr>
        <p:spPr>
          <a:xfrm>
            <a:off x="2666627" y="6616711"/>
            <a:ext cx="1264770" cy="184666"/>
          </a:xfrm>
          <a:prstGeom prst="rect">
            <a:avLst/>
          </a:prstGeom>
          <a:noFill/>
        </p:spPr>
        <p:txBody>
          <a:bodyPr wrap="none" lIns="0" tIns="0" rIns="0" bIns="0" rtlCol="0">
            <a:spAutoFit/>
          </a:bodyPr>
          <a:lstStyle>
            <a:defPPr>
              <a:defRPr lang="en-US"/>
            </a:defPPr>
            <a:lvl1pPr algn="ctr" defTabSz="1218852">
              <a:defRPr sz="1100">
                <a:solidFill>
                  <a:schemeClr val="bg2"/>
                </a:solidFill>
              </a:defRPr>
            </a:lvl1pPr>
          </a:lstStyle>
          <a:p>
            <a:pPr marL="0" marR="0" lvl="0" indent="0" algn="ctr" defTabSz="121885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38B00"/>
                </a:solidFill>
                <a:effectLst/>
                <a:uLnTx/>
                <a:uFillTx/>
                <a:latin typeface="Century Gothic" panose="020F0302020204030204"/>
                <a:ea typeface="+mn-ea"/>
                <a:cs typeface="+mn-cs"/>
              </a:rPr>
              <a:t>ENVIRONMENTAL</a:t>
            </a:r>
          </a:p>
        </p:txBody>
      </p:sp>
      <p:sp>
        <p:nvSpPr>
          <p:cNvPr id="39" name="TextBox 38"/>
          <p:cNvSpPr txBox="1"/>
          <p:nvPr/>
        </p:nvSpPr>
        <p:spPr>
          <a:xfrm>
            <a:off x="615396" y="6616711"/>
            <a:ext cx="753412" cy="184666"/>
          </a:xfrm>
          <a:prstGeom prst="rect">
            <a:avLst/>
          </a:prstGeom>
          <a:noFill/>
        </p:spPr>
        <p:txBody>
          <a:bodyPr wrap="none" lIns="0" tIns="0" rIns="0" bIns="0" rtlCol="0">
            <a:spAutoFit/>
          </a:bodyPr>
          <a:lstStyle>
            <a:defPPr>
              <a:defRPr lang="en-US"/>
            </a:defPPr>
            <a:lvl1pPr algn="ctr" defTabSz="1218852">
              <a:defRPr sz="1100">
                <a:solidFill>
                  <a:schemeClr val="bg2"/>
                </a:solidFill>
              </a:defRPr>
            </a:lvl1pPr>
          </a:lstStyle>
          <a:p>
            <a:pPr marL="0" marR="0" lvl="0" indent="0" algn="ctr" defTabSz="121885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38B00"/>
                </a:solidFill>
                <a:effectLst/>
                <a:uLnTx/>
                <a:uFillTx/>
                <a:latin typeface="Century Gothic" panose="020F0302020204030204"/>
                <a:ea typeface="+mn-ea"/>
                <a:cs typeface="+mn-cs"/>
              </a:rPr>
              <a:t>LOGISTICS</a:t>
            </a:r>
          </a:p>
        </p:txBody>
      </p:sp>
      <p:sp>
        <p:nvSpPr>
          <p:cNvPr id="40" name="TextBox 39"/>
          <p:cNvSpPr txBox="1"/>
          <p:nvPr/>
        </p:nvSpPr>
        <p:spPr>
          <a:xfrm>
            <a:off x="4221235" y="6616711"/>
            <a:ext cx="1025923" cy="184666"/>
          </a:xfrm>
          <a:prstGeom prst="rect">
            <a:avLst/>
          </a:prstGeom>
          <a:noFill/>
        </p:spPr>
        <p:txBody>
          <a:bodyPr wrap="none" lIns="0" tIns="0" rIns="0" bIns="0" rtlCol="0">
            <a:spAutoFit/>
          </a:bodyPr>
          <a:lstStyle>
            <a:defPPr>
              <a:defRPr lang="en-US"/>
            </a:defPPr>
            <a:lvl1pPr algn="ctr" defTabSz="1218852">
              <a:defRPr sz="1100">
                <a:solidFill>
                  <a:schemeClr val="bg2"/>
                </a:solidFill>
              </a:defRPr>
            </a:lvl1pPr>
          </a:lstStyle>
          <a:p>
            <a:pPr marL="0" marR="0" lvl="0" indent="0" algn="ctr" defTabSz="121885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38B00"/>
                </a:solidFill>
                <a:effectLst/>
                <a:uLnTx/>
                <a:uFillTx/>
                <a:latin typeface="Century Gothic" panose="020F0302020204030204"/>
                <a:ea typeface="+mn-ea"/>
                <a:cs typeface="+mn-cs"/>
              </a:rPr>
              <a:t>IOT GATEWAY</a:t>
            </a:r>
          </a:p>
        </p:txBody>
      </p:sp>
      <p:pic>
        <p:nvPicPr>
          <p:cNvPr id="41" name="Picture 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35734" y="5987023"/>
            <a:ext cx="563967" cy="505221"/>
          </a:xfrm>
          <a:prstGeom prst="rect">
            <a:avLst/>
          </a:prstGeom>
        </p:spPr>
      </p:pic>
      <p:pic>
        <p:nvPicPr>
          <p:cNvPr id="43" name="Picture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683090" y="6108609"/>
            <a:ext cx="618024" cy="383635"/>
          </a:xfrm>
          <a:prstGeom prst="rect">
            <a:avLst/>
          </a:prstGeom>
        </p:spPr>
      </p:pic>
      <p:pic>
        <p:nvPicPr>
          <p:cNvPr id="44" name="Picture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84332" y="6045633"/>
            <a:ext cx="499728" cy="446611"/>
          </a:xfrm>
          <a:prstGeom prst="rect">
            <a:avLst/>
          </a:prstGeom>
        </p:spPr>
      </p:pic>
      <p:grpSp>
        <p:nvGrpSpPr>
          <p:cNvPr id="45" name="Group 44"/>
          <p:cNvGrpSpPr>
            <a:grpSpLocks noChangeAspect="1"/>
          </p:cNvGrpSpPr>
          <p:nvPr/>
        </p:nvGrpSpPr>
        <p:grpSpPr>
          <a:xfrm>
            <a:off x="2933750" y="5937160"/>
            <a:ext cx="730525" cy="555084"/>
            <a:chOff x="5204270" y="5571607"/>
            <a:chExt cx="1086383" cy="825480"/>
          </a:xfrm>
        </p:grpSpPr>
        <p:pic>
          <p:nvPicPr>
            <p:cNvPr id="46" name="Picture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04270" y="5723530"/>
              <a:ext cx="1086383" cy="673557"/>
            </a:xfrm>
            <a:prstGeom prst="rect">
              <a:avLst/>
            </a:prstGeom>
          </p:spPr>
        </p:pic>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78858" y="5571607"/>
              <a:ext cx="290582" cy="365580"/>
            </a:xfrm>
            <a:prstGeom prst="rect">
              <a:avLst/>
            </a:prstGeom>
          </p:spPr>
        </p:pic>
        <p:pic>
          <p:nvPicPr>
            <p:cNvPr id="48" name="Picture 47"/>
            <p:cNvPicPr>
              <a:picLocks noChangeAspect="1"/>
            </p:cNvPicPr>
            <p:nvPr/>
          </p:nvPicPr>
          <p:blipFill>
            <a:blip r:embed="rId9" cstate="print">
              <a:extLst>
                <a:ext uri="{BEBA8EAE-BF5A-486C-A8C5-ECC9F3942E4B}">
                  <a14:imgProps xmlns:a14="http://schemas.microsoft.com/office/drawing/2010/main">
                    <a14:imgLayer r:embed="rId10">
                      <a14:imgEffect>
                        <a14:sharpenSoften amount="50000"/>
                      </a14:imgEffect>
                    </a14:imgLayer>
                  </a14:imgProps>
                </a:ext>
                <a:ext uri="{28A0092B-C50C-407E-A947-70E740481C1C}">
                  <a14:useLocalDpi xmlns:a14="http://schemas.microsoft.com/office/drawing/2010/main" val="0"/>
                </a:ext>
              </a:extLst>
            </a:blip>
            <a:stretch>
              <a:fillRect/>
            </a:stretch>
          </p:blipFill>
          <p:spPr>
            <a:xfrm>
              <a:off x="5550574" y="5838069"/>
              <a:ext cx="208978" cy="505581"/>
            </a:xfrm>
            <a:prstGeom prst="rect">
              <a:avLst/>
            </a:prstGeom>
          </p:spPr>
        </p:pic>
        <p:sp>
          <p:nvSpPr>
            <p:cNvPr id="49" name="TextBox 48"/>
            <p:cNvSpPr txBox="1"/>
            <p:nvPr/>
          </p:nvSpPr>
          <p:spPr>
            <a:xfrm>
              <a:off x="5858974" y="5700974"/>
              <a:ext cx="131114" cy="183082"/>
            </a:xfrm>
            <a:prstGeom prst="rect">
              <a:avLst/>
            </a:prstGeom>
            <a:noFill/>
          </p:spPr>
          <p:txBody>
            <a:bodyPr wrap="non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entury Gothic" panose="020F0302020204030204"/>
                  <a:ea typeface="+mn-ea"/>
                  <a:cs typeface="+mn-cs"/>
                </a:rPr>
                <a:t>%</a:t>
              </a:r>
            </a:p>
          </p:txBody>
        </p:sp>
      </p:grpSp>
      <p:sp>
        <p:nvSpPr>
          <p:cNvPr id="3" name="TextBox 2"/>
          <p:cNvSpPr txBox="1"/>
          <p:nvPr/>
        </p:nvSpPr>
        <p:spPr>
          <a:xfrm>
            <a:off x="350688" y="123914"/>
            <a:ext cx="7981352" cy="430887"/>
          </a:xfrm>
          <a:prstGeom prst="rect">
            <a:avLst/>
          </a:prstGeom>
          <a:noFill/>
        </p:spPr>
        <p:txBody>
          <a:bodyPr wrap="non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entury Gothic" panose="020F0302020204030204"/>
                <a:ea typeface="+mn-ea"/>
                <a:cs typeface="+mn-cs"/>
              </a:rPr>
              <a:t>“DIGITAL” INDUSTRIAL INNOVATION PLATFORM</a:t>
            </a:r>
          </a:p>
        </p:txBody>
      </p:sp>
      <p:sp>
        <p:nvSpPr>
          <p:cNvPr id="50" name="TextBox 49"/>
          <p:cNvSpPr txBox="1"/>
          <p:nvPr/>
        </p:nvSpPr>
        <p:spPr>
          <a:xfrm>
            <a:off x="3541562" y="4664005"/>
            <a:ext cx="1618405" cy="306467"/>
          </a:xfrm>
          <a:prstGeom prst="roundRect">
            <a:avLst/>
          </a:prstGeom>
          <a:noFill/>
        </p:spPr>
        <p:txBody>
          <a:bodyPr wrap="square" lIns="0" tIns="0" rIns="0" bIns="0" rtlCol="0" anchor="ctr">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rPr>
              <a:t>Contextualize</a:t>
            </a: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51" name="TextBox 50"/>
          <p:cNvSpPr txBox="1"/>
          <p:nvPr/>
        </p:nvSpPr>
        <p:spPr>
          <a:xfrm>
            <a:off x="3541562" y="4053237"/>
            <a:ext cx="1618405" cy="306467"/>
          </a:xfrm>
          <a:prstGeom prst="roundRect">
            <a:avLst/>
          </a:prstGeom>
          <a:noFill/>
        </p:spPr>
        <p:txBody>
          <a:bodyPr wrap="square" lIns="0" tIns="0" rIns="0" bIns="0" rtlCol="0" anchor="ctr">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rPr>
              <a:t>Synthesize</a:t>
            </a: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52" name="TextBox 51"/>
          <p:cNvSpPr txBox="1"/>
          <p:nvPr/>
        </p:nvSpPr>
        <p:spPr>
          <a:xfrm>
            <a:off x="3541562" y="3442469"/>
            <a:ext cx="1618405" cy="306467"/>
          </a:xfrm>
          <a:prstGeom prst="roundRect">
            <a:avLst/>
          </a:prstGeom>
          <a:noFill/>
        </p:spPr>
        <p:txBody>
          <a:bodyPr wrap="square" lIns="0" tIns="0" rIns="0" bIns="0" rtlCol="0" anchor="ctr">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rPr>
              <a:t>Orchestrate</a:t>
            </a: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53" name="TextBox 52"/>
          <p:cNvSpPr txBox="1"/>
          <p:nvPr/>
        </p:nvSpPr>
        <p:spPr>
          <a:xfrm>
            <a:off x="3541562" y="2831701"/>
            <a:ext cx="1618405" cy="306467"/>
          </a:xfrm>
          <a:prstGeom prst="roundRect">
            <a:avLst/>
          </a:prstGeom>
          <a:noFill/>
        </p:spPr>
        <p:txBody>
          <a:bodyPr wrap="square" lIns="0" tIns="0" rIns="0" bIns="0" rtlCol="0" anchor="ctr">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rPr>
              <a:t>Engage</a:t>
            </a: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836669700"/>
      </p:ext>
    </p:extLst>
  </p:cSld>
  <p:clrMapOvr>
    <a:masterClrMapping/>
  </p:clrMapOvr>
  <p:transition spd="slow">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ounded Rectangle 74"/>
          <p:cNvSpPr/>
          <p:nvPr/>
        </p:nvSpPr>
        <p:spPr>
          <a:xfrm>
            <a:off x="2074594" y="1517030"/>
            <a:ext cx="810988" cy="401776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2" name="Title 1"/>
          <p:cNvSpPr>
            <a:spLocks noGrp="1"/>
          </p:cNvSpPr>
          <p:nvPr>
            <p:ph type="title"/>
          </p:nvPr>
        </p:nvSpPr>
        <p:spPr/>
        <p:txBody>
          <a:bodyPr/>
          <a:lstStyle/>
          <a:p>
            <a:r>
              <a:rPr lang="en-CA" dirty="0"/>
              <a:t>ThingWorx Solutions Span Technology layers</a:t>
            </a:r>
            <a:endParaRPr lang="en-US" dirty="0"/>
          </a:p>
        </p:txBody>
      </p:sp>
      <p:sp>
        <p:nvSpPr>
          <p:cNvPr id="39" name="TextBox 38"/>
          <p:cNvSpPr txBox="1"/>
          <p:nvPr/>
        </p:nvSpPr>
        <p:spPr>
          <a:xfrm>
            <a:off x="838200" y="998376"/>
            <a:ext cx="4954384" cy="307777"/>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entury Gothic" panose="020F0302020204030204"/>
                <a:ea typeface="+mn-ea"/>
                <a:cs typeface="+mn-cs"/>
              </a:rPr>
              <a:t>Traditional System Landscape</a:t>
            </a:r>
            <a:endParaRPr kumimoji="0" lang="en-US" sz="20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54" name="Picture 53"/>
          <p:cNvPicPr>
            <a:picLocks noChangeAspect="1"/>
          </p:cNvPicPr>
          <p:nvPr/>
        </p:nvPicPr>
        <p:blipFill rotWithShape="1">
          <a:blip r:embed="rId3" cstate="print">
            <a:duotone>
              <a:srgbClr val="4F81BD">
                <a:shade val="45000"/>
                <a:satMod val="135000"/>
              </a:srgbClr>
              <a:prstClr val="white"/>
            </a:duotone>
          </a:blip>
          <a:srcRect b="15090"/>
          <a:stretch/>
        </p:blipFill>
        <p:spPr>
          <a:xfrm>
            <a:off x="2784855" y="5720925"/>
            <a:ext cx="728515" cy="616156"/>
          </a:xfrm>
          <a:prstGeom prst="rect">
            <a:avLst/>
          </a:prstGeom>
        </p:spPr>
      </p:pic>
      <p:sp>
        <p:nvSpPr>
          <p:cNvPr id="52" name="TextBox 51"/>
          <p:cNvSpPr txBox="1"/>
          <p:nvPr/>
        </p:nvSpPr>
        <p:spPr>
          <a:xfrm>
            <a:off x="2599597" y="6261556"/>
            <a:ext cx="1099026" cy="215444"/>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6CC04A"/>
                </a:solidFill>
                <a:effectLst/>
                <a:uLnTx/>
                <a:uFillTx/>
                <a:latin typeface="Century Gothic" panose="020F0302020204030204"/>
                <a:ea typeface="+mn-ea"/>
                <a:cs typeface="+mn-cs"/>
              </a:rPr>
              <a:t>Logistics</a:t>
            </a:r>
            <a:endParaRPr kumimoji="0" lang="en-US" sz="1400"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sp>
        <p:nvSpPr>
          <p:cNvPr id="56" name="TextBox 55"/>
          <p:cNvSpPr txBox="1"/>
          <p:nvPr/>
        </p:nvSpPr>
        <p:spPr>
          <a:xfrm>
            <a:off x="3698623" y="6261556"/>
            <a:ext cx="1099026" cy="215444"/>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6CC04A"/>
                </a:solidFill>
                <a:effectLst/>
                <a:uLnTx/>
                <a:uFillTx/>
                <a:latin typeface="Century Gothic" panose="020F0302020204030204"/>
                <a:ea typeface="+mn-ea"/>
                <a:cs typeface="+mn-cs"/>
              </a:rPr>
              <a:t>Suppliers</a:t>
            </a:r>
            <a:endParaRPr kumimoji="0" lang="en-US" sz="1400"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pic>
        <p:nvPicPr>
          <p:cNvPr id="57" name="Picture 56" descr="factory.png"/>
          <p:cNvPicPr>
            <a:picLocks noChangeAspect="1"/>
          </p:cNvPicPr>
          <p:nvPr/>
        </p:nvPicPr>
        <p:blipFill>
          <a:blip r:embed="rId4" cstate="print">
            <a:duotone>
              <a:srgbClr val="4F81BD">
                <a:shade val="45000"/>
                <a:satMod val="135000"/>
              </a:srgbClr>
              <a:prstClr val="white"/>
            </a:duotone>
            <a:extLst>
              <a:ext uri="{BEBA8EAE-BF5A-486C-A8C5-ECC9F3942E4B}">
                <a14:imgProps xmlns:a14="http://schemas.microsoft.com/office/drawing/2010/main">
                  <a14:imgLayer r:embed="rId5">
                    <a14:imgEffect>
                      <a14:brightnessContrast contrast="26000"/>
                    </a14:imgEffect>
                  </a14:imgLayer>
                </a14:imgProps>
              </a:ext>
              <a:ext uri="{28A0092B-C50C-407E-A947-70E740481C1C}">
                <a14:useLocalDpi xmlns:a14="http://schemas.microsoft.com/office/drawing/2010/main" val="0"/>
              </a:ext>
            </a:extLst>
          </a:blip>
          <a:stretch>
            <a:fillRect/>
          </a:stretch>
        </p:blipFill>
        <p:spPr>
          <a:xfrm>
            <a:off x="3968779" y="5720927"/>
            <a:ext cx="558719" cy="524841"/>
          </a:xfrm>
          <a:prstGeom prst="rect">
            <a:avLst/>
          </a:prstGeom>
        </p:spPr>
      </p:pic>
      <p:sp>
        <p:nvSpPr>
          <p:cNvPr id="72" name="Rounded Rectangle 71"/>
          <p:cNvSpPr/>
          <p:nvPr/>
        </p:nvSpPr>
        <p:spPr>
          <a:xfrm>
            <a:off x="892989" y="5899512"/>
            <a:ext cx="1099964" cy="57748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FFFFFF"/>
                </a:solidFill>
                <a:effectLst/>
                <a:uLnTx/>
                <a:uFillTx/>
                <a:latin typeface="Century Gothic" panose="020F0302020204030204"/>
                <a:ea typeface="+mn-ea"/>
                <a:cs typeface="+mn-cs"/>
              </a:rPr>
              <a:t>External</a:t>
            </a:r>
            <a:endParaRPr kumimoji="0" lang="en-US" sz="16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6" name="TextBox 75"/>
          <p:cNvSpPr txBox="1"/>
          <p:nvPr/>
        </p:nvSpPr>
        <p:spPr>
          <a:xfrm>
            <a:off x="2074594" y="5239946"/>
            <a:ext cx="810988" cy="246221"/>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C8C9C7"/>
                </a:solidFill>
                <a:effectLst/>
                <a:uLnTx/>
                <a:uFillTx/>
                <a:latin typeface="Century Gothic" panose="020F0302020204030204"/>
                <a:ea typeface="+mn-ea"/>
                <a:cs typeface="+mn-cs"/>
              </a:rPr>
              <a:t>Site 1</a:t>
            </a:r>
            <a:endParaRPr kumimoji="0" lang="en-US" sz="1600" b="1" i="0" u="none" strike="noStrike" kern="1200" cap="none" spc="0" normalizeH="0" baseline="0" noProof="0" dirty="0">
              <a:ln>
                <a:noFill/>
              </a:ln>
              <a:solidFill>
                <a:srgbClr val="C8C9C7"/>
              </a:solidFill>
              <a:effectLst/>
              <a:uLnTx/>
              <a:uFillTx/>
              <a:latin typeface="Century Gothic" panose="020F0302020204030204"/>
              <a:ea typeface="+mn-ea"/>
              <a:cs typeface="+mn-cs"/>
            </a:endParaRPr>
          </a:p>
        </p:txBody>
      </p:sp>
      <p:sp>
        <p:nvSpPr>
          <p:cNvPr id="79" name="Rounded Rectangle 78"/>
          <p:cNvSpPr/>
          <p:nvPr/>
        </p:nvSpPr>
        <p:spPr>
          <a:xfrm>
            <a:off x="3045282" y="1517030"/>
            <a:ext cx="810988" cy="401776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80" name="Rounded Rectangle 79"/>
          <p:cNvSpPr/>
          <p:nvPr/>
        </p:nvSpPr>
        <p:spPr>
          <a:xfrm>
            <a:off x="4048588" y="1517030"/>
            <a:ext cx="810988" cy="401776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81" name="TextBox 80"/>
          <p:cNvSpPr txBox="1"/>
          <p:nvPr/>
        </p:nvSpPr>
        <p:spPr>
          <a:xfrm>
            <a:off x="3045282" y="5239946"/>
            <a:ext cx="810988" cy="246221"/>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C8C9C7"/>
                </a:solidFill>
                <a:effectLst/>
                <a:uLnTx/>
                <a:uFillTx/>
                <a:latin typeface="Century Gothic" panose="020F0302020204030204"/>
                <a:ea typeface="+mn-ea"/>
                <a:cs typeface="+mn-cs"/>
              </a:rPr>
              <a:t>Site 2</a:t>
            </a:r>
            <a:endParaRPr kumimoji="0" lang="en-US" sz="1600" b="1" i="0" u="none" strike="noStrike" kern="1200" cap="none" spc="0" normalizeH="0" baseline="0" noProof="0" dirty="0">
              <a:ln>
                <a:noFill/>
              </a:ln>
              <a:solidFill>
                <a:srgbClr val="C8C9C7"/>
              </a:solidFill>
              <a:effectLst/>
              <a:uLnTx/>
              <a:uFillTx/>
              <a:latin typeface="Century Gothic" panose="020F0302020204030204"/>
              <a:ea typeface="+mn-ea"/>
              <a:cs typeface="+mn-cs"/>
            </a:endParaRPr>
          </a:p>
        </p:txBody>
      </p:sp>
      <p:sp>
        <p:nvSpPr>
          <p:cNvPr id="82" name="TextBox 81"/>
          <p:cNvSpPr txBox="1"/>
          <p:nvPr/>
        </p:nvSpPr>
        <p:spPr>
          <a:xfrm>
            <a:off x="4048588" y="5239946"/>
            <a:ext cx="810988" cy="246221"/>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C8C9C7"/>
                </a:solidFill>
                <a:effectLst/>
                <a:uLnTx/>
                <a:uFillTx/>
                <a:latin typeface="Century Gothic" panose="020F0302020204030204"/>
                <a:ea typeface="+mn-ea"/>
                <a:cs typeface="+mn-cs"/>
              </a:rPr>
              <a:t>Site n</a:t>
            </a:r>
            <a:endParaRPr kumimoji="0" lang="en-US" sz="1600" b="1" i="0" u="none" strike="noStrike" kern="1200" cap="none" spc="0" normalizeH="0" baseline="0" noProof="0" dirty="0">
              <a:ln>
                <a:noFill/>
              </a:ln>
              <a:solidFill>
                <a:srgbClr val="C8C9C7"/>
              </a:solidFill>
              <a:effectLst/>
              <a:uLnTx/>
              <a:uFillTx/>
              <a:latin typeface="Century Gothic" panose="020F0302020204030204"/>
              <a:ea typeface="+mn-ea"/>
              <a:cs typeface="+mn-cs"/>
            </a:endParaRPr>
          </a:p>
        </p:txBody>
      </p:sp>
      <p:sp>
        <p:nvSpPr>
          <p:cNvPr id="50" name="Rounded Rectangle 49"/>
          <p:cNvSpPr/>
          <p:nvPr/>
        </p:nvSpPr>
        <p:spPr>
          <a:xfrm>
            <a:off x="838200" y="1705886"/>
            <a:ext cx="4670840" cy="654616"/>
          </a:xfrm>
          <a:prstGeom prst="roundRect">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60" name="Rounded Rectangle 59"/>
          <p:cNvSpPr/>
          <p:nvPr/>
        </p:nvSpPr>
        <p:spPr>
          <a:xfrm>
            <a:off x="838200" y="2641677"/>
            <a:ext cx="4670840" cy="654616"/>
          </a:xfrm>
          <a:prstGeom prst="roundRect">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68" name="Rounded Rectangle 67"/>
          <p:cNvSpPr/>
          <p:nvPr/>
        </p:nvSpPr>
        <p:spPr>
          <a:xfrm>
            <a:off x="838200" y="3550598"/>
            <a:ext cx="4670840" cy="681486"/>
          </a:xfrm>
          <a:prstGeom prst="roundRect">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0" name="Rounded Rectangle 69"/>
          <p:cNvSpPr/>
          <p:nvPr/>
        </p:nvSpPr>
        <p:spPr>
          <a:xfrm>
            <a:off x="838200" y="4513260"/>
            <a:ext cx="4670840" cy="654616"/>
          </a:xfrm>
          <a:prstGeom prst="roundRect">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6" name="TextBox 5"/>
          <p:cNvSpPr txBox="1"/>
          <p:nvPr/>
        </p:nvSpPr>
        <p:spPr>
          <a:xfrm>
            <a:off x="1900424" y="1760779"/>
            <a:ext cx="3287495" cy="544830"/>
          </a:xfrm>
          <a:prstGeom prst="round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6CC04A"/>
                </a:solidFill>
                <a:effectLst/>
                <a:uLnTx/>
                <a:uFillTx/>
                <a:latin typeface="Century Gothic" panose="020F0302020204030204"/>
                <a:ea typeface="+mn-ea"/>
                <a:cs typeface="+mn-cs"/>
              </a:rPr>
              <a:t>Business Systems</a:t>
            </a:r>
            <a:br>
              <a:rPr kumimoji="0" lang="en-CA" sz="1600" b="1" i="0" u="none" strike="noStrike" kern="1200" cap="none" spc="0" normalizeH="0" baseline="0" noProof="0" dirty="0">
                <a:ln>
                  <a:noFill/>
                </a:ln>
                <a:solidFill>
                  <a:srgbClr val="6CC04A"/>
                </a:solidFill>
                <a:effectLst/>
                <a:uLnTx/>
                <a:uFillTx/>
                <a:latin typeface="Century Gothic" panose="020F0302020204030204"/>
                <a:ea typeface="+mn-ea"/>
                <a:cs typeface="+mn-cs"/>
              </a:rPr>
            </a:br>
            <a:r>
              <a:rPr kumimoji="0" lang="en-CA" sz="1600" b="1" i="0" u="none" strike="noStrike" kern="1200" cap="none" spc="0" normalizeH="0" baseline="0" noProof="0" dirty="0">
                <a:ln>
                  <a:noFill/>
                </a:ln>
                <a:solidFill>
                  <a:srgbClr val="6CC04A"/>
                </a:solidFill>
                <a:effectLst/>
                <a:uLnTx/>
                <a:uFillTx/>
                <a:latin typeface="Century Gothic" panose="020F0302020204030204"/>
                <a:ea typeface="+mn-ea"/>
                <a:cs typeface="+mn-cs"/>
              </a:rPr>
              <a:t>(ERP, CAD, PLM)</a:t>
            </a:r>
            <a:endParaRPr kumimoji="0" lang="en-US" sz="1600"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sp>
        <p:nvSpPr>
          <p:cNvPr id="51" name="Rounded Rectangle 50"/>
          <p:cNvSpPr/>
          <p:nvPr/>
        </p:nvSpPr>
        <p:spPr>
          <a:xfrm>
            <a:off x="892989" y="1744450"/>
            <a:ext cx="1099964" cy="57748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entury Gothic" panose="020F0302020204030204"/>
                <a:ea typeface="+mn-ea"/>
                <a:cs typeface="+mn-cs"/>
              </a:rPr>
              <a:t>Level</a:t>
            </a: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entury Gothic" panose="020F0302020204030204"/>
                <a:ea typeface="+mn-ea"/>
                <a:cs typeface="+mn-cs"/>
              </a:rPr>
              <a:t>4</a:t>
            </a:r>
            <a:endParaRPr kumimoji="0" lang="en-US" sz="20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5" name="TextBox 14"/>
          <p:cNvSpPr txBox="1"/>
          <p:nvPr/>
        </p:nvSpPr>
        <p:spPr>
          <a:xfrm>
            <a:off x="1900424" y="2696570"/>
            <a:ext cx="3287495" cy="544830"/>
          </a:xfrm>
          <a:prstGeom prst="round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6CC04A"/>
                </a:solidFill>
                <a:effectLst/>
                <a:uLnTx/>
                <a:uFillTx/>
                <a:latin typeface="Century Gothic" panose="020F0302020204030204"/>
                <a:ea typeface="+mn-ea"/>
                <a:cs typeface="+mn-cs"/>
              </a:rPr>
              <a:t>Operational Control</a:t>
            </a: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6CC04A"/>
                </a:solidFill>
                <a:effectLst/>
                <a:uLnTx/>
                <a:uFillTx/>
                <a:latin typeface="Century Gothic" panose="020F0302020204030204"/>
                <a:ea typeface="+mn-ea"/>
                <a:cs typeface="+mn-cs"/>
              </a:rPr>
              <a:t>(MES, MOM)</a:t>
            </a:r>
            <a:endParaRPr kumimoji="0" lang="en-US" sz="1600"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sp>
        <p:nvSpPr>
          <p:cNvPr id="61" name="Rounded Rectangle 60"/>
          <p:cNvSpPr/>
          <p:nvPr/>
        </p:nvSpPr>
        <p:spPr>
          <a:xfrm>
            <a:off x="892989" y="2680241"/>
            <a:ext cx="1099964" cy="57748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entury Gothic" panose="020F0302020204030204"/>
                <a:ea typeface="+mn-ea"/>
                <a:cs typeface="+mn-cs"/>
              </a:rPr>
              <a:t>Level</a:t>
            </a: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entury Gothic" panose="020F0302020204030204"/>
                <a:ea typeface="+mn-ea"/>
                <a:cs typeface="+mn-cs"/>
              </a:rPr>
              <a:t>3</a:t>
            </a:r>
            <a:endParaRPr kumimoji="0" lang="en-US" sz="20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7" name="TextBox 6"/>
          <p:cNvSpPr txBox="1"/>
          <p:nvPr/>
        </p:nvSpPr>
        <p:spPr>
          <a:xfrm>
            <a:off x="1900424" y="3632361"/>
            <a:ext cx="3287495" cy="544830"/>
          </a:xfrm>
          <a:prstGeom prst="round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6CC04A"/>
                </a:solidFill>
                <a:effectLst/>
                <a:uLnTx/>
                <a:uFillTx/>
                <a:latin typeface="Century Gothic" panose="020F0302020204030204"/>
                <a:ea typeface="+mn-ea"/>
                <a:cs typeface="+mn-cs"/>
              </a:rPr>
              <a:t>Process Monitoring</a:t>
            </a: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6CC04A"/>
                </a:solidFill>
                <a:effectLst/>
                <a:uLnTx/>
                <a:uFillTx/>
                <a:latin typeface="Century Gothic" panose="020F0302020204030204"/>
                <a:ea typeface="+mn-ea"/>
                <a:cs typeface="+mn-cs"/>
              </a:rPr>
              <a:t>(HMI, SCADA, Test Stands)</a:t>
            </a:r>
            <a:endParaRPr kumimoji="0" lang="en-US" sz="1600"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sp>
        <p:nvSpPr>
          <p:cNvPr id="69" name="Rounded Rectangle 68"/>
          <p:cNvSpPr/>
          <p:nvPr/>
        </p:nvSpPr>
        <p:spPr>
          <a:xfrm>
            <a:off x="892989" y="3616032"/>
            <a:ext cx="1099964" cy="57748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entury Gothic" panose="020F0302020204030204"/>
                <a:ea typeface="+mn-ea"/>
                <a:cs typeface="+mn-cs"/>
              </a:rPr>
              <a:t>Level</a:t>
            </a: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entury Gothic" panose="020F0302020204030204"/>
                <a:ea typeface="+mn-ea"/>
                <a:cs typeface="+mn-cs"/>
              </a:rPr>
              <a:t>2</a:t>
            </a:r>
            <a:endParaRPr kumimoji="0" lang="en-US" sz="20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8" name="TextBox 7"/>
          <p:cNvSpPr txBox="1"/>
          <p:nvPr/>
        </p:nvSpPr>
        <p:spPr>
          <a:xfrm>
            <a:off x="2074596" y="4568153"/>
            <a:ext cx="3287495" cy="544830"/>
          </a:xfrm>
          <a:prstGeom prst="round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6CC04A"/>
                </a:solidFill>
                <a:effectLst/>
                <a:uLnTx/>
                <a:uFillTx/>
                <a:latin typeface="Century Gothic" panose="020F0302020204030204"/>
                <a:ea typeface="+mn-ea"/>
                <a:cs typeface="+mn-cs"/>
              </a:rPr>
              <a:t>Control  Level &amp; Data Acquisition (PLC, CNC, Autoclave)</a:t>
            </a:r>
            <a:endParaRPr kumimoji="0" lang="en-US" sz="1600"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sp>
        <p:nvSpPr>
          <p:cNvPr id="71" name="Rounded Rectangle 70"/>
          <p:cNvSpPr/>
          <p:nvPr/>
        </p:nvSpPr>
        <p:spPr>
          <a:xfrm>
            <a:off x="892989" y="4551824"/>
            <a:ext cx="1099964" cy="57748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entury Gothic" panose="020F0302020204030204"/>
                <a:ea typeface="+mn-ea"/>
                <a:cs typeface="+mn-cs"/>
              </a:rPr>
              <a:t>Level</a:t>
            </a: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entury Gothic" panose="020F0302020204030204"/>
                <a:ea typeface="+mn-ea"/>
                <a:cs typeface="+mn-cs"/>
              </a:rPr>
              <a:t>1,0</a:t>
            </a:r>
            <a:endParaRPr kumimoji="0" lang="en-US" sz="20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1" name="TextBox 30"/>
          <p:cNvSpPr txBox="1"/>
          <p:nvPr/>
        </p:nvSpPr>
        <p:spPr>
          <a:xfrm>
            <a:off x="6093030" y="1612858"/>
            <a:ext cx="4803569" cy="4817112"/>
          </a:xfrm>
          <a:prstGeom prst="rect">
            <a:avLst/>
          </a:prstGeom>
          <a:ln w="57150">
            <a:solidFill>
              <a:schemeClr val="accent1"/>
            </a:solidFill>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Century Gothic" panose="020F0302020204030204"/>
              <a:ea typeface="+mn-ea"/>
              <a:cs typeface="+mn-cs"/>
            </a:endParaRPr>
          </a:p>
        </p:txBody>
      </p:sp>
      <p:cxnSp>
        <p:nvCxnSpPr>
          <p:cNvPr id="33" name="Straight Connector 32"/>
          <p:cNvCxnSpPr/>
          <p:nvPr/>
        </p:nvCxnSpPr>
        <p:spPr>
          <a:xfrm>
            <a:off x="5803470" y="1585428"/>
            <a:ext cx="0" cy="4847631"/>
          </a:xfrm>
          <a:prstGeom prst="line">
            <a:avLst/>
          </a:prstGeom>
          <a:ln w="57150">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5503025" y="2033816"/>
            <a:ext cx="289561" cy="0"/>
          </a:xfrm>
          <a:prstGeom prst="straightConnector1">
            <a:avLst/>
          </a:prstGeom>
          <a:ln w="57150">
            <a:solidFill>
              <a:schemeClr val="accent1"/>
            </a:solidFill>
            <a:headEnd type="diamond"/>
            <a:tailEnd type="diamond"/>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5503025" y="2986316"/>
            <a:ext cx="289561" cy="0"/>
          </a:xfrm>
          <a:prstGeom prst="straightConnector1">
            <a:avLst/>
          </a:prstGeom>
          <a:ln w="57150">
            <a:solidFill>
              <a:schemeClr val="accent1"/>
            </a:solidFill>
            <a:headEnd type="diamond"/>
            <a:tailEnd type="diamond"/>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5503025" y="3967707"/>
            <a:ext cx="289561" cy="0"/>
          </a:xfrm>
          <a:prstGeom prst="straightConnector1">
            <a:avLst/>
          </a:prstGeom>
          <a:ln w="57150">
            <a:solidFill>
              <a:schemeClr val="accent1"/>
            </a:solidFill>
            <a:headEnd type="diamond"/>
            <a:tailEnd type="diamond"/>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5503025" y="4840568"/>
            <a:ext cx="289561" cy="0"/>
          </a:xfrm>
          <a:prstGeom prst="straightConnector1">
            <a:avLst/>
          </a:prstGeom>
          <a:ln w="57150">
            <a:solidFill>
              <a:schemeClr val="accent1"/>
            </a:solidFill>
            <a:headEnd type="diamond"/>
            <a:tailEnd type="diamond"/>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4516610" y="5983346"/>
            <a:ext cx="1275974" cy="0"/>
          </a:xfrm>
          <a:prstGeom prst="straightConnector1">
            <a:avLst/>
          </a:prstGeom>
          <a:ln w="57150">
            <a:solidFill>
              <a:schemeClr val="accent1"/>
            </a:solidFill>
            <a:headEnd type="diamond"/>
            <a:tailEnd type="diamond"/>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5803472" y="3478810"/>
            <a:ext cx="289561" cy="0"/>
          </a:xfrm>
          <a:prstGeom prst="straightConnector1">
            <a:avLst/>
          </a:prstGeom>
          <a:ln w="57150">
            <a:solidFill>
              <a:schemeClr val="accent1"/>
            </a:solidFill>
            <a:headEnd type="diamond"/>
            <a:tailEnd type="diamond"/>
          </a:ln>
          <a:effectLst>
            <a:glow rad="25400">
              <a:schemeClr val="bg1"/>
            </a:glow>
          </a:effectLst>
        </p:spPr>
        <p:style>
          <a:lnRef idx="1">
            <a:schemeClr val="accent1"/>
          </a:lnRef>
          <a:fillRef idx="0">
            <a:schemeClr val="accent1"/>
          </a:fillRef>
          <a:effectRef idx="0">
            <a:schemeClr val="accent1"/>
          </a:effectRef>
          <a:fontRef idx="minor">
            <a:schemeClr val="tx1"/>
          </a:fontRef>
        </p:style>
      </p:cxnSp>
      <p:cxnSp>
        <p:nvCxnSpPr>
          <p:cNvPr id="13" name="Elbow Connector 12"/>
          <p:cNvCxnSpPr/>
          <p:nvPr/>
        </p:nvCxnSpPr>
        <p:spPr>
          <a:xfrm rot="10800000" flipV="1">
            <a:off x="3108318" y="5689409"/>
            <a:ext cx="2684266" cy="129491"/>
          </a:xfrm>
          <a:prstGeom prst="bentConnector2">
            <a:avLst/>
          </a:prstGeom>
          <a:ln w="57150">
            <a:solidFill>
              <a:schemeClr val="accent1"/>
            </a:solidFill>
            <a:headEnd type="diamond"/>
            <a:tailEnd type="diamond"/>
          </a:ln>
          <a:effectLst>
            <a:glow rad="25400">
              <a:schemeClr val="bg1"/>
            </a:glow>
          </a:effectLst>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6274386" y="998376"/>
            <a:ext cx="4440855" cy="307777"/>
          </a:xfrm>
          <a:prstGeom prst="rect">
            <a:avLst/>
          </a:prstGeom>
          <a:noFill/>
        </p:spPr>
        <p:txBody>
          <a:bodyPr wrap="squar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entury Gothic" panose="020F0302020204030204"/>
                <a:ea typeface="+mn-ea"/>
                <a:cs typeface="+mn-cs"/>
              </a:rPr>
              <a:t>ThingWorx complements and brings</a:t>
            </a:r>
            <a:endParaRPr kumimoji="0" lang="en-US" sz="20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46" name="TextBox 45"/>
          <p:cNvSpPr txBox="1"/>
          <p:nvPr/>
        </p:nvSpPr>
        <p:spPr>
          <a:xfrm>
            <a:off x="6290403" y="2381282"/>
            <a:ext cx="4408822" cy="3046988"/>
          </a:xfrm>
          <a:prstGeom prst="rect">
            <a:avLst/>
          </a:prstGeom>
          <a:noFill/>
        </p:spPr>
        <p:txBody>
          <a:bodyPr wrap="square" lIns="0" tIns="0" rIns="0" bIns="0" rtlCol="0">
            <a:spAutoFit/>
          </a:bodyPr>
          <a:lstStyle/>
          <a:p>
            <a:pPr marL="285750" marR="0" lvl="0" indent="-285750" algn="l" defTabSz="108677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rPr>
              <a:t>Unified visibility across systems, assets, devices and people</a:t>
            </a:r>
          </a:p>
          <a:p>
            <a:pPr marL="285750" marR="0" lvl="0" indent="-285750" algn="l" defTabSz="108677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285750" marR="0" lvl="0" indent="-285750" algn="l" defTabSz="108677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rPr>
              <a:t>Wrap and extend existing systems</a:t>
            </a:r>
          </a:p>
          <a:p>
            <a:pPr marL="285750" marR="0" lvl="0" indent="-285750" algn="l" defTabSz="108677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285750" marR="0" lvl="0" indent="-285750" algn="l" defTabSz="108677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rPr>
              <a:t>Actionable and comprehensive operational intelligence</a:t>
            </a: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285750" marR="0" lvl="0" indent="-285750" algn="l" defTabSz="108677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285750" marR="0" lvl="0" indent="-285750" algn="l" defTabSz="108677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rPr>
              <a:t>Real-time, social, mobile</a:t>
            </a:r>
            <a:endParaRPr kumimoji="0" lang="en-US"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285750" marR="0" lvl="0" indent="-285750" algn="l" defTabSz="108677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a:p>
            <a:pPr marL="285750" marR="0" lvl="0" indent="-285750" algn="l" defTabSz="108677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1" i="0" u="none" strike="noStrike" kern="1200" cap="none" spc="0" normalizeH="0" baseline="0" noProof="0" dirty="0">
                <a:ln>
                  <a:noFill/>
                </a:ln>
                <a:solidFill>
                  <a:srgbClr val="FFFFFF"/>
                </a:solidFill>
                <a:effectLst/>
                <a:uLnTx/>
                <a:uFillTx/>
                <a:latin typeface="Century Gothic" panose="020F0302020204030204"/>
                <a:ea typeface="+mn-ea"/>
                <a:cs typeface="+mn-cs"/>
              </a:rPr>
              <a:t>Rapid application development</a:t>
            </a:r>
          </a:p>
        </p:txBody>
      </p:sp>
    </p:spTree>
    <p:extLst>
      <p:ext uri="{BB962C8B-B14F-4D97-AF65-F5344CB8AC3E}">
        <p14:creationId xmlns:p14="http://schemas.microsoft.com/office/powerpoint/2010/main" val="14349357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081" y="0"/>
            <a:ext cx="1216183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pic>
        <p:nvPicPr>
          <p:cNvPr id="6" name="Picture 5">
            <a:hlinkClick r:id="rId4"/>
          </p:cNvPr>
          <p:cNvPicPr>
            <a:picLocks noChangeAspect="1"/>
          </p:cNvPicPr>
          <p:nvPr/>
        </p:nvPicPr>
        <p:blipFill>
          <a:blip r:embed="rId5"/>
          <a:stretch>
            <a:fillRect/>
          </a:stretch>
        </p:blipFill>
        <p:spPr>
          <a:xfrm>
            <a:off x="6031641" y="2372335"/>
            <a:ext cx="263733" cy="263863"/>
          </a:xfrm>
          <a:prstGeom prst="rect">
            <a:avLst/>
          </a:prstGeom>
        </p:spPr>
      </p:pic>
    </p:spTree>
    <p:extLst>
      <p:ext uri="{BB962C8B-B14F-4D97-AF65-F5344CB8AC3E}">
        <p14:creationId xmlns:p14="http://schemas.microsoft.com/office/powerpoint/2010/main" val="3207059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870BF45-CB92-4A0E-8DD0-7A2696D051BC}"/>
              </a:ext>
            </a:extLst>
          </p:cNvPr>
          <p:cNvSpPr>
            <a:spLocks noGrp="1"/>
          </p:cNvSpPr>
          <p:nvPr>
            <p:ph type="pic" sz="quarter" idx="12"/>
          </p:nvPr>
        </p:nvSpPr>
        <p:spPr/>
      </p:sp>
      <p:sp>
        <p:nvSpPr>
          <p:cNvPr id="6" name="Title 5">
            <a:extLst>
              <a:ext uri="{FF2B5EF4-FFF2-40B4-BE49-F238E27FC236}">
                <a16:creationId xmlns:a16="http://schemas.microsoft.com/office/drawing/2014/main" id="{DD2DF15B-920E-414E-9F34-523823B645D4}"/>
              </a:ext>
            </a:extLst>
          </p:cNvPr>
          <p:cNvSpPr>
            <a:spLocks noGrp="1"/>
          </p:cNvSpPr>
          <p:nvPr>
            <p:ph type="title"/>
          </p:nvPr>
        </p:nvSpPr>
        <p:spPr/>
        <p:txBody>
          <a:bodyPr/>
          <a:lstStyle/>
          <a:p>
            <a:r>
              <a:rPr lang="en-US" dirty="0"/>
              <a:t>Who we are</a:t>
            </a:r>
          </a:p>
        </p:txBody>
      </p:sp>
      <p:sp>
        <p:nvSpPr>
          <p:cNvPr id="10" name="Text Placeholder 9">
            <a:extLst>
              <a:ext uri="{FF2B5EF4-FFF2-40B4-BE49-F238E27FC236}">
                <a16:creationId xmlns:a16="http://schemas.microsoft.com/office/drawing/2014/main" id="{6AF9F3E9-8B41-439B-B912-F79B64669F74}"/>
              </a:ext>
            </a:extLst>
          </p:cNvPr>
          <p:cNvSpPr>
            <a:spLocks noGrp="1"/>
          </p:cNvSpPr>
          <p:nvPr>
            <p:ph type="body" sz="quarter" idx="22"/>
          </p:nvPr>
        </p:nvSpPr>
        <p:spPr/>
        <p:txBody>
          <a:bodyPr/>
          <a:lstStyle/>
          <a:p>
            <a:endParaRPr lang="en-US"/>
          </a:p>
        </p:txBody>
      </p:sp>
      <p:sp>
        <p:nvSpPr>
          <p:cNvPr id="8" name="Text Placeholder 7">
            <a:extLst>
              <a:ext uri="{FF2B5EF4-FFF2-40B4-BE49-F238E27FC236}">
                <a16:creationId xmlns:a16="http://schemas.microsoft.com/office/drawing/2014/main" id="{1BA535F3-3AA5-4763-BDF9-60987FF86833}"/>
              </a:ext>
            </a:extLst>
          </p:cNvPr>
          <p:cNvSpPr>
            <a:spLocks noGrp="1"/>
          </p:cNvSpPr>
          <p:nvPr>
            <p:ph type="body" sz="quarter" idx="17"/>
          </p:nvPr>
        </p:nvSpPr>
        <p:spPr/>
        <p:txBody>
          <a:bodyPr/>
          <a:lstStyle/>
          <a:p>
            <a:endParaRPr lang="en-US"/>
          </a:p>
        </p:txBody>
      </p:sp>
      <p:pic>
        <p:nvPicPr>
          <p:cNvPr id="9" name="Picture 8">
            <a:extLst>
              <a:ext uri="{FF2B5EF4-FFF2-40B4-BE49-F238E27FC236}">
                <a16:creationId xmlns:a16="http://schemas.microsoft.com/office/drawing/2014/main" id="{446D80D6-AC4E-4A90-AC6D-A5365C18BA6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37" t="1118" b="1118"/>
          <a:stretch/>
        </p:blipFill>
        <p:spPr>
          <a:xfrm>
            <a:off x="3848464" y="1001277"/>
            <a:ext cx="8343535" cy="5856724"/>
          </a:xfrm>
          <a:prstGeom prst="rect">
            <a:avLst/>
          </a:prstGeom>
        </p:spPr>
      </p:pic>
      <p:sp>
        <p:nvSpPr>
          <p:cNvPr id="16" name="Text Placeholder 11">
            <a:extLst>
              <a:ext uri="{FF2B5EF4-FFF2-40B4-BE49-F238E27FC236}">
                <a16:creationId xmlns:a16="http://schemas.microsoft.com/office/drawing/2014/main" id="{1D08B690-F28B-4DBA-89A6-4A4DFE4851F9}"/>
              </a:ext>
            </a:extLst>
          </p:cNvPr>
          <p:cNvSpPr txBox="1">
            <a:spLocks/>
          </p:cNvSpPr>
          <p:nvPr/>
        </p:nvSpPr>
        <p:spPr>
          <a:xfrm rot="10800000" flipH="1" flipV="1">
            <a:off x="3046" y="1001277"/>
            <a:ext cx="9260697" cy="5856723"/>
          </a:xfrm>
          <a:prstGeom prst="rect">
            <a:avLst/>
          </a:prstGeom>
          <a:gradFill flip="none" rotWithShape="1">
            <a:gsLst>
              <a:gs pos="88000">
                <a:schemeClr val="bg1">
                  <a:alpha val="50000"/>
                </a:schemeClr>
              </a:gs>
              <a:gs pos="100000">
                <a:schemeClr val="bg1">
                  <a:alpha val="0"/>
                </a:schemeClr>
              </a:gs>
              <a:gs pos="42000">
                <a:schemeClr val="bg1"/>
              </a:gs>
            </a:gsLst>
            <a:lin ang="21594000" scaled="0"/>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lIns="454941" tIns="37851" rIns="75702" bIns="72790" rtlCol="0" anchor="b"/>
          <a:lstStyle>
            <a:defPPr>
              <a:defRPr lang="en-US"/>
            </a:defPPr>
            <a:lvl1pPr algn="ctr">
              <a:defRPr sz="24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US" sz="1094" dirty="0">
              <a:latin typeface="Futura Std Medium" charset="0"/>
            </a:endParaRPr>
          </a:p>
        </p:txBody>
      </p:sp>
      <p:sp>
        <p:nvSpPr>
          <p:cNvPr id="17" name="TextBox 16">
            <a:extLst>
              <a:ext uri="{FF2B5EF4-FFF2-40B4-BE49-F238E27FC236}">
                <a16:creationId xmlns:a16="http://schemas.microsoft.com/office/drawing/2014/main" id="{D3A8896B-8CE9-41DF-B905-27803E135D70}"/>
              </a:ext>
            </a:extLst>
          </p:cNvPr>
          <p:cNvSpPr txBox="1"/>
          <p:nvPr/>
        </p:nvSpPr>
        <p:spPr>
          <a:xfrm>
            <a:off x="432548" y="1553283"/>
            <a:ext cx="5637871" cy="3816429"/>
          </a:xfrm>
          <a:prstGeom prst="rect">
            <a:avLst/>
          </a:prstGeom>
          <a:noFill/>
        </p:spPr>
        <p:txBody>
          <a:bodyPr wrap="square" lIns="0" tIns="0" rIns="0" bIns="0" rtlCol="0">
            <a:spAutoFit/>
          </a:bodyPr>
          <a:lstStyle/>
          <a:p>
            <a:pPr marL="285750" indent="-285750">
              <a:spcBef>
                <a:spcPts val="1500"/>
              </a:spcBef>
              <a:buFont typeface="Arial" panose="020B0604020202020204" pitchFamily="34" charset="0"/>
              <a:buChar char="•"/>
            </a:pPr>
            <a:r>
              <a:rPr lang="en-US" dirty="0"/>
              <a:t>Global Software Company, </a:t>
            </a:r>
            <a:br>
              <a:rPr lang="en-US" dirty="0"/>
            </a:br>
            <a:r>
              <a:rPr lang="en-US" dirty="0"/>
              <a:t>$1B+ Revenue</a:t>
            </a:r>
          </a:p>
          <a:p>
            <a:pPr marL="285750" indent="-285750">
              <a:spcBef>
                <a:spcPts val="1500"/>
              </a:spcBef>
              <a:buFont typeface="Arial" panose="020B0604020202020204" pitchFamily="34" charset="0"/>
              <a:buChar char="•"/>
            </a:pPr>
            <a:r>
              <a:rPr lang="en-US" dirty="0"/>
              <a:t>Focused on digital solutions</a:t>
            </a:r>
          </a:p>
          <a:p>
            <a:pPr marL="285750" indent="-285750">
              <a:spcBef>
                <a:spcPts val="1500"/>
              </a:spcBef>
              <a:buFont typeface="Arial" panose="020B0604020202020204" pitchFamily="34" charset="0"/>
              <a:buChar char="•"/>
            </a:pPr>
            <a:r>
              <a:rPr lang="en-US" dirty="0"/>
              <a:t>Leading Platform and Solutions Enable Industrial Innovation </a:t>
            </a:r>
          </a:p>
          <a:p>
            <a:pPr marL="285750" indent="-285750">
              <a:spcBef>
                <a:spcPts val="1500"/>
              </a:spcBef>
              <a:buFont typeface="Arial" panose="020B0604020202020204" pitchFamily="34" charset="0"/>
              <a:buChar char="•"/>
            </a:pPr>
            <a:r>
              <a:rPr lang="en-US" dirty="0"/>
              <a:t>Global Network of 550K+ Developers </a:t>
            </a:r>
            <a:br>
              <a:rPr lang="en-US" dirty="0"/>
            </a:br>
            <a:r>
              <a:rPr lang="en-US" dirty="0"/>
              <a:t>and 1K+ Partners</a:t>
            </a:r>
          </a:p>
          <a:p>
            <a:pPr marL="285750" indent="-285750">
              <a:spcBef>
                <a:spcPts val="1500"/>
              </a:spcBef>
              <a:buFont typeface="Arial" panose="020B0604020202020204" pitchFamily="34" charset="0"/>
              <a:buChar char="•"/>
            </a:pPr>
            <a:r>
              <a:rPr lang="en-US" dirty="0"/>
              <a:t>Strategic partners: Microsoft, ANSYS and Rockwell Automation</a:t>
            </a:r>
          </a:p>
        </p:txBody>
      </p:sp>
      <p:pic>
        <p:nvPicPr>
          <p:cNvPr id="18" name="Picture 17">
            <a:extLst>
              <a:ext uri="{FF2B5EF4-FFF2-40B4-BE49-F238E27FC236}">
                <a16:creationId xmlns:a16="http://schemas.microsoft.com/office/drawing/2014/main" id="{FABD3F3A-E9E1-4BB3-9030-D91F0BC3BC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548" y="5590066"/>
            <a:ext cx="4945451" cy="855004"/>
          </a:xfrm>
          <a:prstGeom prst="rect">
            <a:avLst/>
          </a:prstGeom>
        </p:spPr>
      </p:pic>
      <p:pic>
        <p:nvPicPr>
          <p:cNvPr id="2" name="Picture 1">
            <a:extLst>
              <a:ext uri="{FF2B5EF4-FFF2-40B4-BE49-F238E27FC236}">
                <a16:creationId xmlns:a16="http://schemas.microsoft.com/office/drawing/2014/main" id="{C5589A21-7934-48AF-A801-4C59D552B468}"/>
              </a:ext>
            </a:extLst>
          </p:cNvPr>
          <p:cNvPicPr>
            <a:picLocks noChangeAspect="1"/>
          </p:cNvPicPr>
          <p:nvPr/>
        </p:nvPicPr>
        <p:blipFill>
          <a:blip r:embed="rId5"/>
          <a:stretch>
            <a:fillRect/>
          </a:stretch>
        </p:blipFill>
        <p:spPr>
          <a:xfrm>
            <a:off x="5922625" y="4721535"/>
            <a:ext cx="2270957" cy="1920406"/>
          </a:xfrm>
          <a:prstGeom prst="rect">
            <a:avLst/>
          </a:prstGeom>
        </p:spPr>
      </p:pic>
    </p:spTree>
    <p:extLst>
      <p:ext uri="{BB962C8B-B14F-4D97-AF65-F5344CB8AC3E}">
        <p14:creationId xmlns:p14="http://schemas.microsoft.com/office/powerpoint/2010/main" val="102137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ingWorx extending existing investments </a:t>
            </a:r>
          </a:p>
        </p:txBody>
      </p:sp>
      <p:sp>
        <p:nvSpPr>
          <p:cNvPr id="6" name="Rectangle 5"/>
          <p:cNvSpPr/>
          <p:nvPr/>
        </p:nvSpPr>
        <p:spPr>
          <a:xfrm>
            <a:off x="432473" y="1206988"/>
            <a:ext cx="3281312" cy="3200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schemeClr>
                </a:solidFill>
              </a:rPr>
              <a:t>Typical Landscape</a:t>
            </a:r>
          </a:p>
        </p:txBody>
      </p:sp>
      <p:sp>
        <p:nvSpPr>
          <p:cNvPr id="49" name="Rectangle 48"/>
          <p:cNvSpPr/>
          <p:nvPr/>
        </p:nvSpPr>
        <p:spPr>
          <a:xfrm>
            <a:off x="3713785" y="1206988"/>
            <a:ext cx="7497711" cy="320040"/>
          </a:xfrm>
          <a:prstGeom prst="rect">
            <a:avLst/>
          </a:prstGeom>
          <a:solidFill>
            <a:srgbClr val="60AA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schemeClr>
                </a:solidFill>
              </a:rPr>
              <a:t>Extended with ThingWorx</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2475" y="1654564"/>
            <a:ext cx="11063103" cy="4793369"/>
          </a:xfrm>
          <a:prstGeom prst="rect">
            <a:avLst/>
          </a:prstGeom>
        </p:spPr>
      </p:pic>
    </p:spTree>
    <p:extLst>
      <p:ext uri="{BB962C8B-B14F-4D97-AF65-F5344CB8AC3E}">
        <p14:creationId xmlns:p14="http://schemas.microsoft.com/office/powerpoint/2010/main" val="2074686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6" name="19 IoT"/>
          <p:cNvGrpSpPr/>
          <p:nvPr/>
        </p:nvGrpSpPr>
        <p:grpSpPr>
          <a:xfrm>
            <a:off x="169460" y="50460"/>
            <a:ext cx="5046411" cy="3989767"/>
            <a:chOff x="1448789" y="50460"/>
            <a:chExt cx="3768712" cy="3989767"/>
          </a:xfrm>
        </p:grpSpPr>
        <p:cxnSp>
          <p:nvCxnSpPr>
            <p:cNvPr id="72" name="Straight Arrow Connector 71"/>
            <p:cNvCxnSpPr/>
            <p:nvPr/>
          </p:nvCxnSpPr>
          <p:spPr>
            <a:xfrm flipV="1">
              <a:off x="2246546" y="1066800"/>
              <a:ext cx="0" cy="470380"/>
            </a:xfrm>
            <a:prstGeom prst="straightConnector1">
              <a:avLst/>
            </a:prstGeom>
            <a:noFill/>
            <a:ln>
              <a:tailEnd type="triangle"/>
            </a:ln>
          </p:spPr>
          <p:style>
            <a:lnRef idx="2">
              <a:schemeClr val="accent1"/>
            </a:lnRef>
            <a:fillRef idx="0">
              <a:schemeClr val="accent1"/>
            </a:fillRef>
            <a:effectRef idx="1">
              <a:schemeClr val="accent1"/>
            </a:effectRef>
            <a:fontRef idx="minor">
              <a:schemeClr val="tx1"/>
            </a:fontRef>
          </p:style>
        </p:cxnSp>
        <p:cxnSp>
          <p:nvCxnSpPr>
            <p:cNvPr id="175" name="Elbow Connector 174"/>
            <p:cNvCxnSpPr/>
            <p:nvPr/>
          </p:nvCxnSpPr>
          <p:spPr>
            <a:xfrm>
              <a:off x="1780951" y="2779969"/>
              <a:ext cx="3417811" cy="1260258"/>
            </a:xfrm>
            <a:prstGeom prst="bentConnector3">
              <a:avLst>
                <a:gd name="adj1" fmla="val -51"/>
              </a:avLst>
            </a:prstGeom>
            <a:noFill/>
            <a:ln>
              <a:solidFill>
                <a:srgbClr val="FFFF0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271" name="TextBox 270"/>
            <p:cNvSpPr txBox="1"/>
            <p:nvPr/>
          </p:nvSpPr>
          <p:spPr>
            <a:xfrm>
              <a:off x="1448789" y="3761601"/>
              <a:ext cx="1466840" cy="276999"/>
            </a:xfrm>
            <a:prstGeom prst="rect">
              <a:avLst/>
            </a:prstGeom>
            <a:noFill/>
          </p:spPr>
          <p:txBody>
            <a:bodyPr wrap="square" rtlCol="0">
              <a:spAutoFit/>
            </a:bodyPr>
            <a:lstStyle/>
            <a:p>
              <a:pPr algn="ctr" defTabSz="457200">
                <a:defRPr/>
              </a:pPr>
              <a:r>
                <a:rPr lang="en-US" sz="1200" dirty="0">
                  <a:solidFill>
                    <a:srgbClr val="FFC000"/>
                  </a:solidFill>
                  <a:latin typeface="Myriad Pro"/>
                </a:rPr>
                <a:t>REST/MQTT</a:t>
              </a:r>
            </a:p>
          </p:txBody>
        </p:sp>
        <p:sp>
          <p:nvSpPr>
            <p:cNvPr id="272" name="TextBox 271"/>
            <p:cNvSpPr txBox="1"/>
            <p:nvPr/>
          </p:nvSpPr>
          <p:spPr>
            <a:xfrm>
              <a:off x="3734026" y="3429000"/>
              <a:ext cx="1116439" cy="276999"/>
            </a:xfrm>
            <a:prstGeom prst="rect">
              <a:avLst/>
            </a:prstGeom>
            <a:noFill/>
          </p:spPr>
          <p:txBody>
            <a:bodyPr wrap="square" rtlCol="0">
              <a:spAutoFit/>
            </a:bodyPr>
            <a:lstStyle/>
            <a:p>
              <a:pPr defTabSz="457200">
                <a:defRPr/>
              </a:pPr>
              <a:r>
                <a:rPr lang="en-US" sz="1200" dirty="0">
                  <a:solidFill>
                    <a:srgbClr val="FFC000"/>
                  </a:solidFill>
                  <a:latin typeface="Myriad Pro"/>
                </a:rPr>
                <a:t>IDF Splunk</a:t>
              </a:r>
            </a:p>
          </p:txBody>
        </p:sp>
        <p:pic>
          <p:nvPicPr>
            <p:cNvPr id="259" name="Cloud"/>
            <p:cNvPicPr>
              <a:picLocks noChangeAspect="1"/>
            </p:cNvPicPr>
            <p:nvPr/>
          </p:nvPicPr>
          <p:blipFill rotWithShape="1">
            <a:blip r:embed="rId3">
              <a:extLst>
                <a:ext uri="{28A0092B-C50C-407E-A947-70E740481C1C}">
                  <a14:useLocalDpi xmlns:a14="http://schemas.microsoft.com/office/drawing/2010/main" val="0"/>
                </a:ext>
              </a:extLst>
            </a:blip>
            <a:srcRect l="2569" t="4963" r="4720" b="14556"/>
            <a:stretch/>
          </p:blipFill>
          <p:spPr>
            <a:xfrm>
              <a:off x="1459526" y="1411048"/>
              <a:ext cx="1597310" cy="1259709"/>
            </a:xfrm>
            <a:prstGeom prst="rect">
              <a:avLst/>
            </a:prstGeom>
            <a:noFill/>
          </p:spPr>
        </p:pic>
        <p:pic>
          <p:nvPicPr>
            <p:cNvPr id="206" name="Splunk"/>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58722" y="1688951"/>
              <a:ext cx="1122607" cy="388935"/>
            </a:xfrm>
            <a:prstGeom prst="rect">
              <a:avLst/>
            </a:prstGeom>
            <a:noFill/>
            <a:ln>
              <a:solidFill>
                <a:srgbClr val="00B050"/>
              </a:solidFill>
            </a:ln>
          </p:spPr>
        </p:pic>
        <p:sp>
          <p:nvSpPr>
            <p:cNvPr id="141" name="TextBox 140"/>
            <p:cNvSpPr txBox="1"/>
            <p:nvPr/>
          </p:nvSpPr>
          <p:spPr>
            <a:xfrm>
              <a:off x="1824924" y="1708555"/>
              <a:ext cx="843244" cy="369332"/>
            </a:xfrm>
            <a:prstGeom prst="rect">
              <a:avLst/>
            </a:prstGeom>
            <a:noFill/>
          </p:spPr>
          <p:txBody>
            <a:bodyPr wrap="none" rtlCol="0">
              <a:spAutoFit/>
            </a:bodyPr>
            <a:lstStyle/>
            <a:p>
              <a:pPr defTabSz="457200">
                <a:defRPr/>
              </a:pPr>
              <a:r>
                <a:rPr lang="en-US" dirty="0">
                  <a:solidFill>
                    <a:prstClr val="black"/>
                  </a:solidFill>
                </a:rPr>
                <a:t>CLOUD</a:t>
              </a:r>
            </a:p>
          </p:txBody>
        </p:sp>
        <p:sp>
          <p:nvSpPr>
            <p:cNvPr id="52" name="TextBox 51"/>
            <p:cNvSpPr txBox="1"/>
            <p:nvPr/>
          </p:nvSpPr>
          <p:spPr>
            <a:xfrm>
              <a:off x="2666845" y="2362200"/>
              <a:ext cx="476412" cy="369332"/>
            </a:xfrm>
            <a:prstGeom prst="rect">
              <a:avLst/>
            </a:prstGeom>
            <a:noFill/>
          </p:spPr>
          <p:txBody>
            <a:bodyPr wrap="none" rtlCol="0">
              <a:spAutoFit/>
            </a:bodyPr>
            <a:lstStyle/>
            <a:p>
              <a:pPr defTabSz="457200">
                <a:defRPr/>
              </a:pPr>
              <a:r>
                <a:rPr lang="en-US" dirty="0">
                  <a:solidFill>
                    <a:srgbClr val="000000"/>
                  </a:solidFill>
                </a:rPr>
                <a:t>IoT</a:t>
              </a:r>
            </a:p>
          </p:txBody>
        </p:sp>
        <p:sp>
          <p:nvSpPr>
            <p:cNvPr id="163" name="TextBox 162"/>
            <p:cNvSpPr txBox="1"/>
            <p:nvPr/>
          </p:nvSpPr>
          <p:spPr>
            <a:xfrm>
              <a:off x="2858722" y="1219200"/>
              <a:ext cx="1047723" cy="369332"/>
            </a:xfrm>
            <a:prstGeom prst="rect">
              <a:avLst/>
            </a:prstGeom>
            <a:noFill/>
          </p:spPr>
          <p:txBody>
            <a:bodyPr wrap="none" rtlCol="0">
              <a:spAutoFit/>
            </a:bodyPr>
            <a:lstStyle/>
            <a:p>
              <a:pPr defTabSz="457200">
                <a:defRPr/>
              </a:pPr>
              <a:r>
                <a:rPr lang="en-US" dirty="0">
                  <a:solidFill>
                    <a:prstClr val="black"/>
                  </a:solidFill>
                </a:rPr>
                <a:t>BIG DATA</a:t>
              </a:r>
            </a:p>
          </p:txBody>
        </p:sp>
        <p:pic>
          <p:nvPicPr>
            <p:cNvPr id="61" name="Tablet"/>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800000" flipH="1">
              <a:off x="1606769" y="2303025"/>
              <a:ext cx="311146" cy="440175"/>
            </a:xfrm>
            <a:prstGeom prst="rect">
              <a:avLst/>
            </a:prstGeom>
            <a:scene3d>
              <a:camera prst="orthographicFront">
                <a:rot lat="10800000" lon="0" rev="0"/>
              </a:camera>
              <a:lightRig rig="threePt" dir="t"/>
            </a:scene3d>
          </p:spPr>
        </p:pic>
        <p:cxnSp>
          <p:nvCxnSpPr>
            <p:cNvPr id="255" name="Elbow Connector 254"/>
            <p:cNvCxnSpPr/>
            <p:nvPr/>
          </p:nvCxnSpPr>
          <p:spPr>
            <a:xfrm rot="16200000" flipH="1">
              <a:off x="3556489" y="2237541"/>
              <a:ext cx="777558" cy="2519760"/>
            </a:xfrm>
            <a:prstGeom prst="bentConnector2">
              <a:avLst/>
            </a:prstGeom>
            <a:noFill/>
            <a:ln>
              <a:solidFill>
                <a:srgbClr val="FFFF00"/>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64" name="Elbow Connector 163"/>
            <p:cNvCxnSpPr/>
            <p:nvPr/>
          </p:nvCxnSpPr>
          <p:spPr>
            <a:xfrm>
              <a:off x="3445351" y="2077886"/>
              <a:ext cx="1772150" cy="1640426"/>
            </a:xfrm>
            <a:prstGeom prst="bentConnector3">
              <a:avLst>
                <a:gd name="adj1" fmla="val 567"/>
              </a:avLst>
            </a:prstGeom>
            <a:noFill/>
            <a:ln>
              <a:solidFill>
                <a:srgbClr val="FFFF00"/>
              </a:solidFill>
              <a:headEnd type="triangle"/>
              <a:tailEnd type="none"/>
            </a:ln>
          </p:spPr>
          <p:style>
            <a:lnRef idx="2">
              <a:schemeClr val="accent1"/>
            </a:lnRef>
            <a:fillRef idx="0">
              <a:schemeClr val="accent1"/>
            </a:fillRef>
            <a:effectRef idx="1">
              <a:schemeClr val="accent1"/>
            </a:effectRef>
            <a:fontRef idx="minor">
              <a:schemeClr val="tx1"/>
            </a:fontRef>
          </p:style>
        </p:cxnSp>
        <p:pic>
          <p:nvPicPr>
            <p:cNvPr id="297" name="firewall"/>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6350" y="2283298"/>
              <a:ext cx="521315" cy="352337"/>
            </a:xfrm>
            <a:prstGeom prst="rect">
              <a:avLst/>
            </a:prstGeom>
            <a:noFill/>
          </p:spPr>
        </p:pic>
        <p:pic>
          <p:nvPicPr>
            <p:cNvPr id="131" name="firewall"/>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87580" y="3123466"/>
              <a:ext cx="564811" cy="381734"/>
            </a:xfrm>
            <a:prstGeom prst="rect">
              <a:avLst/>
            </a:prstGeom>
            <a:noFill/>
          </p:spPr>
        </p:pic>
        <p:sp>
          <p:nvSpPr>
            <p:cNvPr id="65" name="TextBox 64"/>
            <p:cNvSpPr txBox="1"/>
            <p:nvPr/>
          </p:nvSpPr>
          <p:spPr>
            <a:xfrm>
              <a:off x="1642538" y="50460"/>
              <a:ext cx="1607998" cy="1077218"/>
            </a:xfrm>
            <a:prstGeom prst="rect">
              <a:avLst/>
            </a:prstGeom>
            <a:noFill/>
          </p:spPr>
          <p:txBody>
            <a:bodyPr wrap="none" rtlCol="0">
              <a:spAutoFit/>
            </a:bodyPr>
            <a:lstStyle/>
            <a:p>
              <a:pPr algn="ctr" defTabSz="457200">
                <a:defRPr/>
              </a:pPr>
              <a:r>
                <a:rPr lang="en-US" dirty="0">
                  <a:solidFill>
                    <a:prstClr val="black"/>
                  </a:solidFill>
                </a:rPr>
                <a:t>DASHBOARDS </a:t>
              </a:r>
            </a:p>
            <a:p>
              <a:pPr algn="ctr" defTabSz="457200">
                <a:defRPr/>
              </a:pPr>
              <a:r>
                <a:rPr lang="en-US" sz="2000" dirty="0">
                  <a:solidFill>
                    <a:prstClr val="black"/>
                  </a:solidFill>
                </a:rPr>
                <a:t>ANALYTICS</a:t>
              </a:r>
              <a:endParaRPr lang="en-US" dirty="0">
                <a:solidFill>
                  <a:prstClr val="black"/>
                </a:solidFill>
              </a:endParaRPr>
            </a:p>
            <a:p>
              <a:pPr algn="ctr" defTabSz="457200">
                <a:defRPr/>
              </a:pPr>
              <a:r>
                <a:rPr lang="en-US" dirty="0">
                  <a:solidFill>
                    <a:prstClr val="black"/>
                  </a:solidFill>
                </a:rPr>
                <a:t>PREDICTIVE…</a:t>
              </a:r>
            </a:p>
          </p:txBody>
        </p:sp>
        <p:cxnSp>
          <p:nvCxnSpPr>
            <p:cNvPr id="81" name="Elbow Connector 80"/>
            <p:cNvCxnSpPr>
              <a:stCxn id="163" idx="0"/>
              <a:endCxn id="65" idx="3"/>
            </p:cNvCxnSpPr>
            <p:nvPr/>
          </p:nvCxnSpPr>
          <p:spPr>
            <a:xfrm rot="16200000" flipV="1">
              <a:off x="3001494" y="838111"/>
              <a:ext cx="630131" cy="132048"/>
            </a:xfrm>
            <a:prstGeom prst="bentConnector2">
              <a:avLst/>
            </a:prstGeom>
            <a:noFill/>
            <a:ln>
              <a:tailEnd type="triangle"/>
            </a:ln>
          </p:spPr>
          <p:style>
            <a:lnRef idx="2">
              <a:schemeClr val="accent1"/>
            </a:lnRef>
            <a:fillRef idx="0">
              <a:schemeClr val="accent1"/>
            </a:fillRef>
            <a:effectRef idx="1">
              <a:schemeClr val="accent1"/>
            </a:effectRef>
            <a:fontRef idx="minor">
              <a:schemeClr val="tx1"/>
            </a:fontRef>
          </p:style>
        </p:cxnSp>
        <p:sp>
          <p:nvSpPr>
            <p:cNvPr id="177" name="Thingworx API"/>
            <p:cNvSpPr txBox="1"/>
            <p:nvPr/>
          </p:nvSpPr>
          <p:spPr>
            <a:xfrm>
              <a:off x="2684466" y="3581400"/>
              <a:ext cx="1116439" cy="276999"/>
            </a:xfrm>
            <a:prstGeom prst="rect">
              <a:avLst/>
            </a:prstGeom>
            <a:noFill/>
          </p:spPr>
          <p:txBody>
            <a:bodyPr wrap="square" rtlCol="0">
              <a:spAutoFit/>
            </a:bodyPr>
            <a:lstStyle/>
            <a:p>
              <a:pPr defTabSz="457200">
                <a:defRPr/>
              </a:pPr>
              <a:r>
                <a:rPr lang="en-US" sz="1200" dirty="0">
                  <a:solidFill>
                    <a:srgbClr val="FFC000"/>
                  </a:solidFill>
                  <a:latin typeface="Myriad Pro"/>
                </a:rPr>
                <a:t>AlwaysOn</a:t>
              </a:r>
            </a:p>
          </p:txBody>
        </p:sp>
        <p:pic>
          <p:nvPicPr>
            <p:cNvPr id="233" name="Thingworx"/>
            <p:cNvPicPr>
              <a:picLocks noChangeAspect="1"/>
            </p:cNvPicPr>
            <p:nvPr/>
          </p:nvPicPr>
          <p:blipFill rotWithShape="1">
            <a:blip r:embed="rId7" cstate="print">
              <a:extLst>
                <a:ext uri="{28A0092B-C50C-407E-A947-70E740481C1C}">
                  <a14:useLocalDpi xmlns:a14="http://schemas.microsoft.com/office/drawing/2010/main" val="0"/>
                </a:ext>
              </a:extLst>
            </a:blip>
            <a:srcRect l="17755" t="35766" r="18901" b="38597"/>
            <a:stretch/>
          </p:blipFill>
          <p:spPr>
            <a:xfrm>
              <a:off x="2005118" y="2743200"/>
              <a:ext cx="1360540" cy="305216"/>
            </a:xfrm>
            <a:prstGeom prst="rect">
              <a:avLst/>
            </a:prstGeom>
            <a:ln>
              <a:solidFill>
                <a:schemeClr val="accent1"/>
              </a:solidFill>
            </a:ln>
          </p:spPr>
        </p:pic>
      </p:grpSp>
      <p:grpSp>
        <p:nvGrpSpPr>
          <p:cNvPr id="308" name="18 REMOTE SITES"/>
          <p:cNvGrpSpPr/>
          <p:nvPr/>
        </p:nvGrpSpPr>
        <p:grpSpPr>
          <a:xfrm>
            <a:off x="9740796" y="863643"/>
            <a:ext cx="2375006" cy="2462526"/>
            <a:chOff x="7253669" y="916643"/>
            <a:chExt cx="2058022" cy="2462526"/>
          </a:xfrm>
        </p:grpSpPr>
        <p:cxnSp>
          <p:nvCxnSpPr>
            <p:cNvPr id="162" name="Elbow Connector 161"/>
            <p:cNvCxnSpPr/>
            <p:nvPr/>
          </p:nvCxnSpPr>
          <p:spPr>
            <a:xfrm rot="10800000">
              <a:off x="7546446" y="916643"/>
              <a:ext cx="1030353" cy="1175860"/>
            </a:xfrm>
            <a:prstGeom prst="bentConnector3">
              <a:avLst>
                <a:gd name="adj1" fmla="val 21668"/>
              </a:avLst>
            </a:prstGeom>
            <a:ln>
              <a:solidFill>
                <a:srgbClr val="00B050"/>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43" name="Elbow Connector 242"/>
            <p:cNvCxnSpPr>
              <a:stCxn id="30" idx="2"/>
              <a:endCxn id="124" idx="0"/>
            </p:cNvCxnSpPr>
            <p:nvPr/>
          </p:nvCxnSpPr>
          <p:spPr>
            <a:xfrm rot="16200000" flipH="1">
              <a:off x="6914003" y="1685840"/>
              <a:ext cx="1213597" cy="534265"/>
            </a:xfrm>
            <a:prstGeom prst="bentConnector3">
              <a:avLst>
                <a:gd name="adj1" fmla="val 50000"/>
              </a:avLst>
            </a:prstGeom>
            <a:ln>
              <a:solidFill>
                <a:srgbClr val="00B050"/>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5" name="Straight Arrow Connector 234"/>
            <p:cNvCxnSpPr>
              <a:stCxn id="30" idx="3"/>
            </p:cNvCxnSpPr>
            <p:nvPr/>
          </p:nvCxnSpPr>
          <p:spPr>
            <a:xfrm>
              <a:off x="7566884" y="1113583"/>
              <a:ext cx="605660" cy="1438911"/>
            </a:xfrm>
            <a:prstGeom prst="bentConnector2">
              <a:avLst/>
            </a:prstGeom>
            <a:ln>
              <a:solidFill>
                <a:srgbClr val="00B050"/>
              </a:solidFill>
              <a:headEnd type="triangle"/>
              <a:tailEnd type="triangle"/>
            </a:ln>
          </p:spPr>
          <p:style>
            <a:lnRef idx="2">
              <a:schemeClr val="accent1"/>
            </a:lnRef>
            <a:fillRef idx="0">
              <a:schemeClr val="accent1"/>
            </a:fillRef>
            <a:effectRef idx="1">
              <a:schemeClr val="accent1"/>
            </a:effectRef>
            <a:fontRef idx="minor">
              <a:schemeClr val="tx1"/>
            </a:fontRef>
          </p:style>
        </p:cxnSp>
        <p:pic>
          <p:nvPicPr>
            <p:cNvPr id="127" name="Picture 4"/>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7672531" y="3055494"/>
              <a:ext cx="318895" cy="20601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8621678" y="2596740"/>
              <a:ext cx="405915" cy="26222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76795" y="1958000"/>
              <a:ext cx="450798" cy="290078"/>
            </a:xfrm>
            <a:prstGeom prst="rect">
              <a:avLst/>
            </a:prstGeom>
          </p:spPr>
        </p:pic>
        <p:cxnSp>
          <p:nvCxnSpPr>
            <p:cNvPr id="119" name="Straight Arrow Connector 118"/>
            <p:cNvCxnSpPr/>
            <p:nvPr/>
          </p:nvCxnSpPr>
          <p:spPr>
            <a:xfrm>
              <a:off x="8811272" y="2327370"/>
              <a:ext cx="0" cy="239426"/>
            </a:xfrm>
            <a:prstGeom prst="straightConnector1">
              <a:avLst/>
            </a:prstGeom>
            <a:ln>
              <a:solidFill>
                <a:srgbClr val="FF0000"/>
              </a:solidFill>
              <a:headEnd type="triangle"/>
              <a:tailEnd type="triangle"/>
            </a:ln>
          </p:spPr>
          <p:style>
            <a:lnRef idx="2">
              <a:schemeClr val="accent1"/>
            </a:lnRef>
            <a:fillRef idx="0">
              <a:schemeClr val="accent1"/>
            </a:fillRef>
            <a:effectRef idx="1">
              <a:schemeClr val="accent1"/>
            </a:effectRef>
            <a:fontRef idx="minor">
              <a:schemeClr val="tx1"/>
            </a:fontRef>
          </p:style>
        </p:cxnSp>
        <p:pic>
          <p:nvPicPr>
            <p:cNvPr id="115" name="Picture 1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37369" y="2583779"/>
              <a:ext cx="377712" cy="243049"/>
            </a:xfrm>
            <a:prstGeom prst="rect">
              <a:avLst/>
            </a:prstGeom>
          </p:spPr>
        </p:pic>
        <p:pic>
          <p:nvPicPr>
            <p:cNvPr id="116" name="Picture 4"/>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8057122" y="3177200"/>
              <a:ext cx="312637" cy="201969"/>
            </a:xfrm>
            <a:prstGeom prst="rect">
              <a:avLst/>
            </a:prstGeom>
            <a:noFill/>
            <a:extLst>
              <a:ext uri="{909E8E84-426E-40DD-AFC4-6F175D3DCCD1}">
                <a14:hiddenFill xmlns:a14="http://schemas.microsoft.com/office/drawing/2010/main">
                  <a:solidFill>
                    <a:srgbClr val="FFFFFF"/>
                  </a:solidFill>
                </a14:hiddenFill>
              </a:ext>
            </a:extLst>
          </p:spPr>
        </p:pic>
        <p:cxnSp>
          <p:nvCxnSpPr>
            <p:cNvPr id="117" name="Straight Arrow Connector 116"/>
            <p:cNvCxnSpPr/>
            <p:nvPr/>
          </p:nvCxnSpPr>
          <p:spPr>
            <a:xfrm>
              <a:off x="8189182" y="2872400"/>
              <a:ext cx="0" cy="289351"/>
            </a:xfrm>
            <a:prstGeom prst="straightConnector1">
              <a:avLst/>
            </a:prstGeom>
            <a:ln>
              <a:solidFill>
                <a:srgbClr val="FF0000"/>
              </a:solidFill>
              <a:headEnd type="triangle"/>
              <a:tailEnd type="triangle"/>
            </a:ln>
          </p:spPr>
          <p:style>
            <a:lnRef idx="2">
              <a:schemeClr val="accent1"/>
            </a:lnRef>
            <a:fillRef idx="0">
              <a:schemeClr val="accent1"/>
            </a:fillRef>
            <a:effectRef idx="1">
              <a:schemeClr val="accent1"/>
            </a:effectRef>
            <a:fontRef idx="minor">
              <a:schemeClr val="tx1"/>
            </a:fontRef>
          </p:style>
        </p:cxnSp>
        <p:pic>
          <p:nvPicPr>
            <p:cNvPr id="180" name="Picture 17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88321" y="1686807"/>
              <a:ext cx="964980" cy="652193"/>
            </a:xfrm>
            <a:prstGeom prst="rect">
              <a:avLst/>
            </a:prstGeom>
          </p:spPr>
        </p:pic>
        <p:pic>
          <p:nvPicPr>
            <p:cNvPr id="124" name="Picture 1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99077" y="2559771"/>
              <a:ext cx="377712" cy="243049"/>
            </a:xfrm>
            <a:prstGeom prst="rect">
              <a:avLst/>
            </a:prstGeom>
          </p:spPr>
        </p:pic>
        <p:cxnSp>
          <p:nvCxnSpPr>
            <p:cNvPr id="126" name="Straight Arrow Connector 125"/>
            <p:cNvCxnSpPr/>
            <p:nvPr/>
          </p:nvCxnSpPr>
          <p:spPr>
            <a:xfrm flipH="1">
              <a:off x="7794838" y="2778385"/>
              <a:ext cx="3053" cy="273523"/>
            </a:xfrm>
            <a:prstGeom prst="straightConnector1">
              <a:avLst/>
            </a:prstGeom>
            <a:ln>
              <a:solidFill>
                <a:srgbClr val="FF000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307" name="TextBox 306"/>
            <p:cNvSpPr txBox="1"/>
            <p:nvPr/>
          </p:nvSpPr>
          <p:spPr>
            <a:xfrm>
              <a:off x="8375189" y="1324943"/>
              <a:ext cx="936502" cy="646331"/>
            </a:xfrm>
            <a:prstGeom prst="rect">
              <a:avLst/>
            </a:prstGeom>
            <a:noFill/>
          </p:spPr>
          <p:txBody>
            <a:bodyPr wrap="none" rtlCol="0">
              <a:spAutoFit/>
            </a:bodyPr>
            <a:lstStyle/>
            <a:p>
              <a:pPr defTabSz="457200">
                <a:defRPr/>
              </a:pPr>
              <a:r>
                <a:rPr lang="en-US" sz="1800" dirty="0">
                  <a:solidFill>
                    <a:prstClr val="black"/>
                  </a:solidFill>
                </a:rPr>
                <a:t>REMOTE</a:t>
              </a:r>
            </a:p>
            <a:p>
              <a:pPr algn="ctr" defTabSz="457200">
                <a:defRPr/>
              </a:pPr>
              <a:r>
                <a:rPr lang="en-US" sz="1800" dirty="0">
                  <a:solidFill>
                    <a:prstClr val="black"/>
                  </a:solidFill>
                </a:rPr>
                <a:t>SITES</a:t>
              </a:r>
            </a:p>
          </p:txBody>
        </p:sp>
      </p:grpSp>
      <p:grpSp>
        <p:nvGrpSpPr>
          <p:cNvPr id="299" name="17 CORP HQ"/>
          <p:cNvGrpSpPr/>
          <p:nvPr/>
        </p:nvGrpSpPr>
        <p:grpSpPr>
          <a:xfrm>
            <a:off x="6431758" y="33302"/>
            <a:ext cx="3768971" cy="3274401"/>
            <a:chOff x="4907757" y="33302"/>
            <a:chExt cx="3768971" cy="3274401"/>
          </a:xfrm>
        </p:grpSpPr>
        <p:pic>
          <p:nvPicPr>
            <p:cNvPr id="3" name="Picture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934199" y="120953"/>
              <a:ext cx="513128" cy="620349"/>
            </a:xfrm>
            <a:prstGeom prst="rect">
              <a:avLst/>
            </a:prstGeom>
          </p:spPr>
        </p:pic>
        <p:pic>
          <p:nvPicPr>
            <p:cNvPr id="30" name="Picture 2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55335" y="827992"/>
              <a:ext cx="722918" cy="465182"/>
            </a:xfrm>
            <a:prstGeom prst="rect">
              <a:avLst/>
            </a:prstGeom>
          </p:spPr>
        </p:pic>
        <p:cxnSp>
          <p:nvCxnSpPr>
            <p:cNvPr id="149" name="Elbow Connector 148"/>
            <p:cNvCxnSpPr/>
            <p:nvPr/>
          </p:nvCxnSpPr>
          <p:spPr>
            <a:xfrm flipV="1">
              <a:off x="4907757" y="1214262"/>
              <a:ext cx="2957036" cy="2093441"/>
            </a:xfrm>
            <a:prstGeom prst="bentConnector3">
              <a:avLst>
                <a:gd name="adj1" fmla="val 13415"/>
              </a:avLst>
            </a:prstGeom>
            <a:ln>
              <a:solidFill>
                <a:srgbClr val="00B05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58" name="Rectangle 157"/>
            <p:cNvSpPr/>
            <p:nvPr/>
          </p:nvSpPr>
          <p:spPr>
            <a:xfrm>
              <a:off x="5588106" y="965420"/>
              <a:ext cx="682751" cy="276999"/>
            </a:xfrm>
            <a:prstGeom prst="rect">
              <a:avLst/>
            </a:prstGeom>
          </p:spPr>
          <p:txBody>
            <a:bodyPr wrap="none">
              <a:spAutoFit/>
            </a:bodyPr>
            <a:lstStyle/>
            <a:p>
              <a:pPr defTabSz="457200">
                <a:defRPr/>
              </a:pPr>
              <a:r>
                <a:rPr lang="en-US" sz="1200" dirty="0">
                  <a:solidFill>
                    <a:srgbClr val="00B050"/>
                  </a:solidFill>
                  <a:latin typeface="Myriad Pro"/>
                </a:rPr>
                <a:t>OPC UA</a:t>
              </a:r>
            </a:p>
          </p:txBody>
        </p:sp>
        <p:pic>
          <p:nvPicPr>
            <p:cNvPr id="161" name="Picture 1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18284" y="996462"/>
              <a:ext cx="602428" cy="407158"/>
            </a:xfrm>
            <a:prstGeom prst="rect">
              <a:avLst/>
            </a:prstGeom>
          </p:spPr>
        </p:pic>
        <p:cxnSp>
          <p:nvCxnSpPr>
            <p:cNvPr id="268" name="Elbow Connector 267"/>
            <p:cNvCxnSpPr/>
            <p:nvPr/>
          </p:nvCxnSpPr>
          <p:spPr>
            <a:xfrm rot="10800000">
              <a:off x="7223897" y="782491"/>
              <a:ext cx="632794" cy="269825"/>
            </a:xfrm>
            <a:prstGeom prst="bentConnector2">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270" name="TextBox 269"/>
            <p:cNvSpPr txBox="1"/>
            <p:nvPr/>
          </p:nvSpPr>
          <p:spPr>
            <a:xfrm>
              <a:off x="7206445" y="793099"/>
              <a:ext cx="840880" cy="276999"/>
            </a:xfrm>
            <a:prstGeom prst="rect">
              <a:avLst/>
            </a:prstGeom>
            <a:noFill/>
          </p:spPr>
          <p:txBody>
            <a:bodyPr wrap="square" rtlCol="0">
              <a:spAutoFit/>
            </a:bodyPr>
            <a:lstStyle/>
            <a:p>
              <a:pPr defTabSz="457200">
                <a:defRPr/>
              </a:pPr>
              <a:r>
                <a:rPr lang="en-US" sz="1200" dirty="0">
                  <a:solidFill>
                    <a:srgbClr val="000000"/>
                  </a:solidFill>
                  <a:latin typeface="Myriad Pro"/>
                </a:rPr>
                <a:t>ODBC</a:t>
              </a:r>
            </a:p>
          </p:txBody>
        </p:sp>
        <p:sp>
          <p:nvSpPr>
            <p:cNvPr id="146" name="TextBox 145"/>
            <p:cNvSpPr txBox="1"/>
            <p:nvPr/>
          </p:nvSpPr>
          <p:spPr>
            <a:xfrm>
              <a:off x="7382148" y="76200"/>
              <a:ext cx="923651" cy="707886"/>
            </a:xfrm>
            <a:prstGeom prst="rect">
              <a:avLst/>
            </a:prstGeom>
            <a:noFill/>
          </p:spPr>
          <p:txBody>
            <a:bodyPr wrap="none" rtlCol="0">
              <a:spAutoFit/>
            </a:bodyPr>
            <a:lstStyle/>
            <a:p>
              <a:pPr algn="ctr" defTabSz="457200">
                <a:defRPr/>
              </a:pPr>
              <a:r>
                <a:rPr lang="en-US" sz="2000" dirty="0">
                  <a:solidFill>
                    <a:prstClr val="black"/>
                  </a:solidFill>
                </a:rPr>
                <a:t>CORP</a:t>
              </a:r>
            </a:p>
            <a:p>
              <a:pPr algn="ctr" defTabSz="457200">
                <a:defRPr/>
              </a:pPr>
              <a:r>
                <a:rPr lang="en-US" sz="2000" dirty="0">
                  <a:solidFill>
                    <a:prstClr val="black"/>
                  </a:solidFill>
                </a:rPr>
                <a:t>HQ</a:t>
              </a:r>
            </a:p>
          </p:txBody>
        </p:sp>
        <p:cxnSp>
          <p:nvCxnSpPr>
            <p:cNvPr id="291" name="Elbow Connector 290"/>
            <p:cNvCxnSpPr/>
            <p:nvPr/>
          </p:nvCxnSpPr>
          <p:spPr>
            <a:xfrm rot="5400000" flipH="1" flipV="1">
              <a:off x="8281950" y="645420"/>
              <a:ext cx="329604" cy="2"/>
            </a:xfrm>
            <a:prstGeom prst="bentConnector3">
              <a:avLst>
                <a:gd name="adj1" fmla="val 50000"/>
              </a:avLst>
            </a:prstGeom>
            <a:ln>
              <a:solidFill>
                <a:srgbClr val="00B050"/>
              </a:solidFill>
              <a:headEnd type="triangle"/>
              <a:tailEnd type="triangle"/>
            </a:ln>
          </p:spPr>
          <p:style>
            <a:lnRef idx="2">
              <a:schemeClr val="accent1"/>
            </a:lnRef>
            <a:fillRef idx="0">
              <a:schemeClr val="accent1"/>
            </a:fillRef>
            <a:effectRef idx="1">
              <a:schemeClr val="accent1"/>
            </a:effectRef>
            <a:fontRef idx="minor">
              <a:schemeClr val="tx1"/>
            </a:fontRef>
          </p:style>
        </p:cxnSp>
        <p:pic>
          <p:nvPicPr>
            <p:cNvPr id="22" name="Picture 2"/>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8229599" y="33302"/>
              <a:ext cx="447129" cy="4263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4" name="16 ENTERPRISE DATABASE"/>
          <p:cNvGrpSpPr/>
          <p:nvPr/>
        </p:nvGrpSpPr>
        <p:grpSpPr>
          <a:xfrm>
            <a:off x="5950772" y="23170"/>
            <a:ext cx="2272333" cy="3432660"/>
            <a:chOff x="5036371" y="23169"/>
            <a:chExt cx="2272333" cy="3432660"/>
          </a:xfrm>
        </p:grpSpPr>
        <p:cxnSp>
          <p:nvCxnSpPr>
            <p:cNvPr id="165" name="Elbow Connector 164"/>
            <p:cNvCxnSpPr/>
            <p:nvPr/>
          </p:nvCxnSpPr>
          <p:spPr>
            <a:xfrm rot="16200000" flipV="1">
              <a:off x="4110425" y="2154572"/>
              <a:ext cx="2601031" cy="1483"/>
            </a:xfrm>
            <a:prstGeom prst="bentConnector3">
              <a:avLst>
                <a:gd name="adj1" fmla="val 50000"/>
              </a:avLst>
            </a:prstGeom>
            <a:ln>
              <a:solidFill>
                <a:srgbClr val="00B050"/>
              </a:solidFill>
              <a:headEnd type="triangle"/>
              <a:tailEnd type="triangle"/>
            </a:ln>
          </p:spPr>
          <p:style>
            <a:lnRef idx="2">
              <a:schemeClr val="accent1"/>
            </a:lnRef>
            <a:fillRef idx="0">
              <a:schemeClr val="accent1"/>
            </a:fillRef>
            <a:effectRef idx="1">
              <a:schemeClr val="accent1"/>
            </a:effectRef>
            <a:fontRef idx="minor">
              <a:schemeClr val="tx1"/>
            </a:fontRef>
          </p:style>
        </p:cxnSp>
        <p:pic>
          <p:nvPicPr>
            <p:cNvPr id="24" name="Picture 2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103309" y="23169"/>
              <a:ext cx="687890" cy="831629"/>
            </a:xfrm>
            <a:prstGeom prst="rect">
              <a:avLst/>
            </a:prstGeom>
          </p:spPr>
        </p:pic>
        <p:pic>
          <p:nvPicPr>
            <p:cNvPr id="167" name="Picture 1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36371" y="1062852"/>
              <a:ext cx="602428" cy="407158"/>
            </a:xfrm>
            <a:prstGeom prst="rect">
              <a:avLst/>
            </a:prstGeom>
          </p:spPr>
        </p:pic>
        <p:sp>
          <p:nvSpPr>
            <p:cNvPr id="320" name="Rectangle 319"/>
            <p:cNvSpPr/>
            <p:nvPr/>
          </p:nvSpPr>
          <p:spPr>
            <a:xfrm rot="16200000">
              <a:off x="4925087" y="2819287"/>
              <a:ext cx="790024" cy="276999"/>
            </a:xfrm>
            <a:prstGeom prst="rect">
              <a:avLst/>
            </a:prstGeom>
          </p:spPr>
          <p:txBody>
            <a:bodyPr wrap="none">
              <a:spAutoFit/>
            </a:bodyPr>
            <a:lstStyle/>
            <a:p>
              <a:pPr defTabSz="457200">
                <a:defRPr/>
              </a:pPr>
              <a:r>
                <a:rPr lang="en-US" sz="1200" dirty="0">
                  <a:solidFill>
                    <a:srgbClr val="00B050"/>
                  </a:solidFill>
                  <a:latin typeface="Myriad Pro"/>
                </a:rPr>
                <a:t>OPC HDA</a:t>
              </a:r>
            </a:p>
          </p:txBody>
        </p:sp>
        <p:sp>
          <p:nvSpPr>
            <p:cNvPr id="29" name="TextBox 28"/>
            <p:cNvSpPr txBox="1"/>
            <p:nvPr/>
          </p:nvSpPr>
          <p:spPr>
            <a:xfrm>
              <a:off x="5714999" y="130313"/>
              <a:ext cx="1593705" cy="707886"/>
            </a:xfrm>
            <a:prstGeom prst="rect">
              <a:avLst/>
            </a:prstGeom>
            <a:noFill/>
          </p:spPr>
          <p:txBody>
            <a:bodyPr wrap="none" rtlCol="0">
              <a:spAutoFit/>
            </a:bodyPr>
            <a:lstStyle/>
            <a:p>
              <a:pPr algn="ctr" defTabSz="457200">
                <a:defRPr/>
              </a:pPr>
              <a:r>
                <a:rPr lang="en-US" sz="2000" dirty="0">
                  <a:solidFill>
                    <a:prstClr val="black"/>
                  </a:solidFill>
                </a:rPr>
                <a:t>ENTERPRISE</a:t>
              </a:r>
            </a:p>
            <a:p>
              <a:pPr algn="ctr" defTabSz="457200">
                <a:defRPr/>
              </a:pPr>
              <a:r>
                <a:rPr lang="en-US" sz="2000" dirty="0">
                  <a:solidFill>
                    <a:prstClr val="black"/>
                  </a:solidFill>
                </a:rPr>
                <a:t>DATABASES</a:t>
              </a:r>
            </a:p>
          </p:txBody>
        </p:sp>
      </p:grpSp>
      <p:grpSp>
        <p:nvGrpSpPr>
          <p:cNvPr id="55" name="15 MES/ERP"/>
          <p:cNvGrpSpPr/>
          <p:nvPr/>
        </p:nvGrpSpPr>
        <p:grpSpPr>
          <a:xfrm>
            <a:off x="3912597" y="-36787"/>
            <a:ext cx="1666170" cy="3515780"/>
            <a:chOff x="2955270" y="66245"/>
            <a:chExt cx="1666170" cy="3515780"/>
          </a:xfrm>
        </p:grpSpPr>
        <p:pic>
          <p:nvPicPr>
            <p:cNvPr id="19" name="Picture 4"/>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flipH="1">
              <a:off x="2955270" y="439619"/>
              <a:ext cx="796572" cy="777829"/>
            </a:xfrm>
            <a:prstGeom prst="rect">
              <a:avLst/>
            </a:prstGeom>
            <a:noFill/>
            <a:extLst>
              <a:ext uri="{909E8E84-426E-40DD-AFC4-6F175D3DCCD1}">
                <a14:hiddenFill xmlns:a14="http://schemas.microsoft.com/office/drawing/2010/main">
                  <a:solidFill>
                    <a:srgbClr val="FFFFFF"/>
                  </a:solidFill>
                </a14:hiddenFill>
              </a:ext>
            </a:extLst>
          </p:spPr>
        </p:pic>
        <p:sp>
          <p:nvSpPr>
            <p:cNvPr id="207" name="TextBox 206"/>
            <p:cNvSpPr txBox="1"/>
            <p:nvPr/>
          </p:nvSpPr>
          <p:spPr>
            <a:xfrm>
              <a:off x="3051015" y="66245"/>
              <a:ext cx="1043234" cy="369332"/>
            </a:xfrm>
            <a:prstGeom prst="rect">
              <a:avLst/>
            </a:prstGeom>
            <a:noFill/>
          </p:spPr>
          <p:txBody>
            <a:bodyPr wrap="none" rtlCol="0">
              <a:spAutoFit/>
            </a:bodyPr>
            <a:lstStyle/>
            <a:p>
              <a:pPr defTabSz="457200">
                <a:defRPr/>
              </a:pPr>
              <a:r>
                <a:rPr lang="en-US" dirty="0">
                  <a:solidFill>
                    <a:prstClr val="black"/>
                  </a:solidFill>
                </a:rPr>
                <a:t>MES/ERP</a:t>
              </a:r>
            </a:p>
          </p:txBody>
        </p:sp>
        <p:sp>
          <p:nvSpPr>
            <p:cNvPr id="219" name="TextBox 218"/>
            <p:cNvSpPr txBox="1"/>
            <p:nvPr/>
          </p:nvSpPr>
          <p:spPr>
            <a:xfrm rot="16200000">
              <a:off x="4030345" y="2852565"/>
              <a:ext cx="902228" cy="279963"/>
            </a:xfrm>
            <a:prstGeom prst="rect">
              <a:avLst/>
            </a:prstGeom>
            <a:noFill/>
          </p:spPr>
          <p:txBody>
            <a:bodyPr wrap="square" rtlCol="0">
              <a:spAutoFit/>
            </a:bodyPr>
            <a:lstStyle/>
            <a:p>
              <a:pPr defTabSz="457200">
                <a:defRPr/>
              </a:pPr>
              <a:r>
                <a:rPr lang="en-US" sz="1200" dirty="0">
                  <a:solidFill>
                    <a:srgbClr val="00B050"/>
                  </a:solidFill>
                  <a:latin typeface="Myriad Pro"/>
                </a:rPr>
                <a:t>OPC UA</a:t>
              </a:r>
            </a:p>
          </p:txBody>
        </p:sp>
        <p:pic>
          <p:nvPicPr>
            <p:cNvPr id="302" name="Picture 30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16580" y="694541"/>
              <a:ext cx="708302" cy="455777"/>
            </a:xfrm>
            <a:prstGeom prst="rect">
              <a:avLst/>
            </a:prstGeom>
          </p:spPr>
        </p:pic>
        <p:cxnSp>
          <p:nvCxnSpPr>
            <p:cNvPr id="306" name="Straight Arrow Connector 305"/>
            <p:cNvCxnSpPr/>
            <p:nvPr/>
          </p:nvCxnSpPr>
          <p:spPr>
            <a:xfrm rot="16200000" flipH="1">
              <a:off x="2909498" y="1897880"/>
              <a:ext cx="2285321" cy="1082970"/>
            </a:xfrm>
            <a:prstGeom prst="bentConnector3">
              <a:avLst>
                <a:gd name="adj1" fmla="val 59296"/>
              </a:avLst>
            </a:prstGeom>
            <a:ln>
              <a:headEnd type="triangle"/>
              <a:tailEnd type="triangle"/>
            </a:ln>
          </p:spPr>
          <p:style>
            <a:lnRef idx="2">
              <a:schemeClr val="accent1"/>
            </a:lnRef>
            <a:fillRef idx="0">
              <a:schemeClr val="accent1"/>
            </a:fillRef>
            <a:effectRef idx="1">
              <a:schemeClr val="accent1"/>
            </a:effectRef>
            <a:fontRef idx="minor">
              <a:schemeClr val="tx1"/>
            </a:fontRef>
          </p:style>
        </p:cxnSp>
        <p:pic>
          <p:nvPicPr>
            <p:cNvPr id="309" name="Picture 3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57473" y="1524674"/>
              <a:ext cx="602428" cy="407158"/>
            </a:xfrm>
            <a:prstGeom prst="rect">
              <a:avLst/>
            </a:prstGeom>
          </p:spPr>
        </p:pic>
      </p:grpSp>
      <p:sp>
        <p:nvSpPr>
          <p:cNvPr id="99" name="remote line"/>
          <p:cNvSpPr/>
          <p:nvPr/>
        </p:nvSpPr>
        <p:spPr>
          <a:xfrm>
            <a:off x="0" y="1472682"/>
            <a:ext cx="12192000" cy="2234830"/>
          </a:xfrm>
          <a:custGeom>
            <a:avLst/>
            <a:gdLst>
              <a:gd name="connsiteX0" fmla="*/ 0 w 9166860"/>
              <a:gd name="connsiteY0" fmla="*/ 1956043 h 2292109"/>
              <a:gd name="connsiteX1" fmla="*/ 754380 w 9166860"/>
              <a:gd name="connsiteY1" fmla="*/ 2287513 h 2292109"/>
              <a:gd name="connsiteX2" fmla="*/ 2148840 w 9166860"/>
              <a:gd name="connsiteY2" fmla="*/ 1738873 h 2292109"/>
              <a:gd name="connsiteX3" fmla="*/ 2366010 w 9166860"/>
              <a:gd name="connsiteY3" fmla="*/ 790183 h 2292109"/>
              <a:gd name="connsiteX4" fmla="*/ 5120640 w 9166860"/>
              <a:gd name="connsiteY4" fmla="*/ 115813 h 2292109"/>
              <a:gd name="connsiteX5" fmla="*/ 7052310 w 9166860"/>
              <a:gd name="connsiteY5" fmla="*/ 184393 h 2292109"/>
              <a:gd name="connsiteX6" fmla="*/ 7509510 w 9166860"/>
              <a:gd name="connsiteY6" fmla="*/ 1898893 h 2292109"/>
              <a:gd name="connsiteX7" fmla="*/ 8343900 w 9166860"/>
              <a:gd name="connsiteY7" fmla="*/ 2058913 h 2292109"/>
              <a:gd name="connsiteX8" fmla="*/ 9166860 w 9166860"/>
              <a:gd name="connsiteY8" fmla="*/ 1533133 h 2292109"/>
              <a:gd name="connsiteX0" fmla="*/ 0 w 9166860"/>
              <a:gd name="connsiteY0" fmla="*/ 1957368 h 2293434"/>
              <a:gd name="connsiteX1" fmla="*/ 754380 w 9166860"/>
              <a:gd name="connsiteY1" fmla="*/ 2288838 h 2293434"/>
              <a:gd name="connsiteX2" fmla="*/ 2148840 w 9166860"/>
              <a:gd name="connsiteY2" fmla="*/ 1740198 h 2293434"/>
              <a:gd name="connsiteX3" fmla="*/ 2617470 w 9166860"/>
              <a:gd name="connsiteY3" fmla="*/ 814368 h 2293434"/>
              <a:gd name="connsiteX4" fmla="*/ 5120640 w 9166860"/>
              <a:gd name="connsiteY4" fmla="*/ 117138 h 2293434"/>
              <a:gd name="connsiteX5" fmla="*/ 7052310 w 9166860"/>
              <a:gd name="connsiteY5" fmla="*/ 185718 h 2293434"/>
              <a:gd name="connsiteX6" fmla="*/ 7509510 w 9166860"/>
              <a:gd name="connsiteY6" fmla="*/ 1900218 h 2293434"/>
              <a:gd name="connsiteX7" fmla="*/ 8343900 w 9166860"/>
              <a:gd name="connsiteY7" fmla="*/ 2060238 h 2293434"/>
              <a:gd name="connsiteX8" fmla="*/ 9166860 w 9166860"/>
              <a:gd name="connsiteY8" fmla="*/ 1534458 h 2293434"/>
              <a:gd name="connsiteX0" fmla="*/ 0 w 9166860"/>
              <a:gd name="connsiteY0" fmla="*/ 1957368 h 2293030"/>
              <a:gd name="connsiteX1" fmla="*/ 754380 w 9166860"/>
              <a:gd name="connsiteY1" fmla="*/ 2288838 h 2293030"/>
              <a:gd name="connsiteX2" fmla="*/ 2114550 w 9166860"/>
              <a:gd name="connsiteY2" fmla="*/ 1751628 h 2293030"/>
              <a:gd name="connsiteX3" fmla="*/ 2617470 w 9166860"/>
              <a:gd name="connsiteY3" fmla="*/ 814368 h 2293030"/>
              <a:gd name="connsiteX4" fmla="*/ 5120640 w 9166860"/>
              <a:gd name="connsiteY4" fmla="*/ 117138 h 2293030"/>
              <a:gd name="connsiteX5" fmla="*/ 7052310 w 9166860"/>
              <a:gd name="connsiteY5" fmla="*/ 185718 h 2293030"/>
              <a:gd name="connsiteX6" fmla="*/ 7509510 w 9166860"/>
              <a:gd name="connsiteY6" fmla="*/ 1900218 h 2293030"/>
              <a:gd name="connsiteX7" fmla="*/ 8343900 w 9166860"/>
              <a:gd name="connsiteY7" fmla="*/ 2060238 h 2293030"/>
              <a:gd name="connsiteX8" fmla="*/ 9166860 w 9166860"/>
              <a:gd name="connsiteY8" fmla="*/ 1534458 h 2293030"/>
              <a:gd name="connsiteX0" fmla="*/ 0 w 9166860"/>
              <a:gd name="connsiteY0" fmla="*/ 1945940 h 2281602"/>
              <a:gd name="connsiteX1" fmla="*/ 754380 w 9166860"/>
              <a:gd name="connsiteY1" fmla="*/ 2277410 h 2281602"/>
              <a:gd name="connsiteX2" fmla="*/ 2114550 w 9166860"/>
              <a:gd name="connsiteY2" fmla="*/ 1740200 h 2281602"/>
              <a:gd name="connsiteX3" fmla="*/ 2617470 w 9166860"/>
              <a:gd name="connsiteY3" fmla="*/ 802940 h 2281602"/>
              <a:gd name="connsiteX4" fmla="*/ 5029200 w 9166860"/>
              <a:gd name="connsiteY4" fmla="*/ 128570 h 2281602"/>
              <a:gd name="connsiteX5" fmla="*/ 7052310 w 9166860"/>
              <a:gd name="connsiteY5" fmla="*/ 174290 h 2281602"/>
              <a:gd name="connsiteX6" fmla="*/ 7509510 w 9166860"/>
              <a:gd name="connsiteY6" fmla="*/ 1888790 h 2281602"/>
              <a:gd name="connsiteX7" fmla="*/ 8343900 w 9166860"/>
              <a:gd name="connsiteY7" fmla="*/ 2048810 h 2281602"/>
              <a:gd name="connsiteX8" fmla="*/ 9166860 w 9166860"/>
              <a:gd name="connsiteY8" fmla="*/ 1523030 h 2281602"/>
              <a:gd name="connsiteX0" fmla="*/ 0 w 9166860"/>
              <a:gd name="connsiteY0" fmla="*/ 1945940 h 2281602"/>
              <a:gd name="connsiteX1" fmla="*/ 754380 w 9166860"/>
              <a:gd name="connsiteY1" fmla="*/ 2277410 h 2281602"/>
              <a:gd name="connsiteX2" fmla="*/ 2114550 w 9166860"/>
              <a:gd name="connsiteY2" fmla="*/ 1740200 h 2281602"/>
              <a:gd name="connsiteX3" fmla="*/ 2617470 w 9166860"/>
              <a:gd name="connsiteY3" fmla="*/ 802940 h 2281602"/>
              <a:gd name="connsiteX4" fmla="*/ 4994910 w 9166860"/>
              <a:gd name="connsiteY4" fmla="*/ 128570 h 2281602"/>
              <a:gd name="connsiteX5" fmla="*/ 7052310 w 9166860"/>
              <a:gd name="connsiteY5" fmla="*/ 174290 h 2281602"/>
              <a:gd name="connsiteX6" fmla="*/ 7509510 w 9166860"/>
              <a:gd name="connsiteY6" fmla="*/ 1888790 h 2281602"/>
              <a:gd name="connsiteX7" fmla="*/ 8343900 w 9166860"/>
              <a:gd name="connsiteY7" fmla="*/ 2048810 h 2281602"/>
              <a:gd name="connsiteX8" fmla="*/ 9166860 w 9166860"/>
              <a:gd name="connsiteY8" fmla="*/ 1523030 h 2281602"/>
              <a:gd name="connsiteX0" fmla="*/ 0 w 9166860"/>
              <a:gd name="connsiteY0" fmla="*/ 1963371 h 2299033"/>
              <a:gd name="connsiteX1" fmla="*/ 754380 w 9166860"/>
              <a:gd name="connsiteY1" fmla="*/ 2294841 h 2299033"/>
              <a:gd name="connsiteX2" fmla="*/ 2114550 w 9166860"/>
              <a:gd name="connsiteY2" fmla="*/ 1757631 h 2299033"/>
              <a:gd name="connsiteX3" fmla="*/ 2617470 w 9166860"/>
              <a:gd name="connsiteY3" fmla="*/ 820371 h 2299033"/>
              <a:gd name="connsiteX4" fmla="*/ 5109210 w 9166860"/>
              <a:gd name="connsiteY4" fmla="*/ 111711 h 2299033"/>
              <a:gd name="connsiteX5" fmla="*/ 7052310 w 9166860"/>
              <a:gd name="connsiteY5" fmla="*/ 191721 h 2299033"/>
              <a:gd name="connsiteX6" fmla="*/ 7509510 w 9166860"/>
              <a:gd name="connsiteY6" fmla="*/ 1906221 h 2299033"/>
              <a:gd name="connsiteX7" fmla="*/ 8343900 w 9166860"/>
              <a:gd name="connsiteY7" fmla="*/ 2066241 h 2299033"/>
              <a:gd name="connsiteX8" fmla="*/ 9166860 w 9166860"/>
              <a:gd name="connsiteY8" fmla="*/ 1540461 h 2299033"/>
              <a:gd name="connsiteX0" fmla="*/ 0 w 9166860"/>
              <a:gd name="connsiteY0" fmla="*/ 1898276 h 2233938"/>
              <a:gd name="connsiteX1" fmla="*/ 754380 w 9166860"/>
              <a:gd name="connsiteY1" fmla="*/ 2229746 h 2233938"/>
              <a:gd name="connsiteX2" fmla="*/ 2114550 w 9166860"/>
              <a:gd name="connsiteY2" fmla="*/ 1692536 h 2233938"/>
              <a:gd name="connsiteX3" fmla="*/ 2617470 w 9166860"/>
              <a:gd name="connsiteY3" fmla="*/ 755276 h 2233938"/>
              <a:gd name="connsiteX4" fmla="*/ 5109210 w 9166860"/>
              <a:gd name="connsiteY4" fmla="*/ 46616 h 2233938"/>
              <a:gd name="connsiteX5" fmla="*/ 7018020 w 9166860"/>
              <a:gd name="connsiteY5" fmla="*/ 263786 h 2233938"/>
              <a:gd name="connsiteX6" fmla="*/ 7509510 w 9166860"/>
              <a:gd name="connsiteY6" fmla="*/ 1841126 h 2233938"/>
              <a:gd name="connsiteX7" fmla="*/ 8343900 w 9166860"/>
              <a:gd name="connsiteY7" fmla="*/ 2001146 h 2233938"/>
              <a:gd name="connsiteX8" fmla="*/ 9166860 w 9166860"/>
              <a:gd name="connsiteY8" fmla="*/ 1475366 h 2233938"/>
              <a:gd name="connsiteX0" fmla="*/ 0 w 9166860"/>
              <a:gd name="connsiteY0" fmla="*/ 1899168 h 2234830"/>
              <a:gd name="connsiteX1" fmla="*/ 754380 w 9166860"/>
              <a:gd name="connsiteY1" fmla="*/ 2230638 h 2234830"/>
              <a:gd name="connsiteX2" fmla="*/ 2114550 w 9166860"/>
              <a:gd name="connsiteY2" fmla="*/ 1693428 h 2234830"/>
              <a:gd name="connsiteX3" fmla="*/ 2617470 w 9166860"/>
              <a:gd name="connsiteY3" fmla="*/ 756168 h 2234830"/>
              <a:gd name="connsiteX4" fmla="*/ 5109210 w 9166860"/>
              <a:gd name="connsiteY4" fmla="*/ 47508 h 2234830"/>
              <a:gd name="connsiteX5" fmla="*/ 7018020 w 9166860"/>
              <a:gd name="connsiteY5" fmla="*/ 264678 h 2234830"/>
              <a:gd name="connsiteX6" fmla="*/ 7612380 w 9166860"/>
              <a:gd name="connsiteY6" fmla="*/ 1864878 h 2234830"/>
              <a:gd name="connsiteX7" fmla="*/ 8343900 w 9166860"/>
              <a:gd name="connsiteY7" fmla="*/ 2002038 h 2234830"/>
              <a:gd name="connsiteX8" fmla="*/ 9166860 w 9166860"/>
              <a:gd name="connsiteY8" fmla="*/ 1476258 h 2234830"/>
              <a:gd name="connsiteX0" fmla="*/ 0 w 9166860"/>
              <a:gd name="connsiteY0" fmla="*/ 1899168 h 2234830"/>
              <a:gd name="connsiteX1" fmla="*/ 754380 w 9166860"/>
              <a:gd name="connsiteY1" fmla="*/ 2230638 h 2234830"/>
              <a:gd name="connsiteX2" fmla="*/ 2114550 w 9166860"/>
              <a:gd name="connsiteY2" fmla="*/ 1693428 h 2234830"/>
              <a:gd name="connsiteX3" fmla="*/ 2617470 w 9166860"/>
              <a:gd name="connsiteY3" fmla="*/ 756168 h 2234830"/>
              <a:gd name="connsiteX4" fmla="*/ 5109210 w 9166860"/>
              <a:gd name="connsiteY4" fmla="*/ 47508 h 2234830"/>
              <a:gd name="connsiteX5" fmla="*/ 7018020 w 9166860"/>
              <a:gd name="connsiteY5" fmla="*/ 264678 h 2234830"/>
              <a:gd name="connsiteX6" fmla="*/ 7612380 w 9166860"/>
              <a:gd name="connsiteY6" fmla="*/ 1864878 h 2234830"/>
              <a:gd name="connsiteX7" fmla="*/ 8732520 w 9166860"/>
              <a:gd name="connsiteY7" fmla="*/ 1979178 h 2234830"/>
              <a:gd name="connsiteX8" fmla="*/ 9166860 w 9166860"/>
              <a:gd name="connsiteY8" fmla="*/ 1476258 h 2234830"/>
              <a:gd name="connsiteX0" fmla="*/ 0 w 9166860"/>
              <a:gd name="connsiteY0" fmla="*/ 1899168 h 2234830"/>
              <a:gd name="connsiteX1" fmla="*/ 754380 w 9166860"/>
              <a:gd name="connsiteY1" fmla="*/ 2230638 h 2234830"/>
              <a:gd name="connsiteX2" fmla="*/ 2114550 w 9166860"/>
              <a:gd name="connsiteY2" fmla="*/ 1693428 h 2234830"/>
              <a:gd name="connsiteX3" fmla="*/ 2617470 w 9166860"/>
              <a:gd name="connsiteY3" fmla="*/ 756168 h 2234830"/>
              <a:gd name="connsiteX4" fmla="*/ 5109210 w 9166860"/>
              <a:gd name="connsiteY4" fmla="*/ 47508 h 2234830"/>
              <a:gd name="connsiteX5" fmla="*/ 7018020 w 9166860"/>
              <a:gd name="connsiteY5" fmla="*/ 264678 h 2234830"/>
              <a:gd name="connsiteX6" fmla="*/ 7612380 w 9166860"/>
              <a:gd name="connsiteY6" fmla="*/ 1864878 h 2234830"/>
              <a:gd name="connsiteX7" fmla="*/ 8743950 w 9166860"/>
              <a:gd name="connsiteY7" fmla="*/ 1922028 h 2234830"/>
              <a:gd name="connsiteX8" fmla="*/ 9166860 w 9166860"/>
              <a:gd name="connsiteY8" fmla="*/ 1476258 h 2234830"/>
              <a:gd name="connsiteX0" fmla="*/ 0 w 9144000"/>
              <a:gd name="connsiteY0" fmla="*/ 1899168 h 2234830"/>
              <a:gd name="connsiteX1" fmla="*/ 754380 w 9144000"/>
              <a:gd name="connsiteY1" fmla="*/ 2230638 h 2234830"/>
              <a:gd name="connsiteX2" fmla="*/ 2114550 w 9144000"/>
              <a:gd name="connsiteY2" fmla="*/ 1693428 h 2234830"/>
              <a:gd name="connsiteX3" fmla="*/ 2617470 w 9144000"/>
              <a:gd name="connsiteY3" fmla="*/ 756168 h 2234830"/>
              <a:gd name="connsiteX4" fmla="*/ 5109210 w 9144000"/>
              <a:gd name="connsiteY4" fmla="*/ 47508 h 2234830"/>
              <a:gd name="connsiteX5" fmla="*/ 7018020 w 9144000"/>
              <a:gd name="connsiteY5" fmla="*/ 264678 h 2234830"/>
              <a:gd name="connsiteX6" fmla="*/ 7612380 w 9144000"/>
              <a:gd name="connsiteY6" fmla="*/ 1864878 h 2234830"/>
              <a:gd name="connsiteX7" fmla="*/ 8743950 w 9144000"/>
              <a:gd name="connsiteY7" fmla="*/ 1922028 h 2234830"/>
              <a:gd name="connsiteX8" fmla="*/ 9144000 w 9144000"/>
              <a:gd name="connsiteY8" fmla="*/ 1590558 h 2234830"/>
              <a:gd name="connsiteX0" fmla="*/ 0 w 9155430"/>
              <a:gd name="connsiteY0" fmla="*/ 1899168 h 2234830"/>
              <a:gd name="connsiteX1" fmla="*/ 754380 w 9155430"/>
              <a:gd name="connsiteY1" fmla="*/ 2230638 h 2234830"/>
              <a:gd name="connsiteX2" fmla="*/ 2114550 w 9155430"/>
              <a:gd name="connsiteY2" fmla="*/ 1693428 h 2234830"/>
              <a:gd name="connsiteX3" fmla="*/ 2617470 w 9155430"/>
              <a:gd name="connsiteY3" fmla="*/ 756168 h 2234830"/>
              <a:gd name="connsiteX4" fmla="*/ 5109210 w 9155430"/>
              <a:gd name="connsiteY4" fmla="*/ 47508 h 2234830"/>
              <a:gd name="connsiteX5" fmla="*/ 7018020 w 9155430"/>
              <a:gd name="connsiteY5" fmla="*/ 264678 h 2234830"/>
              <a:gd name="connsiteX6" fmla="*/ 7612380 w 9155430"/>
              <a:gd name="connsiteY6" fmla="*/ 1864878 h 2234830"/>
              <a:gd name="connsiteX7" fmla="*/ 8743950 w 9155430"/>
              <a:gd name="connsiteY7" fmla="*/ 1922028 h 2234830"/>
              <a:gd name="connsiteX8" fmla="*/ 9155430 w 9155430"/>
              <a:gd name="connsiteY8" fmla="*/ 1544838 h 2234830"/>
              <a:gd name="connsiteX0" fmla="*/ 0 w 9155430"/>
              <a:gd name="connsiteY0" fmla="*/ 1899168 h 2234830"/>
              <a:gd name="connsiteX1" fmla="*/ 754380 w 9155430"/>
              <a:gd name="connsiteY1" fmla="*/ 2230638 h 2234830"/>
              <a:gd name="connsiteX2" fmla="*/ 2114550 w 9155430"/>
              <a:gd name="connsiteY2" fmla="*/ 1693428 h 2234830"/>
              <a:gd name="connsiteX3" fmla="*/ 2617470 w 9155430"/>
              <a:gd name="connsiteY3" fmla="*/ 756168 h 2234830"/>
              <a:gd name="connsiteX4" fmla="*/ 5109210 w 9155430"/>
              <a:gd name="connsiteY4" fmla="*/ 47508 h 2234830"/>
              <a:gd name="connsiteX5" fmla="*/ 7018020 w 9155430"/>
              <a:gd name="connsiteY5" fmla="*/ 264678 h 2234830"/>
              <a:gd name="connsiteX6" fmla="*/ 7612380 w 9155430"/>
              <a:gd name="connsiteY6" fmla="*/ 1864878 h 2234830"/>
              <a:gd name="connsiteX7" fmla="*/ 8743950 w 9155430"/>
              <a:gd name="connsiteY7" fmla="*/ 1922028 h 2234830"/>
              <a:gd name="connsiteX8" fmla="*/ 9155430 w 9155430"/>
              <a:gd name="connsiteY8" fmla="*/ 1476258 h 2234830"/>
              <a:gd name="connsiteX0" fmla="*/ 0 w 9155430"/>
              <a:gd name="connsiteY0" fmla="*/ 1899168 h 2234830"/>
              <a:gd name="connsiteX1" fmla="*/ 754380 w 9155430"/>
              <a:gd name="connsiteY1" fmla="*/ 2230638 h 2234830"/>
              <a:gd name="connsiteX2" fmla="*/ 2114550 w 9155430"/>
              <a:gd name="connsiteY2" fmla="*/ 1693428 h 2234830"/>
              <a:gd name="connsiteX3" fmla="*/ 2617470 w 9155430"/>
              <a:gd name="connsiteY3" fmla="*/ 756168 h 2234830"/>
              <a:gd name="connsiteX4" fmla="*/ 5109210 w 9155430"/>
              <a:gd name="connsiteY4" fmla="*/ 47508 h 2234830"/>
              <a:gd name="connsiteX5" fmla="*/ 7018020 w 9155430"/>
              <a:gd name="connsiteY5" fmla="*/ 264678 h 2234830"/>
              <a:gd name="connsiteX6" fmla="*/ 7612380 w 9155430"/>
              <a:gd name="connsiteY6" fmla="*/ 1864878 h 2234830"/>
              <a:gd name="connsiteX7" fmla="*/ 8458200 w 9155430"/>
              <a:gd name="connsiteY7" fmla="*/ 2024898 h 2234830"/>
              <a:gd name="connsiteX8" fmla="*/ 9155430 w 9155430"/>
              <a:gd name="connsiteY8" fmla="*/ 1476258 h 223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55430" h="2234830">
                <a:moveTo>
                  <a:pt x="0" y="1899168"/>
                </a:moveTo>
                <a:cubicBezTo>
                  <a:pt x="198120" y="2083000"/>
                  <a:pt x="401955" y="2264928"/>
                  <a:pt x="754380" y="2230638"/>
                </a:cubicBezTo>
                <a:cubicBezTo>
                  <a:pt x="1106805" y="2196348"/>
                  <a:pt x="1804035" y="1939173"/>
                  <a:pt x="2114550" y="1693428"/>
                </a:cubicBezTo>
                <a:cubicBezTo>
                  <a:pt x="2425065" y="1447683"/>
                  <a:pt x="2118360" y="1030488"/>
                  <a:pt x="2617470" y="756168"/>
                </a:cubicBezTo>
                <a:cubicBezTo>
                  <a:pt x="3116580" y="481848"/>
                  <a:pt x="4375785" y="129423"/>
                  <a:pt x="5109210" y="47508"/>
                </a:cubicBezTo>
                <a:cubicBezTo>
                  <a:pt x="5842635" y="-34407"/>
                  <a:pt x="6600825" y="-38217"/>
                  <a:pt x="7018020" y="264678"/>
                </a:cubicBezTo>
                <a:cubicBezTo>
                  <a:pt x="7435215" y="567573"/>
                  <a:pt x="7372350" y="1571508"/>
                  <a:pt x="7612380" y="1864878"/>
                </a:cubicBezTo>
                <a:cubicBezTo>
                  <a:pt x="7852410" y="2158248"/>
                  <a:pt x="8201025" y="2089668"/>
                  <a:pt x="8458200" y="2024898"/>
                </a:cubicBezTo>
                <a:cubicBezTo>
                  <a:pt x="8715375" y="1960128"/>
                  <a:pt x="8882062" y="1708668"/>
                  <a:pt x="9155430" y="1476258"/>
                </a:cubicBezTo>
              </a:path>
            </a:pathLst>
          </a:custGeom>
          <a:noFill/>
          <a:ln w="6350">
            <a:solidFill>
              <a:srgbClr val="B113BD"/>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lang="en-US">
              <a:solidFill>
                <a:prstClr val="white"/>
              </a:solidFill>
            </a:endParaRPr>
          </a:p>
        </p:txBody>
      </p:sp>
      <p:grpSp>
        <p:nvGrpSpPr>
          <p:cNvPr id="328" name="14 CLIENT ACE+"/>
          <p:cNvGrpSpPr/>
          <p:nvPr/>
        </p:nvGrpSpPr>
        <p:grpSpPr>
          <a:xfrm>
            <a:off x="3184794" y="2514600"/>
            <a:ext cx="2012571" cy="1080801"/>
            <a:chOff x="1660793" y="2514599"/>
            <a:chExt cx="2012571" cy="1080801"/>
          </a:xfrm>
        </p:grpSpPr>
        <p:pic>
          <p:nvPicPr>
            <p:cNvPr id="171" name="Picture 17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837845" y="2652303"/>
              <a:ext cx="514014" cy="490106"/>
            </a:xfrm>
            <a:prstGeom prst="rect">
              <a:avLst/>
            </a:prstGeom>
          </p:spPr>
        </p:pic>
        <p:pic>
          <p:nvPicPr>
            <p:cNvPr id="169" name="Picture 16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737715" y="2712594"/>
              <a:ext cx="563078" cy="536888"/>
            </a:xfrm>
            <a:prstGeom prst="rect">
              <a:avLst/>
            </a:prstGeom>
          </p:spPr>
        </p:pic>
        <p:grpSp>
          <p:nvGrpSpPr>
            <p:cNvPr id="253" name="2 CLIENT ACE"/>
            <p:cNvGrpSpPr/>
            <p:nvPr/>
          </p:nvGrpSpPr>
          <p:grpSpPr>
            <a:xfrm>
              <a:off x="2631138" y="2764985"/>
              <a:ext cx="1042226" cy="830415"/>
              <a:chOff x="2631138" y="2764985"/>
              <a:chExt cx="1042226" cy="830415"/>
            </a:xfrm>
          </p:grpSpPr>
          <p:pic>
            <p:nvPicPr>
              <p:cNvPr id="143" name="Picture 14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31138" y="2764985"/>
                <a:ext cx="584215" cy="557042"/>
              </a:xfrm>
              <a:prstGeom prst="rect">
                <a:avLst/>
              </a:prstGeom>
            </p:spPr>
          </p:pic>
          <p:cxnSp>
            <p:nvCxnSpPr>
              <p:cNvPr id="145" name="Elbow Connector 144"/>
              <p:cNvCxnSpPr/>
              <p:nvPr/>
            </p:nvCxnSpPr>
            <p:spPr>
              <a:xfrm>
                <a:off x="2864385" y="3318401"/>
                <a:ext cx="808979" cy="257114"/>
              </a:xfrm>
              <a:prstGeom prst="bentConnector3">
                <a:avLst>
                  <a:gd name="adj1" fmla="val 56"/>
                </a:avLst>
              </a:prstGeom>
              <a:ln>
                <a:solidFill>
                  <a:srgbClr val="00B05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47" name="TextBox 146"/>
              <p:cNvSpPr txBox="1"/>
              <p:nvPr/>
            </p:nvSpPr>
            <p:spPr>
              <a:xfrm>
                <a:off x="2876661" y="3318401"/>
                <a:ext cx="785472" cy="276999"/>
              </a:xfrm>
              <a:prstGeom prst="rect">
                <a:avLst/>
              </a:prstGeom>
              <a:noFill/>
            </p:spPr>
            <p:txBody>
              <a:bodyPr wrap="square" rtlCol="0">
                <a:spAutoFit/>
              </a:bodyPr>
              <a:lstStyle/>
              <a:p>
                <a:pPr defTabSz="457200">
                  <a:defRPr/>
                </a:pPr>
                <a:r>
                  <a:rPr lang="en-US" sz="1200" dirty="0">
                    <a:solidFill>
                      <a:srgbClr val="00B050"/>
                    </a:solidFill>
                    <a:latin typeface="Myriad Pro"/>
                  </a:rPr>
                  <a:t>OPC DA</a:t>
                </a:r>
              </a:p>
            </p:txBody>
          </p:sp>
        </p:grpSp>
        <p:pic>
          <p:nvPicPr>
            <p:cNvPr id="265" name="Picture 26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730062" y="2847102"/>
              <a:ext cx="384661" cy="322284"/>
            </a:xfrm>
            <a:prstGeom prst="rect">
              <a:avLst/>
            </a:prstGeom>
          </p:spPr>
        </p:pic>
        <p:sp>
          <p:nvSpPr>
            <p:cNvPr id="325" name="TextBox 324"/>
            <p:cNvSpPr txBox="1"/>
            <p:nvPr/>
          </p:nvSpPr>
          <p:spPr>
            <a:xfrm>
              <a:off x="1660793" y="2514599"/>
              <a:ext cx="925253" cy="923330"/>
            </a:xfrm>
            <a:prstGeom prst="rect">
              <a:avLst/>
            </a:prstGeom>
            <a:noFill/>
          </p:spPr>
          <p:txBody>
            <a:bodyPr wrap="none" rtlCol="0">
              <a:spAutoFit/>
            </a:bodyPr>
            <a:lstStyle/>
            <a:p>
              <a:pPr algn="ctr" defTabSz="457200">
                <a:defRPr/>
              </a:pPr>
              <a:r>
                <a:rPr lang="en-US" sz="1800" dirty="0">
                  <a:solidFill>
                    <a:prstClr val="black"/>
                  </a:solidFill>
                </a:rPr>
                <a:t>OPC</a:t>
              </a:r>
            </a:p>
            <a:p>
              <a:pPr algn="ctr" defTabSz="457200">
                <a:defRPr/>
              </a:pPr>
              <a:r>
                <a:rPr lang="en-US" sz="1800" dirty="0">
                  <a:solidFill>
                    <a:prstClr val="black"/>
                  </a:solidFill>
                </a:rPr>
                <a:t>CLIENT</a:t>
              </a:r>
            </a:p>
            <a:p>
              <a:pPr algn="ctr" defTabSz="457200">
                <a:defRPr/>
              </a:pPr>
              <a:r>
                <a:rPr lang="en-US" sz="1800" dirty="0">
                  <a:solidFill>
                    <a:prstClr val="black"/>
                  </a:solidFill>
                </a:rPr>
                <a:t>DEV</a:t>
              </a:r>
            </a:p>
          </p:txBody>
        </p:sp>
      </p:grpSp>
      <p:grpSp>
        <p:nvGrpSpPr>
          <p:cNvPr id="16" name="13 REDUNDANCY"/>
          <p:cNvGrpSpPr/>
          <p:nvPr/>
        </p:nvGrpSpPr>
        <p:grpSpPr>
          <a:xfrm>
            <a:off x="5391720" y="1496946"/>
            <a:ext cx="1378412" cy="2677530"/>
            <a:chOff x="3867720" y="1496946"/>
            <a:chExt cx="1378412" cy="2677530"/>
          </a:xfrm>
        </p:grpSpPr>
        <p:pic>
          <p:nvPicPr>
            <p:cNvPr id="181" name="KEPServerEX Redundant"/>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67720" y="3505200"/>
              <a:ext cx="1040092" cy="669276"/>
            </a:xfrm>
            <a:prstGeom prst="rect">
              <a:avLst/>
            </a:prstGeom>
          </p:spPr>
        </p:pic>
        <p:sp>
          <p:nvSpPr>
            <p:cNvPr id="94" name="TextBox 93"/>
            <p:cNvSpPr txBox="1"/>
            <p:nvPr/>
          </p:nvSpPr>
          <p:spPr>
            <a:xfrm rot="16200000">
              <a:off x="4171639" y="2202107"/>
              <a:ext cx="1779654" cy="369332"/>
            </a:xfrm>
            <a:prstGeom prst="rect">
              <a:avLst/>
            </a:prstGeom>
            <a:noFill/>
          </p:spPr>
          <p:txBody>
            <a:bodyPr wrap="none" rtlCol="0">
              <a:spAutoFit/>
            </a:bodyPr>
            <a:lstStyle/>
            <a:p>
              <a:pPr defTabSz="457200">
                <a:defRPr/>
              </a:pPr>
              <a:r>
                <a:rPr lang="en-US" sz="1800" dirty="0">
                  <a:solidFill>
                    <a:prstClr val="black"/>
                  </a:solidFill>
                </a:rPr>
                <a:t>REDUNDANCY</a:t>
              </a:r>
            </a:p>
          </p:txBody>
        </p:sp>
      </p:grpSp>
      <p:grpSp>
        <p:nvGrpSpPr>
          <p:cNvPr id="53" name="12 3RD PARTY OPC SERVER"/>
          <p:cNvGrpSpPr/>
          <p:nvPr/>
        </p:nvGrpSpPr>
        <p:grpSpPr>
          <a:xfrm>
            <a:off x="76200" y="4144198"/>
            <a:ext cx="5146205" cy="2104202"/>
            <a:chOff x="-29842" y="4053818"/>
            <a:chExt cx="5146205" cy="2104202"/>
          </a:xfrm>
        </p:grpSpPr>
        <p:cxnSp>
          <p:nvCxnSpPr>
            <p:cNvPr id="114" name="Straight Arrow Connector 113"/>
            <p:cNvCxnSpPr/>
            <p:nvPr/>
          </p:nvCxnSpPr>
          <p:spPr>
            <a:xfrm flipV="1">
              <a:off x="1272818" y="4280727"/>
              <a:ext cx="3843545" cy="23758"/>
            </a:xfrm>
            <a:prstGeom prst="straightConnector1">
              <a:avLst/>
            </a:prstGeom>
            <a:ln>
              <a:solidFill>
                <a:srgbClr val="00B05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59" name="TextBox 158"/>
            <p:cNvSpPr txBox="1"/>
            <p:nvPr/>
          </p:nvSpPr>
          <p:spPr>
            <a:xfrm>
              <a:off x="1581785" y="4053818"/>
              <a:ext cx="1970421" cy="276999"/>
            </a:xfrm>
            <a:prstGeom prst="rect">
              <a:avLst/>
            </a:prstGeom>
            <a:noFill/>
          </p:spPr>
          <p:txBody>
            <a:bodyPr wrap="square" rtlCol="0">
              <a:spAutoFit/>
            </a:bodyPr>
            <a:lstStyle/>
            <a:p>
              <a:pPr defTabSz="457200">
                <a:defRPr/>
              </a:pPr>
              <a:r>
                <a:rPr lang="en-US" sz="1200" dirty="0">
                  <a:solidFill>
                    <a:srgbClr val="00B050"/>
                  </a:solidFill>
                  <a:latin typeface="Myriad Pro"/>
                </a:rPr>
                <a:t>OPC DA Client Driver</a:t>
              </a:r>
            </a:p>
          </p:txBody>
        </p:sp>
        <p:pic>
          <p:nvPicPr>
            <p:cNvPr id="26" name="Picture 2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9842" y="4194567"/>
              <a:ext cx="1311276" cy="843777"/>
            </a:xfrm>
            <a:prstGeom prst="rect">
              <a:avLst/>
            </a:prstGeom>
          </p:spPr>
        </p:pic>
        <p:pic>
          <p:nvPicPr>
            <p:cNvPr id="28" name="Picture 2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3137" y="4281198"/>
              <a:ext cx="721226" cy="449874"/>
            </a:xfrm>
            <a:prstGeom prst="rect">
              <a:avLst/>
            </a:prstGeom>
          </p:spPr>
        </p:pic>
        <p:pic>
          <p:nvPicPr>
            <p:cNvPr id="129" name="Picture 12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09688" y="4278459"/>
              <a:ext cx="325012" cy="326705"/>
            </a:xfrm>
            <a:prstGeom prst="rect">
              <a:avLst/>
            </a:prstGeom>
            <a:ln>
              <a:solidFill>
                <a:srgbClr val="FFFF00"/>
              </a:solidFill>
            </a:ln>
          </p:spPr>
        </p:pic>
        <p:pic>
          <p:nvPicPr>
            <p:cNvPr id="201" name="Picture 2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9531" y="5572292"/>
              <a:ext cx="906675" cy="585728"/>
            </a:xfrm>
            <a:prstGeom prst="rect">
              <a:avLst/>
            </a:prstGeom>
          </p:spPr>
        </p:pic>
        <p:cxnSp>
          <p:nvCxnSpPr>
            <p:cNvPr id="202" name="Straight Arrow Connector 201"/>
            <p:cNvCxnSpPr>
              <a:stCxn id="26" idx="2"/>
            </p:cNvCxnSpPr>
            <p:nvPr/>
          </p:nvCxnSpPr>
          <p:spPr>
            <a:xfrm>
              <a:off x="625796" y="5038344"/>
              <a:ext cx="0" cy="487055"/>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39" name="TextBox 138"/>
            <p:cNvSpPr txBox="1"/>
            <p:nvPr/>
          </p:nvSpPr>
          <p:spPr>
            <a:xfrm>
              <a:off x="608937" y="4967085"/>
              <a:ext cx="1918241" cy="769441"/>
            </a:xfrm>
            <a:prstGeom prst="rect">
              <a:avLst/>
            </a:prstGeom>
            <a:noFill/>
          </p:spPr>
          <p:txBody>
            <a:bodyPr wrap="square" rtlCol="0">
              <a:spAutoFit/>
            </a:bodyPr>
            <a:lstStyle/>
            <a:p>
              <a:pPr defTabSz="457200">
                <a:defRPr/>
              </a:pPr>
              <a:r>
                <a:rPr lang="en-US" dirty="0">
                  <a:solidFill>
                    <a:prstClr val="black"/>
                  </a:solidFill>
                </a:rPr>
                <a:t>3</a:t>
              </a:r>
              <a:r>
                <a:rPr lang="en-US" baseline="30000" dirty="0">
                  <a:solidFill>
                    <a:prstClr val="black"/>
                  </a:solidFill>
                </a:rPr>
                <a:t>rd</a:t>
              </a:r>
              <a:r>
                <a:rPr lang="en-US" dirty="0">
                  <a:solidFill>
                    <a:prstClr val="black"/>
                  </a:solidFill>
                </a:rPr>
                <a:t> PARTY</a:t>
              </a:r>
            </a:p>
            <a:p>
              <a:pPr algn="ctr" defTabSz="457200">
                <a:defRPr/>
              </a:pPr>
              <a:r>
                <a:rPr lang="en-US" dirty="0">
                  <a:solidFill>
                    <a:prstClr val="black"/>
                  </a:solidFill>
                </a:rPr>
                <a:t>OPC </a:t>
              </a:r>
            </a:p>
          </p:txBody>
        </p:sp>
      </p:grpSp>
      <p:grpSp>
        <p:nvGrpSpPr>
          <p:cNvPr id="257" name="11 SNMP"/>
          <p:cNvGrpSpPr/>
          <p:nvPr/>
        </p:nvGrpSpPr>
        <p:grpSpPr>
          <a:xfrm>
            <a:off x="1371600" y="4567584"/>
            <a:ext cx="3896869" cy="931362"/>
            <a:chOff x="-177567" y="4483694"/>
            <a:chExt cx="3896869" cy="931362"/>
          </a:xfrm>
        </p:grpSpPr>
        <p:pic>
          <p:nvPicPr>
            <p:cNvPr id="274" name="Cisco Route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84433" y="4640510"/>
              <a:ext cx="1274972" cy="774546"/>
            </a:xfrm>
            <a:prstGeom prst="rect">
              <a:avLst/>
            </a:prstGeom>
          </p:spPr>
        </p:pic>
        <p:cxnSp>
          <p:nvCxnSpPr>
            <p:cNvPr id="276" name="Elbow Connector 275"/>
            <p:cNvCxnSpPr/>
            <p:nvPr/>
          </p:nvCxnSpPr>
          <p:spPr>
            <a:xfrm rot="10800000" flipV="1">
              <a:off x="1157723" y="4483694"/>
              <a:ext cx="2561579" cy="233015"/>
            </a:xfrm>
            <a:prstGeom prst="bentConnector2">
              <a:avLst/>
            </a:prstGeom>
            <a:ln>
              <a:solidFill>
                <a:srgbClr val="FF000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281" name="TextBox 280"/>
            <p:cNvSpPr txBox="1"/>
            <p:nvPr/>
          </p:nvSpPr>
          <p:spPr>
            <a:xfrm>
              <a:off x="1956033" y="4488110"/>
              <a:ext cx="1143259" cy="276999"/>
            </a:xfrm>
            <a:prstGeom prst="rect">
              <a:avLst/>
            </a:prstGeom>
            <a:noFill/>
          </p:spPr>
          <p:txBody>
            <a:bodyPr wrap="square" rtlCol="0">
              <a:spAutoFit/>
            </a:bodyPr>
            <a:lstStyle/>
            <a:p>
              <a:pPr defTabSz="457200">
                <a:defRPr/>
              </a:pPr>
              <a:r>
                <a:rPr lang="en-US" sz="1200" dirty="0">
                  <a:solidFill>
                    <a:srgbClr val="FF0000"/>
                  </a:solidFill>
                  <a:latin typeface="Myriad Pro"/>
                </a:rPr>
                <a:t>SNMP</a:t>
              </a:r>
            </a:p>
          </p:txBody>
        </p:sp>
        <p:sp>
          <p:nvSpPr>
            <p:cNvPr id="138" name="TextBox 137"/>
            <p:cNvSpPr txBox="1"/>
            <p:nvPr/>
          </p:nvSpPr>
          <p:spPr>
            <a:xfrm>
              <a:off x="-177567" y="4488110"/>
              <a:ext cx="1335622" cy="369332"/>
            </a:xfrm>
            <a:prstGeom prst="rect">
              <a:avLst/>
            </a:prstGeom>
            <a:noFill/>
          </p:spPr>
          <p:txBody>
            <a:bodyPr wrap="none" rtlCol="0">
              <a:spAutoFit/>
            </a:bodyPr>
            <a:lstStyle/>
            <a:p>
              <a:pPr defTabSz="457200">
                <a:defRPr/>
              </a:pPr>
              <a:r>
                <a:rPr lang="en-US" sz="1800" dirty="0">
                  <a:solidFill>
                    <a:prstClr val="black"/>
                  </a:solidFill>
                </a:rPr>
                <a:t>IT DEVICES</a:t>
              </a:r>
            </a:p>
          </p:txBody>
        </p:sp>
      </p:grpSp>
      <p:grpSp>
        <p:nvGrpSpPr>
          <p:cNvPr id="245" name="10 SPECIALTY DEVICE"/>
          <p:cNvGrpSpPr/>
          <p:nvPr/>
        </p:nvGrpSpPr>
        <p:grpSpPr>
          <a:xfrm>
            <a:off x="6262048" y="4226247"/>
            <a:ext cx="3097590" cy="2326954"/>
            <a:chOff x="4738047" y="4226247"/>
            <a:chExt cx="3097590" cy="2326954"/>
          </a:xfrm>
        </p:grpSpPr>
        <p:grpSp>
          <p:nvGrpSpPr>
            <p:cNvPr id="283" name="0 picker"/>
            <p:cNvGrpSpPr/>
            <p:nvPr/>
          </p:nvGrpSpPr>
          <p:grpSpPr>
            <a:xfrm>
              <a:off x="7238999" y="5901215"/>
              <a:ext cx="596638" cy="651986"/>
              <a:chOff x="7481983" y="4845279"/>
              <a:chExt cx="1068045" cy="1294666"/>
            </a:xfrm>
          </p:grpSpPr>
          <p:pic>
            <p:nvPicPr>
              <p:cNvPr id="284" name="Meters"/>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541418" y="4845279"/>
                <a:ext cx="795890" cy="783625"/>
              </a:xfrm>
              <a:prstGeom prst="rect">
                <a:avLst/>
              </a:prstGeom>
            </p:spPr>
          </p:pic>
          <p:sp>
            <p:nvSpPr>
              <p:cNvPr id="285" name="TextBox 284"/>
              <p:cNvSpPr txBox="1"/>
              <p:nvPr/>
            </p:nvSpPr>
            <p:spPr>
              <a:xfrm>
                <a:off x="7481983" y="5620459"/>
                <a:ext cx="1068045" cy="519486"/>
              </a:xfrm>
              <a:prstGeom prst="rect">
                <a:avLst/>
              </a:prstGeom>
              <a:noFill/>
            </p:spPr>
            <p:txBody>
              <a:bodyPr wrap="none" rtlCol="0">
                <a:spAutoFit/>
              </a:bodyPr>
              <a:lstStyle/>
              <a:p>
                <a:pPr algn="ctr" defTabSz="457200">
                  <a:defRPr/>
                </a:pPr>
                <a:r>
                  <a:rPr lang="en-US" sz="1100" dirty="0">
                    <a:solidFill>
                      <a:prstClr val="black"/>
                    </a:solidFill>
                  </a:rPr>
                  <a:t>Meters</a:t>
                </a:r>
              </a:p>
            </p:txBody>
          </p:sp>
        </p:grpSp>
        <p:pic>
          <p:nvPicPr>
            <p:cNvPr id="33" name="Devic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01381" y="4493729"/>
              <a:ext cx="880173" cy="568608"/>
            </a:xfrm>
            <a:prstGeom prst="rect">
              <a:avLst/>
            </a:prstGeom>
          </p:spPr>
        </p:pic>
        <p:cxnSp>
          <p:nvCxnSpPr>
            <p:cNvPr id="78" name="Elbow Connector 77"/>
            <p:cNvCxnSpPr>
              <a:endCxn id="33" idx="0"/>
            </p:cNvCxnSpPr>
            <p:nvPr/>
          </p:nvCxnSpPr>
          <p:spPr>
            <a:xfrm>
              <a:off x="4738047" y="4233071"/>
              <a:ext cx="2603421" cy="260658"/>
            </a:xfrm>
            <a:prstGeom prst="bentConnector2">
              <a:avLst/>
            </a:prstGeom>
            <a:ln>
              <a:solidFill>
                <a:srgbClr val="FF000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28" name="TextBox 127"/>
            <p:cNvSpPr txBox="1"/>
            <p:nvPr/>
          </p:nvSpPr>
          <p:spPr>
            <a:xfrm>
              <a:off x="5670073" y="4226247"/>
              <a:ext cx="1721326" cy="276999"/>
            </a:xfrm>
            <a:prstGeom prst="rect">
              <a:avLst/>
            </a:prstGeom>
            <a:noFill/>
          </p:spPr>
          <p:txBody>
            <a:bodyPr wrap="square" rtlCol="0">
              <a:spAutoFit/>
            </a:bodyPr>
            <a:lstStyle/>
            <a:p>
              <a:pPr defTabSz="457200">
                <a:defRPr/>
              </a:pPr>
              <a:r>
                <a:rPr lang="en-US" sz="1200" dirty="0">
                  <a:solidFill>
                    <a:srgbClr val="FF0000"/>
                  </a:solidFill>
                  <a:latin typeface="Myriad Pro"/>
                </a:rPr>
                <a:t>Specialty Drivers</a:t>
              </a:r>
            </a:p>
          </p:txBody>
        </p:sp>
        <p:cxnSp>
          <p:nvCxnSpPr>
            <p:cNvPr id="286" name="Straight Arrow Connector 285"/>
            <p:cNvCxnSpPr/>
            <p:nvPr/>
          </p:nvCxnSpPr>
          <p:spPr>
            <a:xfrm>
              <a:off x="7505297" y="5316544"/>
              <a:ext cx="0" cy="530349"/>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pic>
          <p:nvPicPr>
            <p:cNvPr id="31" name="ABB TotalFlow"/>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261608" y="4664272"/>
              <a:ext cx="488577" cy="622697"/>
            </a:xfrm>
            <a:prstGeom prst="rect">
              <a:avLst/>
            </a:prstGeom>
          </p:spPr>
        </p:pic>
      </p:grpSp>
      <p:grpSp>
        <p:nvGrpSpPr>
          <p:cNvPr id="238" name="9 HVAC BACNET"/>
          <p:cNvGrpSpPr/>
          <p:nvPr/>
        </p:nvGrpSpPr>
        <p:grpSpPr>
          <a:xfrm>
            <a:off x="5928471" y="4250280"/>
            <a:ext cx="2682129" cy="2180744"/>
            <a:chOff x="4404470" y="4250280"/>
            <a:chExt cx="2682129" cy="2180744"/>
          </a:xfrm>
        </p:grpSpPr>
        <p:pic>
          <p:nvPicPr>
            <p:cNvPr id="230" name="Bldg Mgmt Icon"/>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921933" y="5181600"/>
              <a:ext cx="1012266" cy="985271"/>
            </a:xfrm>
            <a:prstGeom prst="rect">
              <a:avLst/>
            </a:prstGeom>
          </p:spPr>
        </p:pic>
        <p:cxnSp>
          <p:nvCxnSpPr>
            <p:cNvPr id="241" name="Elbow Connector 240"/>
            <p:cNvCxnSpPr/>
            <p:nvPr/>
          </p:nvCxnSpPr>
          <p:spPr>
            <a:xfrm rot="16200000" flipH="1">
              <a:off x="4972975" y="3681775"/>
              <a:ext cx="870898" cy="2007907"/>
            </a:xfrm>
            <a:prstGeom prst="bentConnector3">
              <a:avLst>
                <a:gd name="adj1" fmla="val 42165"/>
              </a:avLst>
            </a:prstGeom>
            <a:ln>
              <a:solidFill>
                <a:srgbClr val="FF000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254" name="TextBox 253"/>
            <p:cNvSpPr txBox="1"/>
            <p:nvPr/>
          </p:nvSpPr>
          <p:spPr>
            <a:xfrm>
              <a:off x="4514566" y="4351558"/>
              <a:ext cx="1368381" cy="276999"/>
            </a:xfrm>
            <a:prstGeom prst="rect">
              <a:avLst/>
            </a:prstGeom>
            <a:noFill/>
          </p:spPr>
          <p:txBody>
            <a:bodyPr wrap="square" rtlCol="0">
              <a:spAutoFit/>
            </a:bodyPr>
            <a:lstStyle/>
            <a:p>
              <a:pPr defTabSz="457200">
                <a:defRPr/>
              </a:pPr>
              <a:r>
                <a:rPr lang="en-US" sz="1200" dirty="0">
                  <a:solidFill>
                    <a:srgbClr val="FF0000"/>
                  </a:solidFill>
                  <a:latin typeface="Myriad Pro"/>
                </a:rPr>
                <a:t>BAC/net Driver</a:t>
              </a:r>
            </a:p>
          </p:txBody>
        </p:sp>
        <p:sp>
          <p:nvSpPr>
            <p:cNvPr id="144" name="TextBox 143"/>
            <p:cNvSpPr txBox="1"/>
            <p:nvPr/>
          </p:nvSpPr>
          <p:spPr>
            <a:xfrm>
              <a:off x="5410199" y="4724400"/>
              <a:ext cx="704360" cy="369332"/>
            </a:xfrm>
            <a:prstGeom prst="rect">
              <a:avLst/>
            </a:prstGeom>
            <a:noFill/>
          </p:spPr>
          <p:txBody>
            <a:bodyPr wrap="none" rtlCol="0">
              <a:spAutoFit/>
            </a:bodyPr>
            <a:lstStyle/>
            <a:p>
              <a:pPr defTabSz="457200">
                <a:defRPr/>
              </a:pPr>
              <a:r>
                <a:rPr lang="en-US" dirty="0">
                  <a:solidFill>
                    <a:prstClr val="black"/>
                  </a:solidFill>
                </a:rPr>
                <a:t>HVAC</a:t>
              </a:r>
            </a:p>
          </p:txBody>
        </p:sp>
        <p:sp>
          <p:nvSpPr>
            <p:cNvPr id="172" name="TextBox 171"/>
            <p:cNvSpPr txBox="1"/>
            <p:nvPr/>
          </p:nvSpPr>
          <p:spPr>
            <a:xfrm>
              <a:off x="5641973" y="6169414"/>
              <a:ext cx="1444626" cy="261610"/>
            </a:xfrm>
            <a:prstGeom prst="rect">
              <a:avLst/>
            </a:prstGeom>
            <a:noFill/>
          </p:spPr>
          <p:txBody>
            <a:bodyPr wrap="none" rtlCol="0">
              <a:spAutoFit/>
            </a:bodyPr>
            <a:lstStyle/>
            <a:p>
              <a:pPr defTabSz="457200">
                <a:defRPr/>
              </a:pPr>
              <a:r>
                <a:rPr lang="en-US" sz="1100" dirty="0">
                  <a:solidFill>
                    <a:prstClr val="black"/>
                  </a:solidFill>
                </a:rPr>
                <a:t>Building Management</a:t>
              </a:r>
            </a:p>
          </p:txBody>
        </p:sp>
      </p:grpSp>
      <p:grpSp>
        <p:nvGrpSpPr>
          <p:cNvPr id="5" name="8 UCON"/>
          <p:cNvGrpSpPr/>
          <p:nvPr/>
        </p:nvGrpSpPr>
        <p:grpSpPr>
          <a:xfrm>
            <a:off x="5726028" y="4240835"/>
            <a:ext cx="1671147" cy="2312365"/>
            <a:chOff x="4202027" y="4240834"/>
            <a:chExt cx="1671147" cy="2312365"/>
          </a:xfrm>
        </p:grpSpPr>
        <p:sp>
          <p:nvSpPr>
            <p:cNvPr id="132" name="TextBox 131"/>
            <p:cNvSpPr txBox="1"/>
            <p:nvPr/>
          </p:nvSpPr>
          <p:spPr>
            <a:xfrm>
              <a:off x="4202027" y="4629366"/>
              <a:ext cx="1671147" cy="276999"/>
            </a:xfrm>
            <a:prstGeom prst="rect">
              <a:avLst/>
            </a:prstGeom>
            <a:noFill/>
          </p:spPr>
          <p:txBody>
            <a:bodyPr wrap="square" rtlCol="0">
              <a:spAutoFit/>
            </a:bodyPr>
            <a:lstStyle/>
            <a:p>
              <a:pPr defTabSz="457200">
                <a:defRPr/>
              </a:pPr>
              <a:r>
                <a:rPr lang="en-US" sz="1200" dirty="0">
                  <a:solidFill>
                    <a:srgbClr val="FF0000"/>
                  </a:solidFill>
                  <a:latin typeface="Myriad Pro"/>
                </a:rPr>
                <a:t>UCON/CID Driver</a:t>
              </a:r>
            </a:p>
          </p:txBody>
        </p:sp>
        <p:grpSp>
          <p:nvGrpSpPr>
            <p:cNvPr id="47" name="0 scale"/>
            <p:cNvGrpSpPr/>
            <p:nvPr/>
          </p:nvGrpSpPr>
          <p:grpSpPr>
            <a:xfrm>
              <a:off x="4374379" y="5190276"/>
              <a:ext cx="1334275" cy="1362923"/>
              <a:chOff x="4374379" y="5190276"/>
              <a:chExt cx="1334275" cy="1362923"/>
            </a:xfrm>
          </p:grpSpPr>
          <p:pic>
            <p:nvPicPr>
              <p:cNvPr id="51" name="Scale"/>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374379" y="5190276"/>
                <a:ext cx="1187698" cy="1187698"/>
              </a:xfrm>
              <a:prstGeom prst="rect">
                <a:avLst/>
              </a:prstGeom>
            </p:spPr>
          </p:pic>
          <p:sp>
            <p:nvSpPr>
              <p:cNvPr id="7" name="TextBox 6"/>
              <p:cNvSpPr txBox="1"/>
              <p:nvPr/>
            </p:nvSpPr>
            <p:spPr>
              <a:xfrm>
                <a:off x="4443563" y="6122312"/>
                <a:ext cx="1265091" cy="430887"/>
              </a:xfrm>
              <a:prstGeom prst="rect">
                <a:avLst/>
              </a:prstGeom>
              <a:noFill/>
            </p:spPr>
            <p:txBody>
              <a:bodyPr wrap="none" rtlCol="0">
                <a:spAutoFit/>
              </a:bodyPr>
              <a:lstStyle/>
              <a:p>
                <a:pPr algn="ctr" defTabSz="457200">
                  <a:defRPr/>
                </a:pPr>
                <a:r>
                  <a:rPr lang="en-US" sz="1100" dirty="0">
                    <a:solidFill>
                      <a:prstClr val="black"/>
                    </a:solidFill>
                  </a:rPr>
                  <a:t>Weigh Scales</a:t>
                </a:r>
              </a:p>
              <a:p>
                <a:pPr algn="ctr" defTabSz="457200">
                  <a:defRPr/>
                </a:pPr>
                <a:r>
                  <a:rPr lang="en-US" sz="1100" dirty="0">
                    <a:solidFill>
                      <a:prstClr val="black"/>
                    </a:solidFill>
                  </a:rPr>
                  <a:t>RFID, Barcode, etc.</a:t>
                </a:r>
              </a:p>
            </p:txBody>
          </p:sp>
        </p:grpSp>
        <p:cxnSp>
          <p:nvCxnSpPr>
            <p:cNvPr id="103" name="Elbow Connector 102"/>
            <p:cNvCxnSpPr/>
            <p:nvPr/>
          </p:nvCxnSpPr>
          <p:spPr>
            <a:xfrm rot="16200000" flipH="1">
              <a:off x="4115134" y="4335715"/>
              <a:ext cx="1332915" cy="1143154"/>
            </a:xfrm>
            <a:prstGeom prst="bentConnector3">
              <a:avLst>
                <a:gd name="adj1" fmla="val 50000"/>
              </a:avLst>
            </a:prstGeom>
            <a:ln>
              <a:solidFill>
                <a:srgbClr val="FF0000"/>
              </a:solidFill>
              <a:headEnd type="triangle"/>
              <a:tailEnd type="triangle"/>
            </a:ln>
          </p:spPr>
          <p:style>
            <a:lnRef idx="2">
              <a:schemeClr val="accent1"/>
            </a:lnRef>
            <a:fillRef idx="0">
              <a:schemeClr val="accent1"/>
            </a:fillRef>
            <a:effectRef idx="1">
              <a:schemeClr val="accent1"/>
            </a:effectRef>
            <a:fontRef idx="minor">
              <a:schemeClr val="tx1"/>
            </a:fontRef>
          </p:style>
        </p:cxnSp>
        <p:pic>
          <p:nvPicPr>
            <p:cNvPr id="4" name="RFID"/>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673419" y="5045692"/>
              <a:ext cx="453291" cy="427781"/>
            </a:xfrm>
            <a:prstGeom prst="rect">
              <a:avLst/>
            </a:prstGeom>
          </p:spPr>
        </p:pic>
      </p:grpSp>
      <p:grpSp>
        <p:nvGrpSpPr>
          <p:cNvPr id="250" name="7 DATABASES"/>
          <p:cNvGrpSpPr/>
          <p:nvPr/>
        </p:nvGrpSpPr>
        <p:grpSpPr>
          <a:xfrm>
            <a:off x="6425216" y="1447799"/>
            <a:ext cx="2413984" cy="2106095"/>
            <a:chOff x="4901215" y="1447800"/>
            <a:chExt cx="2413984" cy="2103854"/>
          </a:xfrm>
        </p:grpSpPr>
        <p:pic>
          <p:nvPicPr>
            <p:cNvPr id="15" name="Picture 1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068819" y="2142055"/>
              <a:ext cx="646685" cy="796810"/>
            </a:xfrm>
            <a:prstGeom prst="rect">
              <a:avLst/>
            </a:prstGeom>
          </p:spPr>
        </p:pic>
        <p:cxnSp>
          <p:nvCxnSpPr>
            <p:cNvPr id="137" name="Elbow Connector 136"/>
            <p:cNvCxnSpPr/>
            <p:nvPr/>
          </p:nvCxnSpPr>
          <p:spPr>
            <a:xfrm flipV="1">
              <a:off x="4907757" y="3338616"/>
              <a:ext cx="1159918" cy="213038"/>
            </a:xfrm>
            <a:prstGeom prst="bentConnector3">
              <a:avLst>
                <a:gd name="adj1" fmla="val 99271"/>
              </a:avLst>
            </a:prstGeom>
            <a:ln>
              <a:solidFill>
                <a:schemeClr val="tx2"/>
              </a:solidFill>
              <a:headEnd type="triangle"/>
              <a:tailEnd type="triangle"/>
            </a:ln>
          </p:spPr>
          <p:style>
            <a:lnRef idx="2">
              <a:schemeClr val="accent1"/>
            </a:lnRef>
            <a:fillRef idx="0">
              <a:schemeClr val="accent1"/>
            </a:fillRef>
            <a:effectRef idx="1">
              <a:schemeClr val="accent1"/>
            </a:effectRef>
            <a:fontRef idx="minor">
              <a:schemeClr val="tx1"/>
            </a:fontRef>
          </p:style>
        </p:cxnSp>
        <p:pic>
          <p:nvPicPr>
            <p:cNvPr id="170" name="Picture 16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715733" y="2558009"/>
              <a:ext cx="634896" cy="767563"/>
            </a:xfrm>
            <a:prstGeom prst="rect">
              <a:avLst/>
            </a:prstGeom>
          </p:spPr>
        </p:pic>
        <p:cxnSp>
          <p:nvCxnSpPr>
            <p:cNvPr id="192" name="Elbow Connector 191"/>
            <p:cNvCxnSpPr/>
            <p:nvPr/>
          </p:nvCxnSpPr>
          <p:spPr>
            <a:xfrm flipV="1">
              <a:off x="4901215" y="2331936"/>
              <a:ext cx="1166460" cy="1072870"/>
            </a:xfrm>
            <a:prstGeom prst="bentConnector3">
              <a:avLst>
                <a:gd name="adj1" fmla="val 46688"/>
              </a:avLst>
            </a:prstGeom>
            <a:ln>
              <a:solidFill>
                <a:srgbClr val="00B05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97" name="Rectangle 196"/>
            <p:cNvSpPr/>
            <p:nvPr/>
          </p:nvSpPr>
          <p:spPr>
            <a:xfrm rot="16200000">
              <a:off x="5232201" y="2718970"/>
              <a:ext cx="688302" cy="277294"/>
            </a:xfrm>
            <a:prstGeom prst="rect">
              <a:avLst/>
            </a:prstGeom>
          </p:spPr>
          <p:txBody>
            <a:bodyPr wrap="none">
              <a:spAutoFit/>
            </a:bodyPr>
            <a:lstStyle/>
            <a:p>
              <a:pPr defTabSz="457200">
                <a:defRPr/>
              </a:pPr>
              <a:r>
                <a:rPr lang="en-US" sz="1200" dirty="0">
                  <a:solidFill>
                    <a:srgbClr val="00B050"/>
                  </a:solidFill>
                  <a:latin typeface="Myriad Pro"/>
                </a:rPr>
                <a:t>OPC DA</a:t>
              </a:r>
            </a:p>
          </p:txBody>
        </p:sp>
        <p:sp>
          <p:nvSpPr>
            <p:cNvPr id="135" name="TextBox 134"/>
            <p:cNvSpPr txBox="1"/>
            <p:nvPr/>
          </p:nvSpPr>
          <p:spPr>
            <a:xfrm>
              <a:off x="5288682" y="1447800"/>
              <a:ext cx="2026517" cy="768622"/>
            </a:xfrm>
            <a:prstGeom prst="rect">
              <a:avLst/>
            </a:prstGeom>
            <a:noFill/>
          </p:spPr>
          <p:txBody>
            <a:bodyPr wrap="none" rtlCol="0">
              <a:spAutoFit/>
            </a:bodyPr>
            <a:lstStyle/>
            <a:p>
              <a:pPr algn="ctr" defTabSz="457200">
                <a:defRPr/>
              </a:pPr>
              <a:r>
                <a:rPr lang="en-US" dirty="0">
                  <a:solidFill>
                    <a:prstClr val="black"/>
                  </a:solidFill>
                </a:rPr>
                <a:t>DATABASES &amp;</a:t>
              </a:r>
            </a:p>
            <a:p>
              <a:pPr algn="ctr" defTabSz="457200">
                <a:defRPr/>
              </a:pPr>
              <a:r>
                <a:rPr lang="en-US" dirty="0">
                  <a:solidFill>
                    <a:prstClr val="black"/>
                  </a:solidFill>
                </a:rPr>
                <a:t>HISTORIANS</a:t>
              </a:r>
            </a:p>
          </p:txBody>
        </p:sp>
        <p:sp>
          <p:nvSpPr>
            <p:cNvPr id="178" name="TextBox 177"/>
            <p:cNvSpPr txBox="1"/>
            <p:nvPr/>
          </p:nvSpPr>
          <p:spPr>
            <a:xfrm>
              <a:off x="5407519" y="3274655"/>
              <a:ext cx="840880" cy="276999"/>
            </a:xfrm>
            <a:prstGeom prst="rect">
              <a:avLst/>
            </a:prstGeom>
            <a:noFill/>
          </p:spPr>
          <p:txBody>
            <a:bodyPr wrap="square" rtlCol="0">
              <a:spAutoFit/>
            </a:bodyPr>
            <a:lstStyle/>
            <a:p>
              <a:pPr defTabSz="457200">
                <a:defRPr/>
              </a:pPr>
              <a:r>
                <a:rPr lang="en-US" sz="1200" dirty="0">
                  <a:solidFill>
                    <a:srgbClr val="000000"/>
                  </a:solidFill>
                  <a:latin typeface="Myriad Pro"/>
                </a:rPr>
                <a:t>ODBC</a:t>
              </a:r>
            </a:p>
          </p:txBody>
        </p:sp>
      </p:grpSp>
      <p:grpSp>
        <p:nvGrpSpPr>
          <p:cNvPr id="240" name="6 PANELS"/>
          <p:cNvGrpSpPr/>
          <p:nvPr/>
        </p:nvGrpSpPr>
        <p:grpSpPr>
          <a:xfrm>
            <a:off x="6439543" y="2209800"/>
            <a:ext cx="3031257" cy="1630155"/>
            <a:chOff x="4915542" y="2209800"/>
            <a:chExt cx="3031257" cy="1630155"/>
          </a:xfrm>
        </p:grpSpPr>
        <p:pic>
          <p:nvPicPr>
            <p:cNvPr id="34" name="Panel"/>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646106" y="2551417"/>
              <a:ext cx="1300693" cy="1284684"/>
            </a:xfrm>
            <a:prstGeom prst="rect">
              <a:avLst/>
            </a:prstGeom>
          </p:spPr>
        </p:pic>
        <p:sp>
          <p:nvSpPr>
            <p:cNvPr id="133" name="TextBox 132"/>
            <p:cNvSpPr txBox="1"/>
            <p:nvPr/>
          </p:nvSpPr>
          <p:spPr>
            <a:xfrm>
              <a:off x="5099693" y="3562956"/>
              <a:ext cx="1615154" cy="276999"/>
            </a:xfrm>
            <a:prstGeom prst="rect">
              <a:avLst/>
            </a:prstGeom>
            <a:noFill/>
          </p:spPr>
          <p:txBody>
            <a:bodyPr wrap="square" rtlCol="0">
              <a:spAutoFit/>
            </a:bodyPr>
            <a:lstStyle/>
            <a:p>
              <a:pPr defTabSz="457200">
                <a:defRPr/>
              </a:pPr>
              <a:r>
                <a:rPr lang="en-US" sz="1200" dirty="0">
                  <a:solidFill>
                    <a:srgbClr val="000000"/>
                  </a:solidFill>
                  <a:latin typeface="Myriad Pro"/>
                </a:rPr>
                <a:t>Native Drivers</a:t>
              </a:r>
            </a:p>
          </p:txBody>
        </p:sp>
        <p:cxnSp>
          <p:nvCxnSpPr>
            <p:cNvPr id="134" name="Straight Arrow Connector 133"/>
            <p:cNvCxnSpPr/>
            <p:nvPr/>
          </p:nvCxnSpPr>
          <p:spPr>
            <a:xfrm flipV="1">
              <a:off x="4915542" y="3810000"/>
              <a:ext cx="2288813" cy="1789"/>
            </a:xfrm>
            <a:prstGeom prst="straightConnector1">
              <a:avLst/>
            </a:prstGeom>
            <a:ln>
              <a:solidFill>
                <a:schemeClr val="tx2"/>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312" name="TextBox 311"/>
            <p:cNvSpPr txBox="1"/>
            <p:nvPr/>
          </p:nvSpPr>
          <p:spPr>
            <a:xfrm>
              <a:off x="6934199" y="2209800"/>
              <a:ext cx="884216" cy="369332"/>
            </a:xfrm>
            <a:prstGeom prst="rect">
              <a:avLst/>
            </a:prstGeom>
            <a:noFill/>
          </p:spPr>
          <p:txBody>
            <a:bodyPr wrap="none" rtlCol="0">
              <a:spAutoFit/>
            </a:bodyPr>
            <a:lstStyle/>
            <a:p>
              <a:pPr defTabSz="457200">
                <a:defRPr/>
              </a:pPr>
              <a:r>
                <a:rPr lang="en-US" dirty="0">
                  <a:solidFill>
                    <a:prstClr val="black"/>
                  </a:solidFill>
                </a:rPr>
                <a:t>PANELS</a:t>
              </a:r>
            </a:p>
          </p:txBody>
        </p:sp>
      </p:grpSp>
      <p:grpSp>
        <p:nvGrpSpPr>
          <p:cNvPr id="39" name="5 PLC/DCS/RTU Multiple"/>
          <p:cNvGrpSpPr/>
          <p:nvPr/>
        </p:nvGrpSpPr>
        <p:grpSpPr>
          <a:xfrm>
            <a:off x="6424037" y="3516868"/>
            <a:ext cx="5615563" cy="2919116"/>
            <a:chOff x="6424037" y="3516868"/>
            <a:chExt cx="5615563" cy="2919116"/>
          </a:xfrm>
        </p:grpSpPr>
        <p:pic>
          <p:nvPicPr>
            <p:cNvPr id="246" name="Picture 245"/>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591973" y="3987043"/>
              <a:ext cx="757558" cy="737357"/>
            </a:xfrm>
            <a:prstGeom prst="rect">
              <a:avLst/>
            </a:prstGeom>
          </p:spPr>
        </p:pic>
        <p:sp>
          <p:nvSpPr>
            <p:cNvPr id="136" name="TextBox 135"/>
            <p:cNvSpPr txBox="1"/>
            <p:nvPr/>
          </p:nvSpPr>
          <p:spPr>
            <a:xfrm>
              <a:off x="9906000" y="3516868"/>
              <a:ext cx="1455911" cy="369332"/>
            </a:xfrm>
            <a:prstGeom prst="rect">
              <a:avLst/>
            </a:prstGeom>
            <a:noFill/>
          </p:spPr>
          <p:txBody>
            <a:bodyPr wrap="none" rtlCol="0">
              <a:spAutoFit/>
            </a:bodyPr>
            <a:lstStyle/>
            <a:p>
              <a:pPr defTabSz="457200">
                <a:defRPr/>
              </a:pPr>
              <a:r>
                <a:rPr lang="en-US" dirty="0">
                  <a:solidFill>
                    <a:prstClr val="black"/>
                  </a:solidFill>
                </a:rPr>
                <a:t>PLC/DCS/RTU</a:t>
              </a:r>
            </a:p>
          </p:txBody>
        </p:sp>
        <p:pic>
          <p:nvPicPr>
            <p:cNvPr id="60" name="Picture 5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72259" y="4231301"/>
              <a:ext cx="1017457" cy="657296"/>
            </a:xfrm>
            <a:prstGeom prst="rect">
              <a:avLst/>
            </a:prstGeom>
          </p:spPr>
        </p:pic>
        <p:grpSp>
          <p:nvGrpSpPr>
            <p:cNvPr id="35" name="0 valve"/>
            <p:cNvGrpSpPr/>
            <p:nvPr/>
          </p:nvGrpSpPr>
          <p:grpSpPr>
            <a:xfrm>
              <a:off x="9591973" y="3962400"/>
              <a:ext cx="2447627" cy="2473584"/>
              <a:chOff x="8067972" y="3962399"/>
              <a:chExt cx="2447627" cy="2473584"/>
            </a:xfrm>
          </p:grpSpPr>
          <p:pic>
            <p:nvPicPr>
              <p:cNvPr id="48" name="Picture 47"/>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827066" y="3962399"/>
                <a:ext cx="688533" cy="1002601"/>
              </a:xfrm>
              <a:prstGeom prst="rect">
                <a:avLst/>
              </a:prstGeom>
            </p:spPr>
          </p:pic>
          <p:sp>
            <p:nvSpPr>
              <p:cNvPr id="32" name="TextBox 31"/>
              <p:cNvSpPr txBox="1"/>
              <p:nvPr/>
            </p:nvSpPr>
            <p:spPr>
              <a:xfrm>
                <a:off x="8067972" y="6174373"/>
                <a:ext cx="2295227" cy="261610"/>
              </a:xfrm>
              <a:prstGeom prst="rect">
                <a:avLst/>
              </a:prstGeom>
              <a:noFill/>
            </p:spPr>
            <p:txBody>
              <a:bodyPr wrap="square" rtlCol="0">
                <a:spAutoFit/>
              </a:bodyPr>
              <a:lstStyle/>
              <a:p>
                <a:pPr defTabSz="457200">
                  <a:defRPr/>
                </a:pPr>
                <a:r>
                  <a:rPr lang="en-US" sz="1000" dirty="0">
                    <a:solidFill>
                      <a:prstClr val="black"/>
                    </a:solidFill>
                  </a:rPr>
                  <a:t>Valves, </a:t>
                </a:r>
                <a:r>
                  <a:rPr lang="en-US" sz="1100" dirty="0">
                    <a:solidFill>
                      <a:prstClr val="black"/>
                    </a:solidFill>
                  </a:rPr>
                  <a:t>Mixers</a:t>
                </a:r>
                <a:r>
                  <a:rPr lang="en-US" sz="1000" dirty="0">
                    <a:solidFill>
                      <a:prstClr val="black"/>
                    </a:solidFill>
                  </a:rPr>
                  <a:t>, CNC, Pumps, etc.</a:t>
                </a:r>
              </a:p>
            </p:txBody>
          </p:sp>
        </p:grpSp>
        <p:cxnSp>
          <p:nvCxnSpPr>
            <p:cNvPr id="156" name="Straight Arrow Connector 155"/>
            <p:cNvCxnSpPr/>
            <p:nvPr/>
          </p:nvCxnSpPr>
          <p:spPr>
            <a:xfrm>
              <a:off x="10021534" y="4906366"/>
              <a:ext cx="0" cy="454685"/>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75" name="Straight Arrow Connector 274"/>
            <p:cNvCxnSpPr/>
            <p:nvPr/>
          </p:nvCxnSpPr>
          <p:spPr>
            <a:xfrm flipV="1">
              <a:off x="6424037" y="4071979"/>
              <a:ext cx="3147289" cy="10705"/>
            </a:xfrm>
            <a:prstGeom prst="straightConnector1">
              <a:avLst/>
            </a:prstGeom>
            <a:ln>
              <a:solidFill>
                <a:srgbClr val="FF000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95" name="TextBox 194"/>
            <p:cNvSpPr txBox="1"/>
            <p:nvPr/>
          </p:nvSpPr>
          <p:spPr>
            <a:xfrm>
              <a:off x="6966016" y="3846929"/>
              <a:ext cx="1671147" cy="276999"/>
            </a:xfrm>
            <a:prstGeom prst="rect">
              <a:avLst/>
            </a:prstGeom>
            <a:noFill/>
          </p:spPr>
          <p:txBody>
            <a:bodyPr wrap="square" rtlCol="0">
              <a:spAutoFit/>
            </a:bodyPr>
            <a:lstStyle/>
            <a:p>
              <a:pPr defTabSz="457200">
                <a:defRPr/>
              </a:pPr>
              <a:r>
                <a:rPr lang="en-US" sz="1200" dirty="0">
                  <a:solidFill>
                    <a:srgbClr val="FF0000"/>
                  </a:solidFill>
                  <a:latin typeface="Myriad Pro"/>
                </a:rPr>
                <a:t>150+ Drivers</a:t>
              </a:r>
            </a:p>
          </p:txBody>
        </p:sp>
        <p:pic>
          <p:nvPicPr>
            <p:cNvPr id="249" name="Picture 248"/>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592185" y="4998579"/>
              <a:ext cx="957072" cy="1033272"/>
            </a:xfrm>
            <a:prstGeom prst="rect">
              <a:avLst/>
            </a:prstGeom>
          </p:spPr>
        </p:pic>
        <p:pic>
          <p:nvPicPr>
            <p:cNvPr id="252" name="Picture 251"/>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9687954" y="5413434"/>
              <a:ext cx="693033" cy="684223"/>
            </a:xfrm>
            <a:prstGeom prst="rect">
              <a:avLst/>
            </a:prstGeom>
          </p:spPr>
        </p:pic>
        <p:cxnSp>
          <p:nvCxnSpPr>
            <p:cNvPr id="179" name="Straight Arrow Connector 178"/>
            <p:cNvCxnSpPr>
              <a:stCxn id="60" idx="3"/>
            </p:cNvCxnSpPr>
            <p:nvPr/>
          </p:nvCxnSpPr>
          <p:spPr>
            <a:xfrm flipV="1">
              <a:off x="10889716" y="4557037"/>
              <a:ext cx="414625" cy="2912"/>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82" name="Straight Arrow Connector 181"/>
            <p:cNvCxnSpPr/>
            <p:nvPr/>
          </p:nvCxnSpPr>
          <p:spPr>
            <a:xfrm>
              <a:off x="10645204" y="4917566"/>
              <a:ext cx="0" cy="454685"/>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grpSp>
      <p:grpSp>
        <p:nvGrpSpPr>
          <p:cNvPr id="313" name="4 HMI/SCADA UA multiple"/>
          <p:cNvGrpSpPr/>
          <p:nvPr/>
        </p:nvGrpSpPr>
        <p:grpSpPr>
          <a:xfrm>
            <a:off x="5553162" y="1692532"/>
            <a:ext cx="869690" cy="1784807"/>
            <a:chOff x="4029161" y="1692532"/>
            <a:chExt cx="869690" cy="1784807"/>
          </a:xfrm>
        </p:grpSpPr>
        <p:pic>
          <p:nvPicPr>
            <p:cNvPr id="166" name="hmi image"/>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flipH="1">
              <a:off x="4270219" y="1692532"/>
              <a:ext cx="628632" cy="599393"/>
            </a:xfrm>
            <a:prstGeom prst="rect">
              <a:avLst/>
            </a:prstGeom>
            <a:noFill/>
            <a:extLst>
              <a:ext uri="{909E8E84-426E-40DD-AFC4-6F175D3DCCD1}">
                <a14:hiddenFill xmlns:a14="http://schemas.microsoft.com/office/drawing/2010/main">
                  <a:solidFill>
                    <a:srgbClr val="FFFFFF"/>
                  </a:solidFill>
                </a14:hiddenFill>
              </a:ext>
            </a:extLst>
          </p:spPr>
        </p:pic>
        <p:pic>
          <p:nvPicPr>
            <p:cNvPr id="160" name="hmi image"/>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flipH="1">
              <a:off x="4181122" y="1767987"/>
              <a:ext cx="628632" cy="599393"/>
            </a:xfrm>
            <a:prstGeom prst="rect">
              <a:avLst/>
            </a:prstGeom>
            <a:noFill/>
            <a:extLst>
              <a:ext uri="{909E8E84-426E-40DD-AFC4-6F175D3DCCD1}">
                <a14:hiddenFill xmlns:a14="http://schemas.microsoft.com/office/drawing/2010/main">
                  <a:solidFill>
                    <a:srgbClr val="FFFFFF"/>
                  </a:solidFill>
                </a14:hiddenFill>
              </a:ext>
            </a:extLst>
          </p:spPr>
        </p:pic>
        <p:cxnSp>
          <p:nvCxnSpPr>
            <p:cNvPr id="218" name="Straight Arrow Connector 217"/>
            <p:cNvCxnSpPr/>
            <p:nvPr/>
          </p:nvCxnSpPr>
          <p:spPr>
            <a:xfrm flipH="1">
              <a:off x="4267199" y="2441060"/>
              <a:ext cx="4797" cy="1036279"/>
            </a:xfrm>
            <a:prstGeom prst="straightConnector1">
              <a:avLst/>
            </a:prstGeom>
            <a:ln>
              <a:solidFill>
                <a:srgbClr val="00B05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221" name="TextBox 220"/>
            <p:cNvSpPr txBox="1"/>
            <p:nvPr/>
          </p:nvSpPr>
          <p:spPr>
            <a:xfrm rot="16200000">
              <a:off x="3747221" y="2794423"/>
              <a:ext cx="840880" cy="276999"/>
            </a:xfrm>
            <a:prstGeom prst="rect">
              <a:avLst/>
            </a:prstGeom>
            <a:noFill/>
          </p:spPr>
          <p:txBody>
            <a:bodyPr wrap="square" rtlCol="0">
              <a:spAutoFit/>
            </a:bodyPr>
            <a:lstStyle/>
            <a:p>
              <a:pPr defTabSz="457200">
                <a:defRPr/>
              </a:pPr>
              <a:r>
                <a:rPr lang="en-US" sz="1200" dirty="0">
                  <a:solidFill>
                    <a:srgbClr val="00B050"/>
                  </a:solidFill>
                  <a:latin typeface="Myriad Pro"/>
                </a:rPr>
                <a:t>OPC UA</a:t>
              </a:r>
            </a:p>
          </p:txBody>
        </p:sp>
      </p:grpSp>
      <p:grpSp>
        <p:nvGrpSpPr>
          <p:cNvPr id="251" name="3 HMI/SCADA DA"/>
          <p:cNvGrpSpPr/>
          <p:nvPr/>
        </p:nvGrpSpPr>
        <p:grpSpPr>
          <a:xfrm>
            <a:off x="4636396" y="1830535"/>
            <a:ext cx="1569454" cy="1637176"/>
            <a:chOff x="3112602" y="1828799"/>
            <a:chExt cx="1569454" cy="1637176"/>
          </a:xfrm>
        </p:grpSpPr>
        <p:cxnSp>
          <p:nvCxnSpPr>
            <p:cNvPr id="125" name="Straight Arrow Connector 124"/>
            <p:cNvCxnSpPr/>
            <p:nvPr/>
          </p:nvCxnSpPr>
          <p:spPr>
            <a:xfrm>
              <a:off x="4571999" y="2484470"/>
              <a:ext cx="0" cy="981505"/>
            </a:xfrm>
            <a:prstGeom prst="straightConnector1">
              <a:avLst/>
            </a:prstGeom>
            <a:ln>
              <a:solidFill>
                <a:srgbClr val="00B05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42" name="TextBox 141"/>
            <p:cNvSpPr txBox="1"/>
            <p:nvPr/>
          </p:nvSpPr>
          <p:spPr>
            <a:xfrm rot="16200000">
              <a:off x="4013059" y="2796540"/>
              <a:ext cx="840880" cy="276999"/>
            </a:xfrm>
            <a:prstGeom prst="rect">
              <a:avLst/>
            </a:prstGeom>
            <a:noFill/>
          </p:spPr>
          <p:txBody>
            <a:bodyPr wrap="square" rtlCol="0">
              <a:spAutoFit/>
            </a:bodyPr>
            <a:lstStyle/>
            <a:p>
              <a:pPr defTabSz="457200">
                <a:defRPr/>
              </a:pPr>
              <a:r>
                <a:rPr lang="en-US" sz="1200" dirty="0">
                  <a:solidFill>
                    <a:srgbClr val="00B050"/>
                  </a:solidFill>
                  <a:latin typeface="Myriad Pro"/>
                </a:rPr>
                <a:t>OPC DA</a:t>
              </a:r>
            </a:p>
          </p:txBody>
        </p:sp>
        <p:pic>
          <p:nvPicPr>
            <p:cNvPr id="21" name="hmi image"/>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flipH="1">
              <a:off x="4053424" y="1860314"/>
              <a:ext cx="628632" cy="599393"/>
            </a:xfrm>
            <a:prstGeom prst="rect">
              <a:avLst/>
            </a:prstGeom>
            <a:noFill/>
            <a:extLst>
              <a:ext uri="{909E8E84-426E-40DD-AFC4-6F175D3DCCD1}">
                <a14:hiddenFill xmlns:a14="http://schemas.microsoft.com/office/drawing/2010/main">
                  <a:solidFill>
                    <a:srgbClr val="FFFFFF"/>
                  </a:solidFill>
                </a14:hiddenFill>
              </a:ext>
            </a:extLst>
          </p:spPr>
        </p:pic>
        <p:sp>
          <p:nvSpPr>
            <p:cNvPr id="310" name="TextBox 309"/>
            <p:cNvSpPr txBox="1"/>
            <p:nvPr/>
          </p:nvSpPr>
          <p:spPr>
            <a:xfrm>
              <a:off x="3112602" y="1828799"/>
              <a:ext cx="1002197" cy="646331"/>
            </a:xfrm>
            <a:prstGeom prst="rect">
              <a:avLst/>
            </a:prstGeom>
            <a:noFill/>
          </p:spPr>
          <p:txBody>
            <a:bodyPr wrap="none" rtlCol="0">
              <a:spAutoFit/>
            </a:bodyPr>
            <a:lstStyle/>
            <a:p>
              <a:pPr algn="ctr" defTabSz="457200">
                <a:defRPr/>
              </a:pPr>
              <a:r>
                <a:rPr lang="en-US" sz="1800" dirty="0">
                  <a:solidFill>
                    <a:prstClr val="black"/>
                  </a:solidFill>
                </a:rPr>
                <a:t>HMI</a:t>
              </a:r>
            </a:p>
            <a:p>
              <a:pPr algn="ctr" defTabSz="457200">
                <a:defRPr/>
              </a:pPr>
              <a:r>
                <a:rPr lang="en-US" sz="1800" dirty="0">
                  <a:solidFill>
                    <a:prstClr val="black"/>
                  </a:solidFill>
                </a:rPr>
                <a:t>SCADA</a:t>
              </a:r>
            </a:p>
          </p:txBody>
        </p:sp>
      </p:grpSp>
      <p:grpSp>
        <p:nvGrpSpPr>
          <p:cNvPr id="41" name="2 PLC Single"/>
          <p:cNvGrpSpPr/>
          <p:nvPr/>
        </p:nvGrpSpPr>
        <p:grpSpPr>
          <a:xfrm>
            <a:off x="2163207" y="3358053"/>
            <a:ext cx="3602742" cy="3201648"/>
            <a:chOff x="2163207" y="3358053"/>
            <a:chExt cx="3602742" cy="3201648"/>
          </a:xfrm>
        </p:grpSpPr>
        <p:grpSp>
          <p:nvGrpSpPr>
            <p:cNvPr id="8" name="0 pressure sensor"/>
            <p:cNvGrpSpPr/>
            <p:nvPr/>
          </p:nvGrpSpPr>
          <p:grpSpPr>
            <a:xfrm>
              <a:off x="2163207" y="5710461"/>
              <a:ext cx="625492" cy="842740"/>
              <a:chOff x="4292062" y="3274932"/>
              <a:chExt cx="998397" cy="1666983"/>
            </a:xfrm>
          </p:grpSpPr>
          <p:pic>
            <p:nvPicPr>
              <p:cNvPr id="9" name="Sensor"/>
              <p:cNvPicPr>
                <a:picLocks noChangeAspect="1" noChangeArrowheads="1"/>
              </p:cNvPicPr>
              <p:nvPr/>
            </p:nvPicPr>
            <p:blipFill>
              <a:blip r:embed="rId28">
                <a:extLst>
                  <a:ext uri="{28A0092B-C50C-407E-A947-70E740481C1C}">
                    <a14:useLocalDpi xmlns:a14="http://schemas.microsoft.com/office/drawing/2010/main" val="0"/>
                  </a:ext>
                </a:extLst>
              </a:blip>
              <a:stretch>
                <a:fillRect/>
              </a:stretch>
            </p:blipFill>
            <p:spPr bwMode="auto">
              <a:xfrm>
                <a:off x="4551631" y="3274932"/>
                <a:ext cx="540267" cy="110099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4292062" y="4424437"/>
                <a:ext cx="998397" cy="517478"/>
              </a:xfrm>
              <a:prstGeom prst="rect">
                <a:avLst/>
              </a:prstGeom>
              <a:noFill/>
            </p:spPr>
            <p:txBody>
              <a:bodyPr wrap="none" rtlCol="0">
                <a:spAutoFit/>
              </a:bodyPr>
              <a:lstStyle/>
              <a:p>
                <a:pPr defTabSz="457200">
                  <a:defRPr/>
                </a:pPr>
                <a:r>
                  <a:rPr lang="en-US" sz="1100" dirty="0">
                    <a:solidFill>
                      <a:prstClr val="black"/>
                    </a:solidFill>
                  </a:rPr>
                  <a:t>Sensors</a:t>
                </a:r>
              </a:p>
            </p:txBody>
          </p:sp>
        </p:grpSp>
        <p:pic>
          <p:nvPicPr>
            <p:cNvPr id="18" name="Picture 10"/>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4476766" y="5117545"/>
              <a:ext cx="1156754" cy="747284"/>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0 motor"/>
            <p:cNvGrpSpPr/>
            <p:nvPr/>
          </p:nvGrpSpPr>
          <p:grpSpPr>
            <a:xfrm>
              <a:off x="5081357" y="5779564"/>
              <a:ext cx="684592" cy="780137"/>
              <a:chOff x="4583275" y="4357276"/>
              <a:chExt cx="1299645" cy="1067009"/>
            </a:xfrm>
          </p:grpSpPr>
          <p:sp>
            <p:nvSpPr>
              <p:cNvPr id="13" name="TextBox 12"/>
              <p:cNvSpPr txBox="1"/>
              <p:nvPr/>
            </p:nvSpPr>
            <p:spPr>
              <a:xfrm>
                <a:off x="4634124" y="5066476"/>
                <a:ext cx="1248796" cy="357809"/>
              </a:xfrm>
              <a:prstGeom prst="rect">
                <a:avLst/>
              </a:prstGeom>
              <a:noFill/>
            </p:spPr>
            <p:txBody>
              <a:bodyPr wrap="square" rtlCol="0">
                <a:spAutoFit/>
              </a:bodyPr>
              <a:lstStyle/>
              <a:p>
                <a:pPr defTabSz="457200">
                  <a:defRPr/>
                </a:pPr>
                <a:r>
                  <a:rPr lang="en-US" sz="1100" dirty="0">
                    <a:solidFill>
                      <a:prstClr val="black"/>
                    </a:solidFill>
                  </a:rPr>
                  <a:t>Motors</a:t>
                </a:r>
              </a:p>
            </p:txBody>
          </p:sp>
          <p:pic>
            <p:nvPicPr>
              <p:cNvPr id="12" name="Motor" descr="http://www.quicksilvercontrols.com/img/NEMA23K-3.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583275" y="4357276"/>
                <a:ext cx="1127183" cy="845385"/>
              </a:xfrm>
              <a:prstGeom prst="rect">
                <a:avLst/>
              </a:prstGeom>
              <a:noFill/>
              <a:extLst>
                <a:ext uri="{909E8E84-426E-40DD-AFC4-6F175D3DCCD1}">
                  <a14:hiddenFill xmlns:a14="http://schemas.microsoft.com/office/drawing/2010/main">
                    <a:solidFill>
                      <a:srgbClr val="FFFFFF"/>
                    </a:solidFill>
                  </a14:hiddenFill>
                </a:ext>
              </a:extLst>
            </p:spPr>
          </p:pic>
        </p:grpSp>
        <p:sp>
          <p:nvSpPr>
            <p:cNvPr id="140" name="TextBox 139"/>
            <p:cNvSpPr txBox="1"/>
            <p:nvPr/>
          </p:nvSpPr>
          <p:spPr>
            <a:xfrm rot="16200000">
              <a:off x="4588171" y="4055127"/>
              <a:ext cx="1671147" cy="276999"/>
            </a:xfrm>
            <a:prstGeom prst="rect">
              <a:avLst/>
            </a:prstGeom>
            <a:noFill/>
          </p:spPr>
          <p:txBody>
            <a:bodyPr wrap="square" rtlCol="0">
              <a:spAutoFit/>
            </a:bodyPr>
            <a:lstStyle/>
            <a:p>
              <a:pPr defTabSz="457200">
                <a:defRPr/>
              </a:pPr>
              <a:r>
                <a:rPr lang="en-US" sz="1200" dirty="0">
                  <a:solidFill>
                    <a:srgbClr val="FF0000"/>
                  </a:solidFill>
                  <a:latin typeface="Myriad Pro"/>
                </a:rPr>
                <a:t>Drivers</a:t>
              </a:r>
            </a:p>
          </p:txBody>
        </p:sp>
        <p:cxnSp>
          <p:nvCxnSpPr>
            <p:cNvPr id="187" name="Elbow Connector 186"/>
            <p:cNvCxnSpPr/>
            <p:nvPr/>
          </p:nvCxnSpPr>
          <p:spPr>
            <a:xfrm rot="10800000" flipV="1">
              <a:off x="2692792" y="5875627"/>
              <a:ext cx="2074848" cy="312447"/>
            </a:xfrm>
            <a:prstGeom prst="bentConnector3">
              <a:avLst>
                <a:gd name="adj1" fmla="val 142"/>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p:nvPr/>
          </p:nvCxnSpPr>
          <p:spPr>
            <a:xfrm>
              <a:off x="4763094" y="6188075"/>
              <a:ext cx="407795" cy="3489"/>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p:cNvCxnSpPr/>
            <p:nvPr/>
          </p:nvCxnSpPr>
          <p:spPr>
            <a:xfrm>
              <a:off x="5566773" y="4234951"/>
              <a:ext cx="0" cy="860469"/>
            </a:xfrm>
            <a:prstGeom prst="straightConnector1">
              <a:avLst/>
            </a:prstGeom>
            <a:ln>
              <a:solidFill>
                <a:srgbClr val="FF000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86" name="TextBox 185"/>
            <p:cNvSpPr txBox="1"/>
            <p:nvPr/>
          </p:nvSpPr>
          <p:spPr>
            <a:xfrm>
              <a:off x="4572000" y="4659868"/>
              <a:ext cx="522002" cy="369332"/>
            </a:xfrm>
            <a:prstGeom prst="rect">
              <a:avLst/>
            </a:prstGeom>
            <a:noFill/>
          </p:spPr>
          <p:txBody>
            <a:bodyPr wrap="none" rtlCol="0">
              <a:spAutoFit/>
            </a:bodyPr>
            <a:lstStyle/>
            <a:p>
              <a:pPr defTabSz="457200">
                <a:defRPr/>
              </a:pPr>
              <a:r>
                <a:rPr lang="en-US" dirty="0">
                  <a:solidFill>
                    <a:prstClr val="black"/>
                  </a:solidFill>
                </a:rPr>
                <a:t>PLC</a:t>
              </a:r>
            </a:p>
          </p:txBody>
        </p:sp>
        <p:pic>
          <p:nvPicPr>
            <p:cNvPr id="173" name="Pick &amp; Place Robot"/>
            <p:cNvPicPr>
              <a:picLocks noChangeAspect="1"/>
            </p:cNvPicPr>
            <p:nvPr/>
          </p:nvPicPr>
          <p:blipFill>
            <a:blip r:embed="rId30"/>
            <a:stretch>
              <a:fillRect/>
            </a:stretch>
          </p:blipFill>
          <p:spPr>
            <a:xfrm>
              <a:off x="3645949" y="5029200"/>
              <a:ext cx="697451" cy="914399"/>
            </a:xfrm>
            <a:prstGeom prst="rect">
              <a:avLst/>
            </a:prstGeom>
          </p:spPr>
        </p:pic>
        <p:sp>
          <p:nvSpPr>
            <p:cNvPr id="174" name="TextBox 173"/>
            <p:cNvSpPr txBox="1"/>
            <p:nvPr/>
          </p:nvSpPr>
          <p:spPr>
            <a:xfrm>
              <a:off x="3089794" y="6224599"/>
              <a:ext cx="1539204" cy="261610"/>
            </a:xfrm>
            <a:prstGeom prst="rect">
              <a:avLst/>
            </a:prstGeom>
            <a:noFill/>
          </p:spPr>
          <p:txBody>
            <a:bodyPr wrap="none" rtlCol="0">
              <a:spAutoFit/>
            </a:bodyPr>
            <a:lstStyle/>
            <a:p>
              <a:pPr algn="ctr" defTabSz="457200">
                <a:defRPr/>
              </a:pPr>
              <a:r>
                <a:rPr lang="en-US" sz="1100" dirty="0">
                  <a:solidFill>
                    <a:prstClr val="black"/>
                  </a:solidFill>
                </a:rPr>
                <a:t>Robots, Pickers, etc.</a:t>
              </a:r>
            </a:p>
          </p:txBody>
        </p:sp>
        <p:cxnSp>
          <p:nvCxnSpPr>
            <p:cNvPr id="23" name="Straight Arrow Connector 22"/>
            <p:cNvCxnSpPr/>
            <p:nvPr/>
          </p:nvCxnSpPr>
          <p:spPr>
            <a:xfrm flipV="1">
              <a:off x="3960915" y="6000320"/>
              <a:ext cx="1778" cy="19124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40" name="robot"/>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2818823" y="5485938"/>
              <a:ext cx="762578" cy="610062"/>
            </a:xfrm>
            <a:prstGeom prst="rect">
              <a:avLst/>
            </a:prstGeom>
          </p:spPr>
        </p:pic>
      </p:grpSp>
      <p:grpSp>
        <p:nvGrpSpPr>
          <p:cNvPr id="14" name="1 KepServerEX"/>
          <p:cNvGrpSpPr/>
          <p:nvPr/>
        </p:nvGrpSpPr>
        <p:grpSpPr>
          <a:xfrm>
            <a:off x="5222405" y="3584438"/>
            <a:ext cx="1040092" cy="669276"/>
            <a:chOff x="3698404" y="3584438"/>
            <a:chExt cx="1040092" cy="669276"/>
          </a:xfrm>
        </p:grpSpPr>
        <p:pic>
          <p:nvPicPr>
            <p:cNvPr id="25" name="PC Serve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98404" y="3584438"/>
              <a:ext cx="1040092" cy="669276"/>
            </a:xfrm>
            <a:prstGeom prst="rect">
              <a:avLst/>
            </a:prstGeom>
          </p:spPr>
        </p:pic>
        <p:pic>
          <p:nvPicPr>
            <p:cNvPr id="6" name="EX Logo"/>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848528" y="3631056"/>
              <a:ext cx="385399" cy="440923"/>
            </a:xfrm>
            <a:prstGeom prst="rect">
              <a:avLst/>
            </a:prstGeom>
          </p:spPr>
        </p:pic>
      </p:grpSp>
      <p:sp>
        <p:nvSpPr>
          <p:cNvPr id="2" name="Slide Number Placeholder 1"/>
          <p:cNvSpPr>
            <a:spLocks noGrp="1"/>
          </p:cNvSpPr>
          <p:nvPr>
            <p:ph type="sldNum" sz="quarter" idx="12"/>
          </p:nvPr>
        </p:nvSpPr>
        <p:spPr/>
        <p:txBody>
          <a:bodyPr/>
          <a:lstStyle/>
          <a:p>
            <a:pPr>
              <a:defRPr/>
            </a:pPr>
            <a:fld id="{6EBB3CF3-06C1-0F4C-8B41-C294CA4F34DF}" type="slidenum">
              <a:rPr lang="en-US" smtClean="0">
                <a:solidFill>
                  <a:prstClr val="black">
                    <a:tint val="75000"/>
                  </a:prstClr>
                </a:solidFill>
              </a:rPr>
              <a:pPr>
                <a:defRPr/>
              </a:pPr>
              <a:t>41</a:t>
            </a:fld>
            <a:endParaRPr lang="en-US" dirty="0">
              <a:solidFill>
                <a:prstClr val="black">
                  <a:tint val="75000"/>
                </a:prstClr>
              </a:solidFill>
            </a:endParaRPr>
          </a:p>
        </p:txBody>
      </p:sp>
    </p:spTree>
    <p:extLst>
      <p:ext uri="{BB962C8B-B14F-4D97-AF65-F5344CB8AC3E}">
        <p14:creationId xmlns:p14="http://schemas.microsoft.com/office/powerpoint/2010/main" val="4052193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1000"/>
                                        <p:tgtEl>
                                          <p:spTgt spid="41"/>
                                        </p:tgtEl>
                                      </p:cBhvr>
                                    </p:animEffect>
                                    <p:anim calcmode="lin" valueType="num">
                                      <p:cBhvr>
                                        <p:cTn id="8" dur="1000" fill="hold"/>
                                        <p:tgtEl>
                                          <p:spTgt spid="41"/>
                                        </p:tgtEl>
                                        <p:attrNameLst>
                                          <p:attrName>ppt_x</p:attrName>
                                        </p:attrNameLst>
                                      </p:cBhvr>
                                      <p:tavLst>
                                        <p:tav tm="0">
                                          <p:val>
                                            <p:strVal val="#ppt_x"/>
                                          </p:val>
                                        </p:tav>
                                        <p:tav tm="100000">
                                          <p:val>
                                            <p:strVal val="#ppt_x"/>
                                          </p:val>
                                        </p:tav>
                                      </p:tavLst>
                                    </p:anim>
                                    <p:anim calcmode="lin" valueType="num">
                                      <p:cBhvr>
                                        <p:cTn id="9"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51"/>
                                        </p:tgtEl>
                                        <p:attrNameLst>
                                          <p:attrName>style.visibility</p:attrName>
                                        </p:attrNameLst>
                                      </p:cBhvr>
                                      <p:to>
                                        <p:strVal val="visible"/>
                                      </p:to>
                                    </p:set>
                                    <p:animEffect transition="in" filter="fade">
                                      <p:cBhvr>
                                        <p:cTn id="14" dur="1000"/>
                                        <p:tgtEl>
                                          <p:spTgt spid="251"/>
                                        </p:tgtEl>
                                      </p:cBhvr>
                                    </p:animEffect>
                                    <p:anim calcmode="lin" valueType="num">
                                      <p:cBhvr>
                                        <p:cTn id="15" dur="1000" fill="hold"/>
                                        <p:tgtEl>
                                          <p:spTgt spid="251"/>
                                        </p:tgtEl>
                                        <p:attrNameLst>
                                          <p:attrName>ppt_x</p:attrName>
                                        </p:attrNameLst>
                                      </p:cBhvr>
                                      <p:tavLst>
                                        <p:tav tm="0">
                                          <p:val>
                                            <p:strVal val="#ppt_x"/>
                                          </p:val>
                                        </p:tav>
                                        <p:tav tm="100000">
                                          <p:val>
                                            <p:strVal val="#ppt_x"/>
                                          </p:val>
                                        </p:tav>
                                      </p:tavLst>
                                    </p:anim>
                                    <p:anim calcmode="lin" valueType="num">
                                      <p:cBhvr>
                                        <p:cTn id="16" dur="1000" fill="hold"/>
                                        <p:tgtEl>
                                          <p:spTgt spid="25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13"/>
                                        </p:tgtEl>
                                        <p:attrNameLst>
                                          <p:attrName>style.visibility</p:attrName>
                                        </p:attrNameLst>
                                      </p:cBhvr>
                                      <p:to>
                                        <p:strVal val="visible"/>
                                      </p:to>
                                    </p:set>
                                    <p:animEffect transition="in" filter="fade">
                                      <p:cBhvr>
                                        <p:cTn id="21" dur="1000"/>
                                        <p:tgtEl>
                                          <p:spTgt spid="313"/>
                                        </p:tgtEl>
                                      </p:cBhvr>
                                    </p:animEffect>
                                    <p:anim calcmode="lin" valueType="num">
                                      <p:cBhvr>
                                        <p:cTn id="22" dur="1000" fill="hold"/>
                                        <p:tgtEl>
                                          <p:spTgt spid="313"/>
                                        </p:tgtEl>
                                        <p:attrNameLst>
                                          <p:attrName>ppt_x</p:attrName>
                                        </p:attrNameLst>
                                      </p:cBhvr>
                                      <p:tavLst>
                                        <p:tav tm="0">
                                          <p:val>
                                            <p:strVal val="#ppt_x"/>
                                          </p:val>
                                        </p:tav>
                                        <p:tav tm="100000">
                                          <p:val>
                                            <p:strVal val="#ppt_x"/>
                                          </p:val>
                                        </p:tav>
                                      </p:tavLst>
                                    </p:anim>
                                    <p:anim calcmode="lin" valueType="num">
                                      <p:cBhvr>
                                        <p:cTn id="23" dur="1000" fill="hold"/>
                                        <p:tgtEl>
                                          <p:spTgt spid="31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1000"/>
                                        <p:tgtEl>
                                          <p:spTgt spid="39"/>
                                        </p:tgtEl>
                                      </p:cBhvr>
                                    </p:animEffect>
                                    <p:anim calcmode="lin" valueType="num">
                                      <p:cBhvr>
                                        <p:cTn id="29" dur="1000" fill="hold"/>
                                        <p:tgtEl>
                                          <p:spTgt spid="39"/>
                                        </p:tgtEl>
                                        <p:attrNameLst>
                                          <p:attrName>ppt_x</p:attrName>
                                        </p:attrNameLst>
                                      </p:cBhvr>
                                      <p:tavLst>
                                        <p:tav tm="0">
                                          <p:val>
                                            <p:strVal val="#ppt_x"/>
                                          </p:val>
                                        </p:tav>
                                        <p:tav tm="100000">
                                          <p:val>
                                            <p:strVal val="#ppt_x"/>
                                          </p:val>
                                        </p:tav>
                                      </p:tavLst>
                                    </p:anim>
                                    <p:anim calcmode="lin" valueType="num">
                                      <p:cBhvr>
                                        <p:cTn id="30"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40"/>
                                        </p:tgtEl>
                                        <p:attrNameLst>
                                          <p:attrName>style.visibility</p:attrName>
                                        </p:attrNameLst>
                                      </p:cBhvr>
                                      <p:to>
                                        <p:strVal val="visible"/>
                                      </p:to>
                                    </p:set>
                                    <p:animEffect transition="in" filter="fade">
                                      <p:cBhvr>
                                        <p:cTn id="35" dur="1000"/>
                                        <p:tgtEl>
                                          <p:spTgt spid="240"/>
                                        </p:tgtEl>
                                      </p:cBhvr>
                                    </p:animEffect>
                                    <p:anim calcmode="lin" valueType="num">
                                      <p:cBhvr>
                                        <p:cTn id="36" dur="1000" fill="hold"/>
                                        <p:tgtEl>
                                          <p:spTgt spid="240"/>
                                        </p:tgtEl>
                                        <p:attrNameLst>
                                          <p:attrName>ppt_x</p:attrName>
                                        </p:attrNameLst>
                                      </p:cBhvr>
                                      <p:tavLst>
                                        <p:tav tm="0">
                                          <p:val>
                                            <p:strVal val="#ppt_x"/>
                                          </p:val>
                                        </p:tav>
                                        <p:tav tm="100000">
                                          <p:val>
                                            <p:strVal val="#ppt_x"/>
                                          </p:val>
                                        </p:tav>
                                      </p:tavLst>
                                    </p:anim>
                                    <p:anim calcmode="lin" valueType="num">
                                      <p:cBhvr>
                                        <p:cTn id="37" dur="1000" fill="hold"/>
                                        <p:tgtEl>
                                          <p:spTgt spid="240"/>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250"/>
                                        </p:tgtEl>
                                        <p:attrNameLst>
                                          <p:attrName>style.visibility</p:attrName>
                                        </p:attrNameLst>
                                      </p:cBhvr>
                                      <p:to>
                                        <p:strVal val="visible"/>
                                      </p:to>
                                    </p:set>
                                    <p:animEffect transition="in" filter="fade">
                                      <p:cBhvr>
                                        <p:cTn id="42" dur="1000"/>
                                        <p:tgtEl>
                                          <p:spTgt spid="250"/>
                                        </p:tgtEl>
                                      </p:cBhvr>
                                    </p:animEffect>
                                    <p:anim calcmode="lin" valueType="num">
                                      <p:cBhvr>
                                        <p:cTn id="43" dur="1000" fill="hold"/>
                                        <p:tgtEl>
                                          <p:spTgt spid="250"/>
                                        </p:tgtEl>
                                        <p:attrNameLst>
                                          <p:attrName>ppt_x</p:attrName>
                                        </p:attrNameLst>
                                      </p:cBhvr>
                                      <p:tavLst>
                                        <p:tav tm="0">
                                          <p:val>
                                            <p:strVal val="#ppt_x"/>
                                          </p:val>
                                        </p:tav>
                                        <p:tav tm="100000">
                                          <p:val>
                                            <p:strVal val="#ppt_x"/>
                                          </p:val>
                                        </p:tav>
                                      </p:tavLst>
                                    </p:anim>
                                    <p:anim calcmode="lin" valueType="num">
                                      <p:cBhvr>
                                        <p:cTn id="44" dur="1000" fill="hold"/>
                                        <p:tgtEl>
                                          <p:spTgt spid="250"/>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1000"/>
                                        <p:tgtEl>
                                          <p:spTgt spid="5"/>
                                        </p:tgtEl>
                                      </p:cBhvr>
                                    </p:animEffect>
                                    <p:anim calcmode="lin" valueType="num">
                                      <p:cBhvr>
                                        <p:cTn id="50" dur="1000" fill="hold"/>
                                        <p:tgtEl>
                                          <p:spTgt spid="5"/>
                                        </p:tgtEl>
                                        <p:attrNameLst>
                                          <p:attrName>ppt_x</p:attrName>
                                        </p:attrNameLst>
                                      </p:cBhvr>
                                      <p:tavLst>
                                        <p:tav tm="0">
                                          <p:val>
                                            <p:strVal val="#ppt_x"/>
                                          </p:val>
                                        </p:tav>
                                        <p:tav tm="100000">
                                          <p:val>
                                            <p:strVal val="#ppt_x"/>
                                          </p:val>
                                        </p:tav>
                                      </p:tavLst>
                                    </p:anim>
                                    <p:anim calcmode="lin" valueType="num">
                                      <p:cBhvr>
                                        <p:cTn id="51"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238"/>
                                        </p:tgtEl>
                                        <p:attrNameLst>
                                          <p:attrName>style.visibility</p:attrName>
                                        </p:attrNameLst>
                                      </p:cBhvr>
                                      <p:to>
                                        <p:strVal val="visible"/>
                                      </p:to>
                                    </p:set>
                                    <p:animEffect transition="in" filter="fade">
                                      <p:cBhvr>
                                        <p:cTn id="56" dur="1000"/>
                                        <p:tgtEl>
                                          <p:spTgt spid="238"/>
                                        </p:tgtEl>
                                      </p:cBhvr>
                                    </p:animEffect>
                                    <p:anim calcmode="lin" valueType="num">
                                      <p:cBhvr>
                                        <p:cTn id="57" dur="1000" fill="hold"/>
                                        <p:tgtEl>
                                          <p:spTgt spid="238"/>
                                        </p:tgtEl>
                                        <p:attrNameLst>
                                          <p:attrName>ppt_x</p:attrName>
                                        </p:attrNameLst>
                                      </p:cBhvr>
                                      <p:tavLst>
                                        <p:tav tm="0">
                                          <p:val>
                                            <p:strVal val="#ppt_x"/>
                                          </p:val>
                                        </p:tav>
                                        <p:tav tm="100000">
                                          <p:val>
                                            <p:strVal val="#ppt_x"/>
                                          </p:val>
                                        </p:tav>
                                      </p:tavLst>
                                    </p:anim>
                                    <p:anim calcmode="lin" valueType="num">
                                      <p:cBhvr>
                                        <p:cTn id="58" dur="1000" fill="hold"/>
                                        <p:tgtEl>
                                          <p:spTgt spid="238"/>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245"/>
                                        </p:tgtEl>
                                        <p:attrNameLst>
                                          <p:attrName>style.visibility</p:attrName>
                                        </p:attrNameLst>
                                      </p:cBhvr>
                                      <p:to>
                                        <p:strVal val="visible"/>
                                      </p:to>
                                    </p:set>
                                    <p:animEffect transition="in" filter="fade">
                                      <p:cBhvr>
                                        <p:cTn id="63" dur="1000"/>
                                        <p:tgtEl>
                                          <p:spTgt spid="245"/>
                                        </p:tgtEl>
                                      </p:cBhvr>
                                    </p:animEffect>
                                    <p:anim calcmode="lin" valueType="num">
                                      <p:cBhvr>
                                        <p:cTn id="64" dur="1000" fill="hold"/>
                                        <p:tgtEl>
                                          <p:spTgt spid="245"/>
                                        </p:tgtEl>
                                        <p:attrNameLst>
                                          <p:attrName>ppt_x</p:attrName>
                                        </p:attrNameLst>
                                      </p:cBhvr>
                                      <p:tavLst>
                                        <p:tav tm="0">
                                          <p:val>
                                            <p:strVal val="#ppt_x"/>
                                          </p:val>
                                        </p:tav>
                                        <p:tav tm="100000">
                                          <p:val>
                                            <p:strVal val="#ppt_x"/>
                                          </p:val>
                                        </p:tav>
                                      </p:tavLst>
                                    </p:anim>
                                    <p:anim calcmode="lin" valueType="num">
                                      <p:cBhvr>
                                        <p:cTn id="65" dur="1000" fill="hold"/>
                                        <p:tgtEl>
                                          <p:spTgt spid="245"/>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257"/>
                                        </p:tgtEl>
                                        <p:attrNameLst>
                                          <p:attrName>style.visibility</p:attrName>
                                        </p:attrNameLst>
                                      </p:cBhvr>
                                      <p:to>
                                        <p:strVal val="visible"/>
                                      </p:to>
                                    </p:set>
                                    <p:animEffect transition="in" filter="fade">
                                      <p:cBhvr>
                                        <p:cTn id="70" dur="1000"/>
                                        <p:tgtEl>
                                          <p:spTgt spid="257"/>
                                        </p:tgtEl>
                                      </p:cBhvr>
                                    </p:animEffect>
                                    <p:anim calcmode="lin" valueType="num">
                                      <p:cBhvr>
                                        <p:cTn id="71" dur="1000" fill="hold"/>
                                        <p:tgtEl>
                                          <p:spTgt spid="257"/>
                                        </p:tgtEl>
                                        <p:attrNameLst>
                                          <p:attrName>ppt_x</p:attrName>
                                        </p:attrNameLst>
                                      </p:cBhvr>
                                      <p:tavLst>
                                        <p:tav tm="0">
                                          <p:val>
                                            <p:strVal val="#ppt_x"/>
                                          </p:val>
                                        </p:tav>
                                        <p:tav tm="100000">
                                          <p:val>
                                            <p:strVal val="#ppt_x"/>
                                          </p:val>
                                        </p:tav>
                                      </p:tavLst>
                                    </p:anim>
                                    <p:anim calcmode="lin" valueType="num">
                                      <p:cBhvr>
                                        <p:cTn id="72" dur="1000" fill="hold"/>
                                        <p:tgtEl>
                                          <p:spTgt spid="257"/>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53"/>
                                        </p:tgtEl>
                                        <p:attrNameLst>
                                          <p:attrName>style.visibility</p:attrName>
                                        </p:attrNameLst>
                                      </p:cBhvr>
                                      <p:to>
                                        <p:strVal val="visible"/>
                                      </p:to>
                                    </p:set>
                                    <p:animEffect transition="in" filter="fade">
                                      <p:cBhvr>
                                        <p:cTn id="77" dur="1000"/>
                                        <p:tgtEl>
                                          <p:spTgt spid="53"/>
                                        </p:tgtEl>
                                      </p:cBhvr>
                                    </p:animEffect>
                                    <p:anim calcmode="lin" valueType="num">
                                      <p:cBhvr>
                                        <p:cTn id="78" dur="1000" fill="hold"/>
                                        <p:tgtEl>
                                          <p:spTgt spid="53"/>
                                        </p:tgtEl>
                                        <p:attrNameLst>
                                          <p:attrName>ppt_x</p:attrName>
                                        </p:attrNameLst>
                                      </p:cBhvr>
                                      <p:tavLst>
                                        <p:tav tm="0">
                                          <p:val>
                                            <p:strVal val="#ppt_x"/>
                                          </p:val>
                                        </p:tav>
                                        <p:tav tm="100000">
                                          <p:val>
                                            <p:strVal val="#ppt_x"/>
                                          </p:val>
                                        </p:tav>
                                      </p:tavLst>
                                    </p:anim>
                                    <p:anim calcmode="lin" valueType="num">
                                      <p:cBhvr>
                                        <p:cTn id="79"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nodeType="click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fade">
                                      <p:cBhvr>
                                        <p:cTn id="84" dur="1000"/>
                                        <p:tgtEl>
                                          <p:spTgt spid="16"/>
                                        </p:tgtEl>
                                      </p:cBhvr>
                                    </p:animEffect>
                                    <p:anim calcmode="lin" valueType="num">
                                      <p:cBhvr>
                                        <p:cTn id="85" dur="1000" fill="hold"/>
                                        <p:tgtEl>
                                          <p:spTgt spid="16"/>
                                        </p:tgtEl>
                                        <p:attrNameLst>
                                          <p:attrName>ppt_x</p:attrName>
                                        </p:attrNameLst>
                                      </p:cBhvr>
                                      <p:tavLst>
                                        <p:tav tm="0">
                                          <p:val>
                                            <p:strVal val="#ppt_x"/>
                                          </p:val>
                                        </p:tav>
                                        <p:tav tm="100000">
                                          <p:val>
                                            <p:strVal val="#ppt_x"/>
                                          </p:val>
                                        </p:tav>
                                      </p:tavLst>
                                    </p:anim>
                                    <p:anim calcmode="lin" valueType="num">
                                      <p:cBhvr>
                                        <p:cTn id="86"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328"/>
                                        </p:tgtEl>
                                        <p:attrNameLst>
                                          <p:attrName>style.visibility</p:attrName>
                                        </p:attrNameLst>
                                      </p:cBhvr>
                                      <p:to>
                                        <p:strVal val="visible"/>
                                      </p:to>
                                    </p:set>
                                    <p:animEffect transition="in" filter="fade">
                                      <p:cBhvr>
                                        <p:cTn id="91" dur="1000"/>
                                        <p:tgtEl>
                                          <p:spTgt spid="328"/>
                                        </p:tgtEl>
                                      </p:cBhvr>
                                    </p:animEffect>
                                    <p:anim calcmode="lin" valueType="num">
                                      <p:cBhvr>
                                        <p:cTn id="92" dur="1000" fill="hold"/>
                                        <p:tgtEl>
                                          <p:spTgt spid="328"/>
                                        </p:tgtEl>
                                        <p:attrNameLst>
                                          <p:attrName>ppt_x</p:attrName>
                                        </p:attrNameLst>
                                      </p:cBhvr>
                                      <p:tavLst>
                                        <p:tav tm="0">
                                          <p:val>
                                            <p:strVal val="#ppt_x"/>
                                          </p:val>
                                        </p:tav>
                                        <p:tav tm="100000">
                                          <p:val>
                                            <p:strVal val="#ppt_x"/>
                                          </p:val>
                                        </p:tav>
                                      </p:tavLst>
                                    </p:anim>
                                    <p:anim calcmode="lin" valueType="num">
                                      <p:cBhvr>
                                        <p:cTn id="93" dur="1000" fill="hold"/>
                                        <p:tgtEl>
                                          <p:spTgt spid="328"/>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6" presetClass="entr" presetSubtype="16" fill="hold" grpId="0" nodeType="clickEffect">
                                  <p:stCondLst>
                                    <p:cond delay="0"/>
                                  </p:stCondLst>
                                  <p:childTnLst>
                                    <p:set>
                                      <p:cBhvr>
                                        <p:cTn id="97" dur="1" fill="hold">
                                          <p:stCondLst>
                                            <p:cond delay="0"/>
                                          </p:stCondLst>
                                        </p:cTn>
                                        <p:tgtEl>
                                          <p:spTgt spid="99"/>
                                        </p:tgtEl>
                                        <p:attrNameLst>
                                          <p:attrName>style.visibility</p:attrName>
                                        </p:attrNameLst>
                                      </p:cBhvr>
                                      <p:to>
                                        <p:strVal val="visible"/>
                                      </p:to>
                                    </p:set>
                                    <p:animEffect transition="in" filter="circle(in)">
                                      <p:cBhvr>
                                        <p:cTn id="98" dur="2000"/>
                                        <p:tgtEl>
                                          <p:spTgt spid="99"/>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55"/>
                                        </p:tgtEl>
                                        <p:attrNameLst>
                                          <p:attrName>style.visibility</p:attrName>
                                        </p:attrNameLst>
                                      </p:cBhvr>
                                      <p:to>
                                        <p:strVal val="visible"/>
                                      </p:to>
                                    </p:set>
                                    <p:animEffect transition="in" filter="fade">
                                      <p:cBhvr>
                                        <p:cTn id="103" dur="500"/>
                                        <p:tgtEl>
                                          <p:spTgt spid="55"/>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224"/>
                                        </p:tgtEl>
                                        <p:attrNameLst>
                                          <p:attrName>style.visibility</p:attrName>
                                        </p:attrNameLst>
                                      </p:cBhvr>
                                      <p:to>
                                        <p:strVal val="visible"/>
                                      </p:to>
                                    </p:set>
                                    <p:animEffect transition="in" filter="fade">
                                      <p:cBhvr>
                                        <p:cTn id="108" dur="500"/>
                                        <p:tgtEl>
                                          <p:spTgt spid="224"/>
                                        </p:tgtEl>
                                      </p:cBhvr>
                                    </p:animEffec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nodeType="clickEffect">
                                  <p:stCondLst>
                                    <p:cond delay="0"/>
                                  </p:stCondLst>
                                  <p:childTnLst>
                                    <p:set>
                                      <p:cBhvr>
                                        <p:cTn id="112" dur="1" fill="hold">
                                          <p:stCondLst>
                                            <p:cond delay="0"/>
                                          </p:stCondLst>
                                        </p:cTn>
                                        <p:tgtEl>
                                          <p:spTgt spid="299"/>
                                        </p:tgtEl>
                                        <p:attrNameLst>
                                          <p:attrName>style.visibility</p:attrName>
                                        </p:attrNameLst>
                                      </p:cBhvr>
                                      <p:to>
                                        <p:strVal val="visible"/>
                                      </p:to>
                                    </p:set>
                                    <p:animEffect transition="in" filter="fade">
                                      <p:cBhvr>
                                        <p:cTn id="113" dur="500"/>
                                        <p:tgtEl>
                                          <p:spTgt spid="299"/>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nodeType="clickEffect">
                                  <p:stCondLst>
                                    <p:cond delay="0"/>
                                  </p:stCondLst>
                                  <p:childTnLst>
                                    <p:set>
                                      <p:cBhvr>
                                        <p:cTn id="117" dur="1" fill="hold">
                                          <p:stCondLst>
                                            <p:cond delay="0"/>
                                          </p:stCondLst>
                                        </p:cTn>
                                        <p:tgtEl>
                                          <p:spTgt spid="308"/>
                                        </p:tgtEl>
                                        <p:attrNameLst>
                                          <p:attrName>style.visibility</p:attrName>
                                        </p:attrNameLst>
                                      </p:cBhvr>
                                      <p:to>
                                        <p:strVal val="visible"/>
                                      </p:to>
                                    </p:set>
                                    <p:animEffect transition="in" filter="fade">
                                      <p:cBhvr>
                                        <p:cTn id="118" dur="500"/>
                                        <p:tgtEl>
                                          <p:spTgt spid="308"/>
                                        </p:tgtEl>
                                      </p:cBhvr>
                                    </p:animEffect>
                                  </p:childTnLst>
                                </p:cTn>
                              </p:par>
                            </p:childTnLst>
                          </p:cTn>
                        </p:par>
                      </p:childTnLst>
                    </p:cTn>
                  </p:par>
                  <p:par>
                    <p:cTn id="119" fill="hold">
                      <p:stCondLst>
                        <p:cond delay="indefinite"/>
                      </p:stCondLst>
                      <p:childTnLst>
                        <p:par>
                          <p:cTn id="120" fill="hold">
                            <p:stCondLst>
                              <p:cond delay="0"/>
                            </p:stCondLst>
                            <p:childTnLst>
                              <p:par>
                                <p:cTn id="121" presetID="42" presetClass="entr" presetSubtype="0" fill="hold" nodeType="clickEffect">
                                  <p:stCondLst>
                                    <p:cond delay="0"/>
                                  </p:stCondLst>
                                  <p:childTnLst>
                                    <p:set>
                                      <p:cBhvr>
                                        <p:cTn id="122" dur="1" fill="hold">
                                          <p:stCondLst>
                                            <p:cond delay="0"/>
                                          </p:stCondLst>
                                        </p:cTn>
                                        <p:tgtEl>
                                          <p:spTgt spid="236"/>
                                        </p:tgtEl>
                                        <p:attrNameLst>
                                          <p:attrName>style.visibility</p:attrName>
                                        </p:attrNameLst>
                                      </p:cBhvr>
                                      <p:to>
                                        <p:strVal val="visible"/>
                                      </p:to>
                                    </p:set>
                                    <p:animEffect transition="in" filter="fade">
                                      <p:cBhvr>
                                        <p:cTn id="123" dur="1000"/>
                                        <p:tgtEl>
                                          <p:spTgt spid="236"/>
                                        </p:tgtEl>
                                      </p:cBhvr>
                                    </p:animEffect>
                                    <p:anim calcmode="lin" valueType="num">
                                      <p:cBhvr>
                                        <p:cTn id="124" dur="1000" fill="hold"/>
                                        <p:tgtEl>
                                          <p:spTgt spid="236"/>
                                        </p:tgtEl>
                                        <p:attrNameLst>
                                          <p:attrName>ppt_x</p:attrName>
                                        </p:attrNameLst>
                                      </p:cBhvr>
                                      <p:tavLst>
                                        <p:tav tm="0">
                                          <p:val>
                                            <p:strVal val="#ppt_x"/>
                                          </p:val>
                                        </p:tav>
                                        <p:tav tm="100000">
                                          <p:val>
                                            <p:strVal val="#ppt_x"/>
                                          </p:val>
                                        </p:tav>
                                      </p:tavLst>
                                    </p:anim>
                                    <p:anim calcmode="lin" valueType="num">
                                      <p:cBhvr>
                                        <p:cTn id="125" dur="1000" fill="hold"/>
                                        <p:tgtEl>
                                          <p:spTgt spid="2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p:cNvCxnSpPr>
            <a:cxnSpLocks/>
          </p:cNvCxnSpPr>
          <p:nvPr/>
        </p:nvCxnSpPr>
        <p:spPr>
          <a:xfrm flipV="1">
            <a:off x="1809979" y="1920539"/>
            <a:ext cx="3601007" cy="725480"/>
          </a:xfrm>
          <a:prstGeom prst="line">
            <a:avLst/>
          </a:prstGeom>
        </p:spPr>
        <p:style>
          <a:lnRef idx="2">
            <a:schemeClr val="dk1"/>
          </a:lnRef>
          <a:fillRef idx="0">
            <a:schemeClr val="dk1"/>
          </a:fillRef>
          <a:effectRef idx="1">
            <a:schemeClr val="dk1"/>
          </a:effectRef>
          <a:fontRef idx="minor">
            <a:schemeClr val="tx1"/>
          </a:fontRef>
        </p:style>
      </p:cxnSp>
      <p:cxnSp>
        <p:nvCxnSpPr>
          <p:cNvPr id="39" name="Straight Connector 38"/>
          <p:cNvCxnSpPr>
            <a:cxnSpLocks/>
          </p:cNvCxnSpPr>
          <p:nvPr/>
        </p:nvCxnSpPr>
        <p:spPr>
          <a:xfrm>
            <a:off x="6400800" y="1984783"/>
            <a:ext cx="3414901" cy="872017"/>
          </a:xfrm>
          <a:prstGeom prst="line">
            <a:avLst/>
          </a:prstGeom>
        </p:spPr>
        <p:style>
          <a:lnRef idx="2">
            <a:schemeClr val="dk1"/>
          </a:lnRef>
          <a:fillRef idx="0">
            <a:schemeClr val="dk1"/>
          </a:fillRef>
          <a:effectRef idx="1">
            <a:schemeClr val="dk1"/>
          </a:effectRef>
          <a:fontRef idx="minor">
            <a:schemeClr val="tx1"/>
          </a:fontRef>
        </p:style>
      </p:cxnSp>
      <p:sp>
        <p:nvSpPr>
          <p:cNvPr id="3" name="Title 2"/>
          <p:cNvSpPr>
            <a:spLocks noGrp="1"/>
          </p:cNvSpPr>
          <p:nvPr>
            <p:ph type="title"/>
          </p:nvPr>
        </p:nvSpPr>
        <p:spPr/>
        <p:txBody>
          <a:bodyPr/>
          <a:lstStyle/>
          <a:p>
            <a:r>
              <a:rPr lang="en-US" dirty="0"/>
              <a:t>Thingworx Connectivity to data sources</a:t>
            </a:r>
          </a:p>
        </p:txBody>
      </p:sp>
      <p:sp>
        <p:nvSpPr>
          <p:cNvPr id="6" name="Freeform 5"/>
          <p:cNvSpPr/>
          <p:nvPr/>
        </p:nvSpPr>
        <p:spPr>
          <a:xfrm>
            <a:off x="285161" y="3657035"/>
            <a:ext cx="3648551" cy="2508379"/>
          </a:xfrm>
          <a:custGeom>
            <a:avLst/>
            <a:gdLst>
              <a:gd name="connsiteX0" fmla="*/ 0 w 8766793"/>
              <a:gd name="connsiteY0" fmla="*/ 76881 h 768806"/>
              <a:gd name="connsiteX1" fmla="*/ 76881 w 8766793"/>
              <a:gd name="connsiteY1" fmla="*/ 0 h 768806"/>
              <a:gd name="connsiteX2" fmla="*/ 8689912 w 8766793"/>
              <a:gd name="connsiteY2" fmla="*/ 0 h 768806"/>
              <a:gd name="connsiteX3" fmla="*/ 8766793 w 8766793"/>
              <a:gd name="connsiteY3" fmla="*/ 76881 h 768806"/>
              <a:gd name="connsiteX4" fmla="*/ 8766793 w 8766793"/>
              <a:gd name="connsiteY4" fmla="*/ 691925 h 768806"/>
              <a:gd name="connsiteX5" fmla="*/ 8689912 w 8766793"/>
              <a:gd name="connsiteY5" fmla="*/ 768806 h 768806"/>
              <a:gd name="connsiteX6" fmla="*/ 76881 w 8766793"/>
              <a:gd name="connsiteY6" fmla="*/ 768806 h 768806"/>
              <a:gd name="connsiteX7" fmla="*/ 0 w 8766793"/>
              <a:gd name="connsiteY7" fmla="*/ 691925 h 768806"/>
              <a:gd name="connsiteX8" fmla="*/ 0 w 8766793"/>
              <a:gd name="connsiteY8" fmla="*/ 76881 h 7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66793" h="768806">
                <a:moveTo>
                  <a:pt x="0" y="76881"/>
                </a:moveTo>
                <a:cubicBezTo>
                  <a:pt x="0" y="34421"/>
                  <a:pt x="34421" y="0"/>
                  <a:pt x="76881" y="0"/>
                </a:cubicBezTo>
                <a:lnTo>
                  <a:pt x="8689912" y="0"/>
                </a:lnTo>
                <a:cubicBezTo>
                  <a:pt x="8732372" y="0"/>
                  <a:pt x="8766793" y="34421"/>
                  <a:pt x="8766793" y="76881"/>
                </a:cubicBezTo>
                <a:lnTo>
                  <a:pt x="8766793" y="691925"/>
                </a:lnTo>
                <a:cubicBezTo>
                  <a:pt x="8766793" y="734385"/>
                  <a:pt x="8732372" y="768806"/>
                  <a:pt x="8689912" y="768806"/>
                </a:cubicBezTo>
                <a:lnTo>
                  <a:pt x="76881" y="768806"/>
                </a:lnTo>
                <a:cubicBezTo>
                  <a:pt x="34421" y="768806"/>
                  <a:pt x="0" y="734385"/>
                  <a:pt x="0" y="691925"/>
                </a:cubicBezTo>
                <a:lnTo>
                  <a:pt x="0" y="76881"/>
                </a:lnTo>
                <a:close/>
              </a:path>
            </a:pathLst>
          </a:custGeom>
        </p:spPr>
        <p:style>
          <a:lnRef idx="2">
            <a:schemeClr val="dk1"/>
          </a:lnRef>
          <a:fillRef idx="1">
            <a:schemeClr val="lt1"/>
          </a:fillRef>
          <a:effectRef idx="0">
            <a:schemeClr val="dk1"/>
          </a:effectRef>
          <a:fontRef idx="minor">
            <a:schemeClr val="dk1"/>
          </a:fontRef>
        </p:style>
        <p:txBody>
          <a:bodyPr spcFirstLastPara="0" vert="horz" wrap="square" lIns="91214" tIns="45607" rIns="91214" bIns="45607" numCol="1" spcCol="1270" anchor="t" anchorCtr="0">
            <a:noAutofit/>
          </a:bodyPr>
          <a:lstStyle/>
          <a:p>
            <a:pPr defTabSz="798100">
              <a:lnSpc>
                <a:spcPct val="90000"/>
              </a:lnSpc>
              <a:spcBef>
                <a:spcPct val="0"/>
              </a:spcBef>
              <a:spcAft>
                <a:spcPct val="35000"/>
              </a:spcAft>
            </a:pPr>
            <a:r>
              <a:rPr lang="en-US" sz="1995" b="1" dirty="0">
                <a:solidFill>
                  <a:srgbClr val="52822D"/>
                </a:solidFill>
              </a:rPr>
              <a:t>ThingWorx Edge SDK’s</a:t>
            </a:r>
          </a:p>
          <a:p>
            <a:pPr marL="285036" indent="-285036" defTabSz="798100">
              <a:lnSpc>
                <a:spcPct val="90000"/>
              </a:lnSpc>
              <a:spcBef>
                <a:spcPct val="0"/>
              </a:spcBef>
              <a:spcAft>
                <a:spcPct val="35000"/>
              </a:spcAft>
              <a:buFont typeface="Arial"/>
              <a:buChar char="•"/>
            </a:pPr>
            <a:r>
              <a:rPr lang="en-US" sz="1596" dirty="0">
                <a:solidFill>
                  <a:srgbClr val="3D4647"/>
                </a:solidFill>
              </a:rPr>
              <a:t>Build robust, secure, full-featured edge integrations and gateways for any platform.</a:t>
            </a:r>
          </a:p>
        </p:txBody>
      </p:sp>
      <p:cxnSp>
        <p:nvCxnSpPr>
          <p:cNvPr id="10" name="Straight Connector 9"/>
          <p:cNvCxnSpPr>
            <a:cxnSpLocks/>
          </p:cNvCxnSpPr>
          <p:nvPr/>
        </p:nvCxnSpPr>
        <p:spPr>
          <a:xfrm flipH="1" flipV="1">
            <a:off x="6089715" y="2036190"/>
            <a:ext cx="3190" cy="2386939"/>
          </a:xfrm>
          <a:prstGeom prst="line">
            <a:avLst/>
          </a:prstGeom>
        </p:spPr>
        <p:style>
          <a:lnRef idx="2">
            <a:schemeClr val="dk1"/>
          </a:lnRef>
          <a:fillRef idx="0">
            <a:schemeClr val="dk1"/>
          </a:fillRef>
          <a:effectRef idx="1">
            <a:schemeClr val="dk1"/>
          </a:effectRef>
          <a:fontRef idx="minor">
            <a:schemeClr val="tx1"/>
          </a:fontRef>
        </p:style>
      </p:cxnSp>
      <p:cxnSp>
        <p:nvCxnSpPr>
          <p:cNvPr id="11" name="Straight Connector 10"/>
          <p:cNvCxnSpPr>
            <a:cxnSpLocks/>
            <a:stCxn id="6" idx="2"/>
          </p:cNvCxnSpPr>
          <p:nvPr/>
        </p:nvCxnSpPr>
        <p:spPr>
          <a:xfrm flipV="1">
            <a:off x="3901716" y="1984783"/>
            <a:ext cx="1754366" cy="1672252"/>
          </a:xfrm>
          <a:prstGeom prst="line">
            <a:avLst/>
          </a:prstGeom>
        </p:spPr>
        <p:style>
          <a:lnRef idx="2">
            <a:schemeClr val="dk1"/>
          </a:lnRef>
          <a:fillRef idx="0">
            <a:schemeClr val="dk1"/>
          </a:fillRef>
          <a:effectRef idx="1">
            <a:schemeClr val="dk1"/>
          </a:effectRef>
          <a:fontRef idx="minor">
            <a:schemeClr val="tx1"/>
          </a:fontRef>
        </p:style>
      </p:cxnSp>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98474" y="4862807"/>
            <a:ext cx="935734" cy="574953"/>
          </a:xfrm>
          <a:prstGeom prst="rect">
            <a:avLst/>
          </a:prstGeom>
        </p:spPr>
      </p:pic>
      <p:pic>
        <p:nvPicPr>
          <p:cNvPr id="13" name="Picture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19610" y="5417996"/>
            <a:ext cx="568756" cy="529796"/>
          </a:xfrm>
          <a:prstGeom prst="rect">
            <a:avLst/>
          </a:prstGeom>
        </p:spPr>
      </p:pic>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40104" y="5411574"/>
            <a:ext cx="913473" cy="601817"/>
          </a:xfrm>
          <a:prstGeom prst="rect">
            <a:avLst/>
          </a:prstGeom>
        </p:spPr>
      </p:pic>
      <p:pic>
        <p:nvPicPr>
          <p:cNvPr id="15" name="Picture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20049" y="4957479"/>
            <a:ext cx="691562" cy="361397"/>
          </a:xfrm>
          <a:prstGeom prst="rect">
            <a:avLst/>
          </a:prstGeom>
        </p:spPr>
      </p:pic>
      <p:pic>
        <p:nvPicPr>
          <p:cNvPr id="16" name="Picture 15"/>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00004" y="4862804"/>
            <a:ext cx="667392" cy="653936"/>
          </a:xfrm>
          <a:prstGeom prst="rect">
            <a:avLst/>
          </a:prstGeom>
        </p:spPr>
      </p:pic>
      <p:sp>
        <p:nvSpPr>
          <p:cNvPr id="17" name="Freeform 16"/>
          <p:cNvSpPr/>
          <p:nvPr/>
        </p:nvSpPr>
        <p:spPr>
          <a:xfrm>
            <a:off x="8300334" y="3689329"/>
            <a:ext cx="3648551" cy="2476086"/>
          </a:xfrm>
          <a:custGeom>
            <a:avLst/>
            <a:gdLst>
              <a:gd name="connsiteX0" fmla="*/ 0 w 8766793"/>
              <a:gd name="connsiteY0" fmla="*/ 76881 h 768806"/>
              <a:gd name="connsiteX1" fmla="*/ 76881 w 8766793"/>
              <a:gd name="connsiteY1" fmla="*/ 0 h 768806"/>
              <a:gd name="connsiteX2" fmla="*/ 8689912 w 8766793"/>
              <a:gd name="connsiteY2" fmla="*/ 0 h 768806"/>
              <a:gd name="connsiteX3" fmla="*/ 8766793 w 8766793"/>
              <a:gd name="connsiteY3" fmla="*/ 76881 h 768806"/>
              <a:gd name="connsiteX4" fmla="*/ 8766793 w 8766793"/>
              <a:gd name="connsiteY4" fmla="*/ 691925 h 768806"/>
              <a:gd name="connsiteX5" fmla="*/ 8689912 w 8766793"/>
              <a:gd name="connsiteY5" fmla="*/ 768806 h 768806"/>
              <a:gd name="connsiteX6" fmla="*/ 76881 w 8766793"/>
              <a:gd name="connsiteY6" fmla="*/ 768806 h 768806"/>
              <a:gd name="connsiteX7" fmla="*/ 0 w 8766793"/>
              <a:gd name="connsiteY7" fmla="*/ 691925 h 768806"/>
              <a:gd name="connsiteX8" fmla="*/ 0 w 8766793"/>
              <a:gd name="connsiteY8" fmla="*/ 76881 h 7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66793" h="768806">
                <a:moveTo>
                  <a:pt x="0" y="76881"/>
                </a:moveTo>
                <a:cubicBezTo>
                  <a:pt x="0" y="34421"/>
                  <a:pt x="34421" y="0"/>
                  <a:pt x="76881" y="0"/>
                </a:cubicBezTo>
                <a:lnTo>
                  <a:pt x="8689912" y="0"/>
                </a:lnTo>
                <a:cubicBezTo>
                  <a:pt x="8732372" y="0"/>
                  <a:pt x="8766793" y="34421"/>
                  <a:pt x="8766793" y="76881"/>
                </a:cubicBezTo>
                <a:lnTo>
                  <a:pt x="8766793" y="691925"/>
                </a:lnTo>
                <a:cubicBezTo>
                  <a:pt x="8766793" y="734385"/>
                  <a:pt x="8732372" y="768806"/>
                  <a:pt x="8689912" y="768806"/>
                </a:cubicBezTo>
                <a:lnTo>
                  <a:pt x="76881" y="768806"/>
                </a:lnTo>
                <a:cubicBezTo>
                  <a:pt x="34421" y="768806"/>
                  <a:pt x="0" y="734385"/>
                  <a:pt x="0" y="691925"/>
                </a:cubicBezTo>
                <a:lnTo>
                  <a:pt x="0" y="76881"/>
                </a:lnTo>
                <a:close/>
              </a:path>
            </a:pathLst>
          </a:custGeom>
        </p:spPr>
        <p:style>
          <a:lnRef idx="2">
            <a:schemeClr val="dk1"/>
          </a:lnRef>
          <a:fillRef idx="1">
            <a:schemeClr val="lt1"/>
          </a:fillRef>
          <a:effectRef idx="0">
            <a:schemeClr val="dk1"/>
          </a:effectRef>
          <a:fontRef idx="minor">
            <a:schemeClr val="dk1"/>
          </a:fontRef>
        </p:style>
        <p:txBody>
          <a:bodyPr spcFirstLastPara="0" vert="horz" wrap="square" lIns="91214" tIns="45607" rIns="91214" bIns="45607" numCol="1" spcCol="1270" anchor="t" anchorCtr="0">
            <a:noAutofit/>
          </a:bodyPr>
          <a:lstStyle/>
          <a:p>
            <a:pPr defTabSz="798100">
              <a:lnSpc>
                <a:spcPct val="90000"/>
              </a:lnSpc>
              <a:spcBef>
                <a:spcPct val="0"/>
              </a:spcBef>
              <a:spcAft>
                <a:spcPct val="35000"/>
              </a:spcAft>
            </a:pPr>
            <a:r>
              <a:rPr lang="en-US" sz="1995" b="1" dirty="0">
                <a:solidFill>
                  <a:srgbClr val="52822D"/>
                </a:solidFill>
              </a:rPr>
              <a:t>ThingWorx REST API</a:t>
            </a:r>
          </a:p>
          <a:p>
            <a:pPr marL="285036" indent="-285036" defTabSz="798100">
              <a:lnSpc>
                <a:spcPct val="90000"/>
              </a:lnSpc>
              <a:spcBef>
                <a:spcPct val="0"/>
              </a:spcBef>
              <a:spcAft>
                <a:spcPct val="35000"/>
              </a:spcAft>
              <a:buFont typeface="Arial"/>
              <a:buChar char="•"/>
            </a:pPr>
            <a:r>
              <a:rPr lang="en-US" sz="1596" dirty="0">
                <a:solidFill>
                  <a:srgbClr val="3D4647"/>
                </a:solidFill>
              </a:rPr>
              <a:t>Bring the power of the ThingWorx platform to even the smallest of devices.</a:t>
            </a:r>
          </a:p>
        </p:txBody>
      </p:sp>
      <p:pic>
        <p:nvPicPr>
          <p:cNvPr id="18" name="Picture 228" descr="AlwaysOn.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27491" y="4547297"/>
            <a:ext cx="406187" cy="454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205187" y="5025243"/>
            <a:ext cx="755199" cy="730026"/>
          </a:xfrm>
          <a:prstGeom prst="rect">
            <a:avLst/>
          </a:prstGeom>
        </p:spPr>
      </p:pic>
      <p:pic>
        <p:nvPicPr>
          <p:cNvPr id="20" name="Picture 1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152253" y="5083881"/>
            <a:ext cx="1036518" cy="550895"/>
          </a:xfrm>
          <a:prstGeom prst="rect">
            <a:avLst/>
          </a:prstGeom>
        </p:spPr>
      </p:pic>
      <p:sp>
        <p:nvSpPr>
          <p:cNvPr id="21" name="Freeform 20"/>
          <p:cNvSpPr/>
          <p:nvPr/>
        </p:nvSpPr>
        <p:spPr>
          <a:xfrm>
            <a:off x="4271726" y="3657035"/>
            <a:ext cx="3648551" cy="2508379"/>
          </a:xfrm>
          <a:custGeom>
            <a:avLst/>
            <a:gdLst>
              <a:gd name="connsiteX0" fmla="*/ 0 w 8766793"/>
              <a:gd name="connsiteY0" fmla="*/ 76881 h 768806"/>
              <a:gd name="connsiteX1" fmla="*/ 76881 w 8766793"/>
              <a:gd name="connsiteY1" fmla="*/ 0 h 768806"/>
              <a:gd name="connsiteX2" fmla="*/ 8689912 w 8766793"/>
              <a:gd name="connsiteY2" fmla="*/ 0 h 768806"/>
              <a:gd name="connsiteX3" fmla="*/ 8766793 w 8766793"/>
              <a:gd name="connsiteY3" fmla="*/ 76881 h 768806"/>
              <a:gd name="connsiteX4" fmla="*/ 8766793 w 8766793"/>
              <a:gd name="connsiteY4" fmla="*/ 691925 h 768806"/>
              <a:gd name="connsiteX5" fmla="*/ 8689912 w 8766793"/>
              <a:gd name="connsiteY5" fmla="*/ 768806 h 768806"/>
              <a:gd name="connsiteX6" fmla="*/ 76881 w 8766793"/>
              <a:gd name="connsiteY6" fmla="*/ 768806 h 768806"/>
              <a:gd name="connsiteX7" fmla="*/ 0 w 8766793"/>
              <a:gd name="connsiteY7" fmla="*/ 691925 h 768806"/>
              <a:gd name="connsiteX8" fmla="*/ 0 w 8766793"/>
              <a:gd name="connsiteY8" fmla="*/ 76881 h 7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66793" h="768806">
                <a:moveTo>
                  <a:pt x="0" y="76881"/>
                </a:moveTo>
                <a:cubicBezTo>
                  <a:pt x="0" y="34421"/>
                  <a:pt x="34421" y="0"/>
                  <a:pt x="76881" y="0"/>
                </a:cubicBezTo>
                <a:lnTo>
                  <a:pt x="8689912" y="0"/>
                </a:lnTo>
                <a:cubicBezTo>
                  <a:pt x="8732372" y="0"/>
                  <a:pt x="8766793" y="34421"/>
                  <a:pt x="8766793" y="76881"/>
                </a:cubicBezTo>
                <a:lnTo>
                  <a:pt x="8766793" y="691925"/>
                </a:lnTo>
                <a:cubicBezTo>
                  <a:pt x="8766793" y="734385"/>
                  <a:pt x="8732372" y="768806"/>
                  <a:pt x="8689912" y="768806"/>
                </a:cubicBezTo>
                <a:lnTo>
                  <a:pt x="76881" y="768806"/>
                </a:lnTo>
                <a:cubicBezTo>
                  <a:pt x="34421" y="768806"/>
                  <a:pt x="0" y="734385"/>
                  <a:pt x="0" y="691925"/>
                </a:cubicBezTo>
                <a:lnTo>
                  <a:pt x="0" y="76881"/>
                </a:lnTo>
                <a:close/>
              </a:path>
            </a:pathLst>
          </a:custGeom>
          <a:ln/>
        </p:spPr>
        <p:style>
          <a:lnRef idx="2">
            <a:schemeClr val="dk1"/>
          </a:lnRef>
          <a:fillRef idx="1">
            <a:schemeClr val="lt1"/>
          </a:fillRef>
          <a:effectRef idx="0">
            <a:schemeClr val="dk1"/>
          </a:effectRef>
          <a:fontRef idx="minor">
            <a:schemeClr val="dk1"/>
          </a:fontRef>
        </p:style>
        <p:txBody>
          <a:bodyPr spcFirstLastPara="0" vert="horz" wrap="square" lIns="91214" tIns="45607" rIns="91214" bIns="45607" numCol="1" spcCol="1270" anchor="t" anchorCtr="0">
            <a:noAutofit/>
          </a:bodyPr>
          <a:lstStyle/>
          <a:p>
            <a:pPr defTabSz="798100">
              <a:lnSpc>
                <a:spcPct val="90000"/>
              </a:lnSpc>
              <a:spcBef>
                <a:spcPct val="0"/>
              </a:spcBef>
              <a:spcAft>
                <a:spcPct val="35000"/>
              </a:spcAft>
            </a:pPr>
            <a:r>
              <a:rPr lang="en-US" sz="1995" b="1" dirty="0">
                <a:solidFill>
                  <a:srgbClr val="52822D"/>
                </a:solidFill>
              </a:rPr>
              <a:t>ThingWorx Edge MicroServer</a:t>
            </a:r>
          </a:p>
          <a:p>
            <a:pPr marL="285036" indent="-285036" defTabSz="798100">
              <a:lnSpc>
                <a:spcPct val="90000"/>
              </a:lnSpc>
              <a:spcBef>
                <a:spcPct val="0"/>
              </a:spcBef>
              <a:spcAft>
                <a:spcPct val="35000"/>
              </a:spcAft>
              <a:buFont typeface="Arial"/>
              <a:buChar char="•"/>
            </a:pPr>
            <a:r>
              <a:rPr lang="en-US" sz="1596" dirty="0">
                <a:solidFill>
                  <a:srgbClr val="3D4647"/>
                </a:solidFill>
              </a:rPr>
              <a:t>Pre-built IoT Gateway for easily connecting your Windows, Linux, or Linux ARM devices and devices on local networks. </a:t>
            </a:r>
          </a:p>
          <a:p>
            <a:pPr defTabSz="798100">
              <a:lnSpc>
                <a:spcPct val="90000"/>
              </a:lnSpc>
              <a:spcBef>
                <a:spcPct val="0"/>
              </a:spcBef>
              <a:spcAft>
                <a:spcPct val="35000"/>
              </a:spcAft>
            </a:pPr>
            <a:r>
              <a:rPr lang="en-US" sz="1995" b="1" dirty="0">
                <a:solidFill>
                  <a:srgbClr val="52822D"/>
                </a:solidFill>
              </a:rPr>
              <a:t>Lua Script Resource</a:t>
            </a:r>
          </a:p>
          <a:p>
            <a:pPr marL="285036" indent="-285036" defTabSz="798100">
              <a:lnSpc>
                <a:spcPct val="90000"/>
              </a:lnSpc>
              <a:spcBef>
                <a:spcPct val="0"/>
              </a:spcBef>
              <a:spcAft>
                <a:spcPct val="35000"/>
              </a:spcAft>
              <a:buFont typeface="Arial"/>
              <a:buChar char="•"/>
            </a:pPr>
            <a:r>
              <a:rPr lang="en-US" sz="1596" dirty="0">
                <a:solidFill>
                  <a:srgbClr val="3D4647"/>
                </a:solidFill>
              </a:rPr>
              <a:t>Rapidly integrate data sources via simple Lua scripts.</a:t>
            </a:r>
          </a:p>
        </p:txBody>
      </p:sp>
      <p:cxnSp>
        <p:nvCxnSpPr>
          <p:cNvPr id="22" name="Straight Connector 21"/>
          <p:cNvCxnSpPr>
            <a:cxnSpLocks/>
            <a:endCxn id="17" idx="1"/>
          </p:cNvCxnSpPr>
          <p:nvPr/>
        </p:nvCxnSpPr>
        <p:spPr>
          <a:xfrm>
            <a:off x="6306532" y="1984783"/>
            <a:ext cx="2025798" cy="1704546"/>
          </a:xfrm>
          <a:prstGeom prst="line">
            <a:avLst/>
          </a:prstGeom>
        </p:spPr>
        <p:style>
          <a:lnRef idx="2">
            <a:schemeClr val="dk1"/>
          </a:lnRef>
          <a:fillRef idx="0">
            <a:schemeClr val="dk1"/>
          </a:fillRef>
          <a:effectRef idx="1">
            <a:schemeClr val="dk1"/>
          </a:effectRef>
          <a:fontRef idx="minor">
            <a:schemeClr val="tx1"/>
          </a:fontRef>
        </p:style>
      </p:cxnSp>
      <p:pic>
        <p:nvPicPr>
          <p:cNvPr id="27" name="Picture 26" descr="cloud3.png"/>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4263540" y="844609"/>
            <a:ext cx="3655719" cy="1075930"/>
          </a:xfrm>
          <a:prstGeom prst="rect">
            <a:avLst/>
          </a:prstGeom>
          <a:effectLst>
            <a:glow rad="114300">
              <a:srgbClr val="1F497D">
                <a:alpha val="17000"/>
              </a:srgbClr>
            </a:glow>
          </a:effectLst>
        </p:spPr>
      </p:pic>
      <p:pic>
        <p:nvPicPr>
          <p:cNvPr id="33" name="Picture 228" descr="AlwaysOn.pn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011843" y="3733046"/>
            <a:ext cx="271735" cy="30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228" descr="AlwaysOn.pn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540221" y="3733046"/>
            <a:ext cx="271735" cy="30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228" descr="AlwaysOn.pn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732703" y="3733046"/>
            <a:ext cx="271735" cy="30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ounded Rectangle 28"/>
          <p:cNvSpPr/>
          <p:nvPr/>
        </p:nvSpPr>
        <p:spPr>
          <a:xfrm>
            <a:off x="7707469" y="2203291"/>
            <a:ext cx="4408666" cy="1064161"/>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defTabSz="798100">
              <a:lnSpc>
                <a:spcPct val="90000"/>
              </a:lnSpc>
              <a:spcBef>
                <a:spcPct val="0"/>
              </a:spcBef>
              <a:spcAft>
                <a:spcPct val="35000"/>
              </a:spcAft>
            </a:pPr>
            <a:r>
              <a:rPr lang="en-US" sz="1795" dirty="0">
                <a:solidFill>
                  <a:srgbClr val="3D4647"/>
                </a:solidFill>
              </a:rPr>
              <a:t>Device </a:t>
            </a:r>
            <a:br>
              <a:rPr lang="en-US" sz="1795" dirty="0">
                <a:solidFill>
                  <a:srgbClr val="3D4647"/>
                </a:solidFill>
              </a:rPr>
            </a:br>
            <a:r>
              <a:rPr lang="en-US" sz="1795" dirty="0">
                <a:solidFill>
                  <a:srgbClr val="3D4647"/>
                </a:solidFill>
              </a:rPr>
              <a:t>Clouds</a:t>
            </a:r>
          </a:p>
        </p:txBody>
      </p:sp>
      <p:pic>
        <p:nvPicPr>
          <p:cNvPr id="30" name="Picture 29"/>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912298" y="2279303"/>
            <a:ext cx="547124" cy="644920"/>
          </a:xfrm>
          <a:prstGeom prst="rect">
            <a:avLst/>
          </a:prstGeom>
        </p:spPr>
      </p:pic>
      <p:sp>
        <p:nvSpPr>
          <p:cNvPr id="31" name="TextBox 30"/>
          <p:cNvSpPr txBox="1"/>
          <p:nvPr/>
        </p:nvSpPr>
        <p:spPr>
          <a:xfrm>
            <a:off x="8790036" y="2900518"/>
            <a:ext cx="677992" cy="214911"/>
          </a:xfrm>
          <a:prstGeom prst="rect">
            <a:avLst/>
          </a:prstGeom>
          <a:noFill/>
        </p:spPr>
        <p:txBody>
          <a:bodyPr wrap="none" lIns="0" tIns="0" rIns="0" bIns="0" rtlCol="0">
            <a:spAutoFit/>
          </a:bodyPr>
          <a:lstStyle/>
          <a:p>
            <a:r>
              <a:rPr lang="en-US" sz="1397" dirty="0">
                <a:solidFill>
                  <a:srgbClr val="3D4647"/>
                </a:solidFill>
              </a:rPr>
              <a:t>AWS IoT</a:t>
            </a:r>
          </a:p>
        </p:txBody>
      </p:sp>
      <p:pic>
        <p:nvPicPr>
          <p:cNvPr id="32" name="Picture 31"/>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759781" y="2355315"/>
            <a:ext cx="836126" cy="514539"/>
          </a:xfrm>
          <a:prstGeom prst="rect">
            <a:avLst/>
          </a:prstGeom>
        </p:spPr>
      </p:pic>
      <p:sp>
        <p:nvSpPr>
          <p:cNvPr id="36" name="TextBox 35"/>
          <p:cNvSpPr txBox="1"/>
          <p:nvPr/>
        </p:nvSpPr>
        <p:spPr>
          <a:xfrm>
            <a:off x="9626162" y="2887394"/>
            <a:ext cx="1175293" cy="214911"/>
          </a:xfrm>
          <a:prstGeom prst="rect">
            <a:avLst/>
          </a:prstGeom>
          <a:noFill/>
        </p:spPr>
        <p:txBody>
          <a:bodyPr wrap="none" lIns="0" tIns="0" rIns="0" bIns="0" rtlCol="0">
            <a:spAutoFit/>
          </a:bodyPr>
          <a:lstStyle/>
          <a:p>
            <a:r>
              <a:rPr lang="en-US" sz="1397" dirty="0">
                <a:solidFill>
                  <a:srgbClr val="3D4647"/>
                </a:solidFill>
              </a:rPr>
              <a:t>Azure IoT Hub</a:t>
            </a:r>
          </a:p>
        </p:txBody>
      </p:sp>
      <p:pic>
        <p:nvPicPr>
          <p:cNvPr id="37" name="Picture 3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153323" y="2431324"/>
            <a:ext cx="354720" cy="354720"/>
          </a:xfrm>
          <a:prstGeom prst="rect">
            <a:avLst/>
          </a:prstGeom>
        </p:spPr>
      </p:pic>
      <p:sp>
        <p:nvSpPr>
          <p:cNvPr id="38" name="TextBox 37"/>
          <p:cNvSpPr txBox="1"/>
          <p:nvPr/>
        </p:nvSpPr>
        <p:spPr>
          <a:xfrm>
            <a:off x="10823940" y="2887394"/>
            <a:ext cx="1320804" cy="214911"/>
          </a:xfrm>
          <a:prstGeom prst="rect">
            <a:avLst/>
          </a:prstGeom>
          <a:noFill/>
        </p:spPr>
        <p:txBody>
          <a:bodyPr wrap="none" lIns="0" tIns="0" rIns="0" bIns="0" rtlCol="0">
            <a:spAutoFit/>
          </a:bodyPr>
          <a:lstStyle/>
          <a:p>
            <a:r>
              <a:rPr lang="en-US" sz="1397" dirty="0">
                <a:solidFill>
                  <a:srgbClr val="3D4647"/>
                </a:solidFill>
              </a:rPr>
              <a:t>Build-Your-Own</a:t>
            </a:r>
          </a:p>
        </p:txBody>
      </p:sp>
      <p:pic>
        <p:nvPicPr>
          <p:cNvPr id="40" name="Picture 3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911736" y="1118524"/>
            <a:ext cx="2073514" cy="617546"/>
          </a:xfrm>
          <a:prstGeom prst="rect">
            <a:avLst/>
          </a:prstGeom>
        </p:spPr>
      </p:pic>
      <p:pic>
        <p:nvPicPr>
          <p:cNvPr id="8" name="Picture 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5511" y="1020703"/>
            <a:ext cx="3454405" cy="2560320"/>
          </a:xfrm>
          <a:prstGeom prst="rect">
            <a:avLst/>
          </a:prstGeom>
        </p:spPr>
      </p:pic>
      <p:sp>
        <p:nvSpPr>
          <p:cNvPr id="2" name="TextBox 1">
            <a:extLst>
              <a:ext uri="{FF2B5EF4-FFF2-40B4-BE49-F238E27FC236}">
                <a16:creationId xmlns:a16="http://schemas.microsoft.com/office/drawing/2014/main" id="{B64A2A77-F85E-4016-9A1F-D0C9FB90ED82}"/>
              </a:ext>
            </a:extLst>
          </p:cNvPr>
          <p:cNvSpPr txBox="1"/>
          <p:nvPr/>
        </p:nvSpPr>
        <p:spPr>
          <a:xfrm>
            <a:off x="2593459" y="2324077"/>
            <a:ext cx="796693" cy="215444"/>
          </a:xfrm>
          <a:prstGeom prst="rect">
            <a:avLst/>
          </a:prstGeom>
          <a:noFill/>
        </p:spPr>
        <p:txBody>
          <a:bodyPr wrap="none" lIns="0" tIns="0" rIns="0" bIns="0" rtlCol="0">
            <a:spAutoFit/>
          </a:bodyPr>
          <a:lstStyle/>
          <a:p>
            <a:r>
              <a:rPr lang="en-US" sz="1400" b="1" dirty="0">
                <a:solidFill>
                  <a:srgbClr val="3D4647"/>
                </a:solidFill>
              </a:rPr>
              <a:t>KEPWARE</a:t>
            </a:r>
            <a:endParaRPr lang="en-SG" sz="1400" b="1" dirty="0">
              <a:solidFill>
                <a:srgbClr val="3D4647"/>
              </a:solidFill>
            </a:endParaRPr>
          </a:p>
        </p:txBody>
      </p:sp>
      <p:sp>
        <p:nvSpPr>
          <p:cNvPr id="43" name="Rounded Rectangle 28">
            <a:extLst>
              <a:ext uri="{FF2B5EF4-FFF2-40B4-BE49-F238E27FC236}">
                <a16:creationId xmlns:a16="http://schemas.microsoft.com/office/drawing/2014/main" id="{586101BB-8B80-46B5-94CF-0E408DC20EA9}"/>
              </a:ext>
            </a:extLst>
          </p:cNvPr>
          <p:cNvSpPr/>
          <p:nvPr/>
        </p:nvSpPr>
        <p:spPr>
          <a:xfrm>
            <a:off x="9205187" y="920215"/>
            <a:ext cx="2813988" cy="1064161"/>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defTabSz="798100">
              <a:lnSpc>
                <a:spcPct val="90000"/>
              </a:lnSpc>
              <a:spcBef>
                <a:spcPct val="0"/>
              </a:spcBef>
              <a:spcAft>
                <a:spcPct val="35000"/>
              </a:spcAft>
            </a:pPr>
            <a:r>
              <a:rPr lang="en-US" sz="1795" dirty="0">
                <a:solidFill>
                  <a:srgbClr val="3D4647"/>
                </a:solidFill>
              </a:rPr>
              <a:t>Extensions (prebuilt or custom). </a:t>
            </a:r>
            <a:r>
              <a:rPr lang="en-US" sz="1200" b="1" dirty="0">
                <a:solidFill>
                  <a:srgbClr val="3D4647"/>
                </a:solidFill>
              </a:rPr>
              <a:t>E.g. MQTT, TCP/IP, twitter, Twilio and many more</a:t>
            </a:r>
            <a:r>
              <a:rPr lang="en-US" sz="1795" dirty="0">
                <a:solidFill>
                  <a:srgbClr val="3D4647"/>
                </a:solidFill>
              </a:rPr>
              <a:t>.</a:t>
            </a:r>
          </a:p>
        </p:txBody>
      </p:sp>
      <p:cxnSp>
        <p:nvCxnSpPr>
          <p:cNvPr id="44" name="Straight Connector 43">
            <a:extLst>
              <a:ext uri="{FF2B5EF4-FFF2-40B4-BE49-F238E27FC236}">
                <a16:creationId xmlns:a16="http://schemas.microsoft.com/office/drawing/2014/main" id="{7255459D-1783-4712-8B32-BE23F09B6DA2}"/>
              </a:ext>
            </a:extLst>
          </p:cNvPr>
          <p:cNvCxnSpPr>
            <a:cxnSpLocks/>
            <a:endCxn id="43" idx="1"/>
          </p:cNvCxnSpPr>
          <p:nvPr/>
        </p:nvCxnSpPr>
        <p:spPr>
          <a:xfrm flipV="1">
            <a:off x="7995200" y="1452296"/>
            <a:ext cx="1209987" cy="176934"/>
          </a:xfrm>
          <a:prstGeom prst="line">
            <a:avLst/>
          </a:prstGeom>
        </p:spPr>
        <p:style>
          <a:lnRef idx="2">
            <a:schemeClr val="dk1"/>
          </a:lnRef>
          <a:fillRef idx="0">
            <a:schemeClr val="dk1"/>
          </a:fillRef>
          <a:effectRef idx="1">
            <a:schemeClr val="dk1"/>
          </a:effectRef>
          <a:fontRef idx="minor">
            <a:schemeClr val="tx1"/>
          </a:fontRef>
        </p:style>
      </p:cxnSp>
      <p:sp>
        <p:nvSpPr>
          <p:cNvPr id="42" name="Action Button: Go Forward or Next 41">
            <a:hlinkClick r:id="rId17" action="ppaction://program" highlightClick="1"/>
            <a:extLst>
              <a:ext uri="{FF2B5EF4-FFF2-40B4-BE49-F238E27FC236}">
                <a16:creationId xmlns:a16="http://schemas.microsoft.com/office/drawing/2014/main" id="{E0668281-3A6D-41F3-8EAE-58FB48967F6D}"/>
              </a:ext>
            </a:extLst>
          </p:cNvPr>
          <p:cNvSpPr/>
          <p:nvPr/>
        </p:nvSpPr>
        <p:spPr>
          <a:xfrm>
            <a:off x="10728474" y="6527150"/>
            <a:ext cx="737107" cy="298299"/>
          </a:xfrm>
          <a:prstGeom prst="actionButtonForwardNex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dirty="0">
              <a:solidFill>
                <a:schemeClr val="bg1"/>
              </a:solidFill>
            </a:endParaRPr>
          </a:p>
        </p:txBody>
      </p:sp>
    </p:spTree>
    <p:extLst>
      <p:ext uri="{BB962C8B-B14F-4D97-AF65-F5344CB8AC3E}">
        <p14:creationId xmlns:p14="http://schemas.microsoft.com/office/powerpoint/2010/main" val="16029018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ingWorx Manufacturing Apps</a:t>
            </a:r>
          </a:p>
        </p:txBody>
      </p:sp>
      <p:sp>
        <p:nvSpPr>
          <p:cNvPr id="8" name="TextBox 7"/>
          <p:cNvSpPr txBox="1"/>
          <p:nvPr/>
        </p:nvSpPr>
        <p:spPr>
          <a:xfrm>
            <a:off x="8662384" y="2627600"/>
            <a:ext cx="2534938" cy="339171"/>
          </a:xfrm>
          <a:prstGeom prst="rect">
            <a:avLst/>
          </a:prstGeom>
          <a:solidFill>
            <a:schemeClr val="bg1"/>
          </a:solid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Myriad Pro"/>
                <a:ea typeface="+mn-ea"/>
                <a:cs typeface="Myriad Pro"/>
              </a:rPr>
              <a:t>Controls Engineer</a:t>
            </a:r>
          </a:p>
        </p:txBody>
      </p:sp>
      <p:pic>
        <p:nvPicPr>
          <p:cNvPr id="6" name="Picture 5" descr="MachineBuilder-Active.png"/>
          <p:cNvPicPr>
            <a:picLocks/>
          </p:cNvPicPr>
          <p:nvPr/>
        </p:nvPicPr>
        <p:blipFill>
          <a:blip r:embed="rId3" cstate="email">
            <a:extLst>
              <a:ext uri="{28A0092B-C50C-407E-A947-70E740481C1C}">
                <a14:useLocalDpi xmlns:a14="http://schemas.microsoft.com/office/drawing/2010/main"/>
              </a:ext>
            </a:extLst>
          </a:blip>
          <a:stretch>
            <a:fillRect/>
          </a:stretch>
        </p:blipFill>
        <p:spPr>
          <a:xfrm>
            <a:off x="4369240" y="2520337"/>
            <a:ext cx="574037" cy="553696"/>
          </a:xfrm>
          <a:prstGeom prst="rect">
            <a:avLst/>
          </a:prstGeom>
        </p:spPr>
      </p:pic>
      <p:pic>
        <p:nvPicPr>
          <p:cNvPr id="7" name="Picture 6" descr="ControlsEngineer-Activ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80851" y="2507351"/>
            <a:ext cx="581107" cy="579669"/>
          </a:xfrm>
          <a:prstGeom prst="rect">
            <a:avLst/>
          </a:prstGeom>
        </p:spPr>
      </p:pic>
      <p:sp>
        <p:nvSpPr>
          <p:cNvPr id="9" name="TextBox 8"/>
          <p:cNvSpPr txBox="1"/>
          <p:nvPr/>
        </p:nvSpPr>
        <p:spPr>
          <a:xfrm>
            <a:off x="1028961" y="2627600"/>
            <a:ext cx="1693242" cy="339171"/>
          </a:xfrm>
          <a:prstGeom prst="rect">
            <a:avLst/>
          </a:prstGeom>
          <a:solidFill>
            <a:schemeClr val="bg1"/>
          </a:solidFill>
        </p:spPr>
        <p:txBody>
          <a:bodyPr wrap="square" lIns="0" tIns="0" rIns="0" bIns="0" rtlCol="0" anchor="t">
            <a:noAutofit/>
          </a:bodyPr>
          <a:lstStyle>
            <a:defPPr>
              <a:defRPr lang="en-US"/>
            </a:defPPr>
            <a:lvl1pPr algn="ctr">
              <a:defRPr sz="1600" b="1">
                <a:solidFill>
                  <a:schemeClr val="bg1">
                    <a:lumMod val="50000"/>
                  </a:schemeClr>
                </a:solidFill>
                <a:latin typeface="Myriad Pro"/>
                <a:cs typeface="Myriad Pro"/>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D4647"/>
                </a:solidFill>
                <a:effectLst/>
                <a:uLnTx/>
                <a:uFillTx/>
                <a:latin typeface="Myriad Pro"/>
                <a:ea typeface="+mn-ea"/>
                <a:cs typeface="Myriad Pro"/>
              </a:rPr>
              <a:t>Plant Manager</a:t>
            </a:r>
          </a:p>
        </p:txBody>
      </p:sp>
      <p:sp>
        <p:nvSpPr>
          <p:cNvPr id="10" name="TextBox 9"/>
          <p:cNvSpPr txBox="1"/>
          <p:nvPr/>
        </p:nvSpPr>
        <p:spPr>
          <a:xfrm>
            <a:off x="5058498" y="2627600"/>
            <a:ext cx="1166517" cy="339171"/>
          </a:xfrm>
          <a:prstGeom prst="rect">
            <a:avLst/>
          </a:prstGeom>
          <a:solidFill>
            <a:schemeClr val="bg1"/>
          </a:solidFill>
        </p:spPr>
        <p:txBody>
          <a:bodyPr wrap="square" lIns="0" tIns="0" rIns="0" bIns="0" rtlCol="0" anchor="t">
            <a:noAutofit/>
          </a:bodyPr>
          <a:lstStyle>
            <a:defPPr>
              <a:defRPr lang="en-US"/>
            </a:defPPr>
            <a:lvl1pPr algn="ctr">
              <a:defRPr sz="1600" b="1">
                <a:solidFill>
                  <a:schemeClr val="bg1">
                    <a:lumMod val="50000"/>
                  </a:schemeClr>
                </a:solidFill>
                <a:latin typeface="Myriad Pro"/>
                <a:cs typeface="Myriad Pro"/>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D4647"/>
                </a:solidFill>
                <a:effectLst/>
                <a:uLnTx/>
                <a:uFillTx/>
                <a:latin typeface="Myriad Pro"/>
                <a:ea typeface="+mn-ea"/>
                <a:cs typeface="Myriad Pro"/>
              </a:rPr>
              <a:t>Maintenance</a:t>
            </a:r>
          </a:p>
        </p:txBody>
      </p:sp>
      <p:sp>
        <p:nvSpPr>
          <p:cNvPr id="16" name="TextBox 15"/>
          <p:cNvSpPr txBox="1"/>
          <p:nvPr/>
        </p:nvSpPr>
        <p:spPr>
          <a:xfrm>
            <a:off x="293429" y="2133600"/>
            <a:ext cx="3478219"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236192"/>
                </a:solidFill>
                <a:effectLst/>
                <a:uLnTx/>
                <a:uFillTx/>
                <a:latin typeface="Century Gothic"/>
                <a:ea typeface="+mn-ea"/>
                <a:cs typeface="+mn-cs"/>
              </a:rPr>
              <a:t>ThingWorx Production Advisor</a:t>
            </a:r>
            <a:endParaRPr kumimoji="0" lang="en-CA" sz="1800" b="1" i="0" u="none" strike="noStrike" kern="0" cap="none" spc="0" normalizeH="0" baseline="0" noProof="0" dirty="0">
              <a:ln>
                <a:noFill/>
              </a:ln>
              <a:solidFill>
                <a:srgbClr val="236192"/>
              </a:solidFill>
              <a:effectLst/>
              <a:uLnTx/>
              <a:uFillTx/>
              <a:latin typeface="Century Gothic"/>
              <a:ea typeface="+mn-ea"/>
              <a:cs typeface="+mn-cs"/>
            </a:endParaRPr>
          </a:p>
        </p:txBody>
      </p:sp>
      <p:sp>
        <p:nvSpPr>
          <p:cNvPr id="17" name="TextBox 16"/>
          <p:cNvSpPr txBox="1"/>
          <p:nvPr/>
        </p:nvSpPr>
        <p:spPr>
          <a:xfrm>
            <a:off x="4144201" y="2133600"/>
            <a:ext cx="3208638"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236192"/>
                </a:solidFill>
                <a:effectLst/>
                <a:uLnTx/>
                <a:uFillTx/>
                <a:latin typeface="Century Gothic"/>
                <a:ea typeface="+mn-ea"/>
                <a:cs typeface="+mn-cs"/>
              </a:rPr>
              <a:t>ThingWorx Asset Advisor</a:t>
            </a:r>
            <a:endParaRPr kumimoji="0" lang="en-CA" sz="1800" b="1" i="0" u="none" strike="noStrike" kern="0" cap="none" spc="0" normalizeH="0" baseline="0" noProof="0" dirty="0">
              <a:ln>
                <a:noFill/>
              </a:ln>
              <a:solidFill>
                <a:srgbClr val="236192"/>
              </a:solidFill>
              <a:effectLst/>
              <a:uLnTx/>
              <a:uFillTx/>
              <a:latin typeface="Century Gothic"/>
              <a:ea typeface="+mn-ea"/>
              <a:cs typeface="+mn-cs"/>
            </a:endParaRPr>
          </a:p>
        </p:txBody>
      </p:sp>
      <p:sp>
        <p:nvSpPr>
          <p:cNvPr id="20" name="TextBox 19"/>
          <p:cNvSpPr txBox="1"/>
          <p:nvPr/>
        </p:nvSpPr>
        <p:spPr>
          <a:xfrm>
            <a:off x="8229600" y="2133600"/>
            <a:ext cx="3478219"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236192"/>
                </a:solidFill>
                <a:effectLst/>
                <a:uLnTx/>
                <a:uFillTx/>
                <a:latin typeface="Century Gothic"/>
                <a:ea typeface="+mn-ea"/>
                <a:cs typeface="+mn-cs"/>
              </a:rPr>
              <a:t>ThingWorx Controls Advisor</a:t>
            </a:r>
            <a:endParaRPr kumimoji="0" lang="en-CA" sz="1800" b="1" i="0" u="none" strike="noStrike" kern="0" cap="none" spc="0" normalizeH="0" baseline="0" noProof="0" dirty="0">
              <a:ln>
                <a:noFill/>
              </a:ln>
              <a:solidFill>
                <a:srgbClr val="236192"/>
              </a:solidFill>
              <a:effectLst/>
              <a:uLnTx/>
              <a:uFillTx/>
              <a:latin typeface="Century Gothic"/>
              <a:ea typeface="+mn-ea"/>
              <a:cs typeface="+mn-cs"/>
            </a:endParaRPr>
          </a:p>
        </p:txBody>
      </p:sp>
      <p:sp>
        <p:nvSpPr>
          <p:cNvPr id="18" name="Content Placeholder 1"/>
          <p:cNvSpPr txBox="1">
            <a:spLocks/>
          </p:cNvSpPr>
          <p:nvPr/>
        </p:nvSpPr>
        <p:spPr>
          <a:xfrm>
            <a:off x="824554" y="956855"/>
            <a:ext cx="10486279" cy="1592300"/>
          </a:xfrm>
          <a:prstGeom prst="rect">
            <a:avLst/>
          </a:prstGeom>
        </p:spPr>
        <p:txBody>
          <a:bodyPr>
            <a:noAutofit/>
          </a:bodyPr>
          <a:lst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6775" rtl="0" eaLnBrk="1" fontAlgn="auto" latinLnBrk="0" hangingPunct="1">
              <a:lnSpc>
                <a:spcPct val="90000"/>
              </a:lnSpc>
              <a:spcBef>
                <a:spcPts val="2139"/>
              </a:spcBef>
              <a:spcAft>
                <a:spcPts val="600"/>
              </a:spcAft>
              <a:buClr>
                <a:srgbClr val="3D4647"/>
              </a:buClr>
              <a:buSzTx/>
              <a:buFont typeface="Arial" pitchFamily="34" charset="0"/>
              <a:buNone/>
              <a:tabLst/>
              <a:defRPr/>
            </a:pPr>
            <a:r>
              <a:rPr kumimoji="0" lang="en-US" sz="2000" b="0" i="0" u="none" strike="noStrike" kern="1200" cap="none" spc="0" normalizeH="0" baseline="0" noProof="0" dirty="0">
                <a:ln>
                  <a:noFill/>
                </a:ln>
                <a:solidFill>
                  <a:srgbClr val="3D4647"/>
                </a:solidFill>
                <a:effectLst/>
                <a:uLnTx/>
                <a:uFillTx/>
                <a:latin typeface="Century Gothic"/>
                <a:ea typeface="+mn-ea"/>
                <a:cs typeface="+mn-cs"/>
              </a:rPr>
              <a:t>Transform your performance by giving your operations teams unprecedented capabilities to see, understand and act in real time. ThingWorx manufacturing apps accelerate your time-to-value and offer unmatched flexibility. </a:t>
            </a:r>
          </a:p>
        </p:txBody>
      </p:sp>
      <p:pic>
        <p:nvPicPr>
          <p:cNvPr id="22" name="Picture 21" descr="MachineBuilder-Active.png"/>
          <p:cNvPicPr>
            <a:picLocks/>
          </p:cNvPicPr>
          <p:nvPr/>
        </p:nvPicPr>
        <p:blipFill>
          <a:blip r:embed="rId3" cstate="email">
            <a:extLst>
              <a:ext uri="{28A0092B-C50C-407E-A947-70E740481C1C}">
                <a14:useLocalDpi xmlns:a14="http://schemas.microsoft.com/office/drawing/2010/main"/>
              </a:ext>
            </a:extLst>
          </a:blip>
          <a:stretch>
            <a:fillRect/>
          </a:stretch>
        </p:blipFill>
        <p:spPr>
          <a:xfrm>
            <a:off x="364157" y="2520337"/>
            <a:ext cx="574037" cy="553696"/>
          </a:xfrm>
          <a:prstGeom prst="rect">
            <a:avLst/>
          </a:prstGeom>
        </p:spPr>
      </p:pic>
      <p:pic>
        <p:nvPicPr>
          <p:cNvPr id="21" name="Picture 2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9938" y="3221547"/>
            <a:ext cx="2490684" cy="1441116"/>
          </a:xfrm>
          <a:prstGeom prst="rect">
            <a:avLst/>
          </a:prstGeom>
        </p:spPr>
      </p:pic>
      <p:pic>
        <p:nvPicPr>
          <p:cNvPr id="24" name="Picture 2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047632" y="3643249"/>
            <a:ext cx="1874013" cy="1207491"/>
          </a:xfrm>
          <a:prstGeom prst="rect">
            <a:avLst/>
          </a:prstGeom>
        </p:spPr>
      </p:pic>
      <p:pic>
        <p:nvPicPr>
          <p:cNvPr id="25" name="Picture 2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38348" y="3218234"/>
            <a:ext cx="2190286" cy="1462463"/>
          </a:xfrm>
          <a:prstGeom prst="rect">
            <a:avLst/>
          </a:prstGeom>
        </p:spPr>
      </p:pic>
      <p:pic>
        <p:nvPicPr>
          <p:cNvPr id="27" name="Picture 2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771404" y="3218234"/>
            <a:ext cx="2535977" cy="1468283"/>
          </a:xfrm>
          <a:prstGeom prst="rect">
            <a:avLst/>
          </a:prstGeom>
        </p:spPr>
      </p:pic>
      <p:pic>
        <p:nvPicPr>
          <p:cNvPr id="28" name="Picture 2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890597" y="3504722"/>
            <a:ext cx="1813745" cy="1346018"/>
          </a:xfrm>
          <a:prstGeom prst="rect">
            <a:avLst/>
          </a:prstGeom>
        </p:spPr>
      </p:pic>
      <p:pic>
        <p:nvPicPr>
          <p:cNvPr id="19" name="Picture 1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262585" y="3479446"/>
            <a:ext cx="1851791" cy="1452714"/>
          </a:xfrm>
          <a:prstGeom prst="rect">
            <a:avLst/>
          </a:prstGeom>
        </p:spPr>
      </p:pic>
      <p:sp>
        <p:nvSpPr>
          <p:cNvPr id="3" name="TextBox 2"/>
          <p:cNvSpPr txBox="1"/>
          <p:nvPr/>
        </p:nvSpPr>
        <p:spPr>
          <a:xfrm>
            <a:off x="8790454" y="4973005"/>
            <a:ext cx="3135571" cy="150810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a:ln>
                  <a:noFill/>
                </a:ln>
                <a:solidFill>
                  <a:sysClr val="windowText" lastClr="000000"/>
                </a:solidFill>
                <a:effectLst/>
                <a:uLnTx/>
                <a:uFillTx/>
                <a:latin typeface="Century Gothic"/>
                <a:ea typeface="+mn-ea"/>
                <a:cs typeface="+mn-cs"/>
              </a:rPr>
              <a:t>Ensure OT Network Data Qual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entury Gothic"/>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entury Gothic"/>
                <a:ea typeface="+mn-ea"/>
                <a:cs typeface="+mn-cs"/>
              </a:rPr>
              <a:t>Unified real-time monitoring of all connected end points and related data elements on the OT system network. Rapidly and flexibly trend data to troubleshoot issues</a:t>
            </a:r>
          </a:p>
        </p:txBody>
      </p:sp>
      <p:sp>
        <p:nvSpPr>
          <p:cNvPr id="23" name="TextBox 22"/>
          <p:cNvSpPr txBox="1"/>
          <p:nvPr/>
        </p:nvSpPr>
        <p:spPr>
          <a:xfrm>
            <a:off x="4694799" y="4985783"/>
            <a:ext cx="3135571" cy="150810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a:ln>
                  <a:noFill/>
                </a:ln>
                <a:solidFill>
                  <a:sysClr val="windowText" lastClr="000000"/>
                </a:solidFill>
                <a:effectLst/>
                <a:uLnTx/>
                <a:uFillTx/>
                <a:latin typeface="Century Gothic"/>
                <a:ea typeface="+mn-ea"/>
                <a:cs typeface="+mn-cs"/>
              </a:rPr>
              <a:t>Reduce unplanned downti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entury Gothic"/>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entury Gothic"/>
                <a:ea typeface="+mn-ea"/>
                <a:cs typeface="+mn-cs"/>
              </a:rPr>
              <a:t>Real-time monitoring of the status and health of critical production assets. Detect anomalies to identify potential issues that could result in unplanned downtime.</a:t>
            </a:r>
          </a:p>
        </p:txBody>
      </p:sp>
      <p:sp>
        <p:nvSpPr>
          <p:cNvPr id="26" name="TextBox 25"/>
          <p:cNvSpPr txBox="1"/>
          <p:nvPr/>
        </p:nvSpPr>
        <p:spPr>
          <a:xfrm>
            <a:off x="636077" y="4985783"/>
            <a:ext cx="3135571" cy="129266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a:ln>
                  <a:noFill/>
                </a:ln>
                <a:solidFill>
                  <a:sysClr val="windowText" lastClr="000000"/>
                </a:solidFill>
                <a:effectLst/>
                <a:uLnTx/>
                <a:uFillTx/>
                <a:latin typeface="Century Gothic"/>
                <a:ea typeface="+mn-ea"/>
                <a:cs typeface="+mn-cs"/>
              </a:rPr>
              <a:t>Optimize Production Performa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entury Gothic"/>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entury Gothic"/>
                <a:ea typeface="+mn-ea"/>
                <a:cs typeface="+mn-cs"/>
              </a:rPr>
              <a:t>Real-time monitoring of production status and critical KPI’s. Detect and react instantly to production schedule and quality issues.</a:t>
            </a:r>
          </a:p>
        </p:txBody>
      </p:sp>
    </p:spTree>
    <p:extLst>
      <p:ext uri="{BB962C8B-B14F-4D97-AF65-F5344CB8AC3E}">
        <p14:creationId xmlns:p14="http://schemas.microsoft.com/office/powerpoint/2010/main" val="344355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thingworx-platform-k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25529" y="4724239"/>
            <a:ext cx="6340943" cy="698762"/>
          </a:xfrm>
          <a:prstGeom prst="rect">
            <a:avLst/>
          </a:prstGeom>
        </p:spPr>
      </p:pic>
      <p:cxnSp>
        <p:nvCxnSpPr>
          <p:cNvPr id="6" name="Straight Connector 5"/>
          <p:cNvCxnSpPr/>
          <p:nvPr/>
        </p:nvCxnSpPr>
        <p:spPr>
          <a:xfrm>
            <a:off x="1698070" y="4408095"/>
            <a:ext cx="868484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1533180" y="2012363"/>
            <a:ext cx="2011539" cy="2298440"/>
            <a:chOff x="1698070" y="1767924"/>
            <a:chExt cx="2011539" cy="2298440"/>
          </a:xfrm>
        </p:grpSpPr>
        <p:sp>
          <p:nvSpPr>
            <p:cNvPr id="4" name="Rectangle 3"/>
            <p:cNvSpPr/>
            <p:nvPr/>
          </p:nvSpPr>
          <p:spPr>
            <a:xfrm>
              <a:off x="1698070" y="2766952"/>
              <a:ext cx="2011539" cy="1299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panose="020F0302020204030204"/>
                  <a:ea typeface="+mn-ea"/>
                  <a:cs typeface="+mn-cs"/>
                </a:rPr>
                <a:t>Purpose-Built for Industrial IoT</a:t>
              </a: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93477" y="1767924"/>
              <a:ext cx="1020725" cy="914400"/>
            </a:xfrm>
            <a:prstGeom prst="rect">
              <a:avLst/>
            </a:prstGeom>
          </p:spPr>
        </p:pic>
      </p:grpSp>
      <p:grpSp>
        <p:nvGrpSpPr>
          <p:cNvPr id="16" name="Group 15"/>
          <p:cNvGrpSpPr/>
          <p:nvPr/>
        </p:nvGrpSpPr>
        <p:grpSpPr>
          <a:xfrm>
            <a:off x="4054301" y="2039522"/>
            <a:ext cx="2286000" cy="2273278"/>
            <a:chOff x="3769014" y="1795083"/>
            <a:chExt cx="2286000" cy="2273278"/>
          </a:xfrm>
        </p:grpSpPr>
        <p:sp>
          <p:nvSpPr>
            <p:cNvPr id="5" name="Rectangle 4"/>
            <p:cNvSpPr/>
            <p:nvPr/>
          </p:nvSpPr>
          <p:spPr>
            <a:xfrm>
              <a:off x="3769014" y="2768949"/>
              <a:ext cx="2286000" cy="1299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panose="020F0302020204030204"/>
                  <a:ea typeface="+mn-ea"/>
                  <a:cs typeface="+mn-cs"/>
                </a:rPr>
                <a:t>Quickly and Easily Develop, Deploy and Extend</a:t>
              </a:r>
            </a:p>
          </p:txBody>
        </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06087" y="1795083"/>
              <a:ext cx="1211855" cy="914400"/>
            </a:xfrm>
            <a:prstGeom prst="rect">
              <a:avLst/>
            </a:prstGeom>
          </p:spPr>
        </p:pic>
      </p:grpSp>
      <p:grpSp>
        <p:nvGrpSpPr>
          <p:cNvPr id="14" name="Group 13"/>
          <p:cNvGrpSpPr/>
          <p:nvPr/>
        </p:nvGrpSpPr>
        <p:grpSpPr>
          <a:xfrm>
            <a:off x="6624015" y="2039521"/>
            <a:ext cx="2011539" cy="2275276"/>
            <a:chOff x="6146938" y="1795082"/>
            <a:chExt cx="2011539" cy="2275276"/>
          </a:xfrm>
        </p:grpSpPr>
        <p:sp>
          <p:nvSpPr>
            <p:cNvPr id="7" name="Rectangle 6"/>
            <p:cNvSpPr/>
            <p:nvPr/>
          </p:nvSpPr>
          <p:spPr>
            <a:xfrm>
              <a:off x="6146938" y="2770946"/>
              <a:ext cx="2011539" cy="1299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panose="020F0302020204030204"/>
                  <a:ea typeface="+mn-ea"/>
                  <a:cs typeface="+mn-cs"/>
                </a:rPr>
                <a:t>Ultimate</a:t>
              </a: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panose="020F0302020204030204"/>
                  <a:ea typeface="+mn-ea"/>
                  <a:cs typeface="+mn-cs"/>
                </a:rPr>
                <a:t>Flexibility</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6538" y="1795082"/>
              <a:ext cx="1152338" cy="1038019"/>
            </a:xfrm>
            <a:prstGeom prst="rect">
              <a:avLst/>
            </a:prstGeom>
          </p:spPr>
        </p:pic>
      </p:grpSp>
      <p:grpSp>
        <p:nvGrpSpPr>
          <p:cNvPr id="15" name="Group 14"/>
          <p:cNvGrpSpPr/>
          <p:nvPr/>
        </p:nvGrpSpPr>
        <p:grpSpPr>
          <a:xfrm>
            <a:off x="8641192" y="2039522"/>
            <a:ext cx="2011539" cy="2268916"/>
            <a:chOff x="8371372" y="1795083"/>
            <a:chExt cx="2011539" cy="2268916"/>
          </a:xfrm>
        </p:grpSpPr>
        <p:sp>
          <p:nvSpPr>
            <p:cNvPr id="8" name="Rectangle 7"/>
            <p:cNvSpPr/>
            <p:nvPr/>
          </p:nvSpPr>
          <p:spPr>
            <a:xfrm>
              <a:off x="8371372" y="2764587"/>
              <a:ext cx="2011539" cy="1299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panose="020F0302020204030204"/>
                  <a:ea typeface="+mn-ea"/>
                  <a:cs typeface="+mn-cs"/>
                </a:rPr>
                <a:t>Vibrant</a:t>
              </a:r>
            </a:p>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panose="020F0302020204030204"/>
                  <a:ea typeface="+mn-ea"/>
                  <a:cs typeface="+mn-cs"/>
                </a:rPr>
                <a:t>Ecosystem</a:t>
              </a: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18879" y="1795083"/>
              <a:ext cx="916525" cy="914400"/>
            </a:xfrm>
            <a:prstGeom prst="rect">
              <a:avLst/>
            </a:prstGeom>
          </p:spPr>
        </p:pic>
      </p:grpSp>
    </p:spTree>
    <p:extLst>
      <p:ext uri="{BB962C8B-B14F-4D97-AF65-F5344CB8AC3E}">
        <p14:creationId xmlns:p14="http://schemas.microsoft.com/office/powerpoint/2010/main" val="2368916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6" name="Rectangle 595"/>
          <p:cNvSpPr/>
          <p:nvPr/>
        </p:nvSpPr>
        <p:spPr>
          <a:xfrm>
            <a:off x="0" y="716995"/>
            <a:ext cx="12120113" cy="577006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s-MX" sz="2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 name="Rectangle 2"/>
          <p:cNvSpPr/>
          <p:nvPr/>
        </p:nvSpPr>
        <p:spPr bwMode="auto">
          <a:xfrm>
            <a:off x="10043204" y="1441535"/>
            <a:ext cx="1928316" cy="4604176"/>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4" name="Group 3"/>
          <p:cNvGrpSpPr/>
          <p:nvPr/>
        </p:nvGrpSpPr>
        <p:grpSpPr>
          <a:xfrm>
            <a:off x="10043205" y="2912852"/>
            <a:ext cx="1922995" cy="1626257"/>
            <a:chOff x="161401" y="1932654"/>
            <a:chExt cx="1761072" cy="1626721"/>
          </a:xfrm>
        </p:grpSpPr>
        <p:grpSp>
          <p:nvGrpSpPr>
            <p:cNvPr id="589" name="Group 588"/>
            <p:cNvGrpSpPr/>
            <p:nvPr/>
          </p:nvGrpSpPr>
          <p:grpSpPr>
            <a:xfrm>
              <a:off x="161401" y="3250919"/>
              <a:ext cx="1761072" cy="308456"/>
              <a:chOff x="3900492" y="3987329"/>
              <a:chExt cx="4849648" cy="308456"/>
            </a:xfrm>
          </p:grpSpPr>
          <p:sp>
            <p:nvSpPr>
              <p:cNvPr id="594" name="Rectangle 593"/>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95" name="Trapezoid 594"/>
              <p:cNvSpPr/>
              <p:nvPr/>
            </p:nvSpPr>
            <p:spPr bwMode="auto">
              <a:xfrm>
                <a:off x="4016909" y="3987329"/>
                <a:ext cx="4634337" cy="262428"/>
              </a:xfrm>
              <a:prstGeom prst="trapezoid">
                <a:avLst>
                  <a:gd name="adj" fmla="val 9615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nvGrpSpPr>
            <p:cNvPr id="590" name="Group 589"/>
            <p:cNvGrpSpPr/>
            <p:nvPr/>
          </p:nvGrpSpPr>
          <p:grpSpPr>
            <a:xfrm>
              <a:off x="199444" y="1932654"/>
              <a:ext cx="1691879" cy="1585516"/>
              <a:chOff x="114794" y="583668"/>
              <a:chExt cx="3534424" cy="3543633"/>
            </a:xfrm>
          </p:grpSpPr>
          <p:sp>
            <p:nvSpPr>
              <p:cNvPr id="591" name="Rectangle 590"/>
              <p:cNvSpPr/>
              <p:nvPr/>
            </p:nvSpPr>
            <p:spPr bwMode="auto">
              <a:xfrm>
                <a:off x="607549"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92"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93"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sp>
        <p:nvSpPr>
          <p:cNvPr id="5" name="Rectangle 4"/>
          <p:cNvSpPr/>
          <p:nvPr/>
        </p:nvSpPr>
        <p:spPr>
          <a:xfrm>
            <a:off x="10705801" y="889482"/>
            <a:ext cx="930063" cy="430887"/>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entury Gothic" panose="020F0302020204030204"/>
                <a:ea typeface="+mn-ea"/>
                <a:cs typeface="+mn-cs"/>
              </a:rPr>
              <a:t>GLOBAL </a:t>
            </a:r>
            <a:br>
              <a:rPr kumimoji="0" lang="en-US" sz="1100" b="0" i="0" u="none" strike="noStrike" kern="1200" cap="none" spc="0" normalizeH="0" baseline="0" noProof="0" dirty="0">
                <a:ln>
                  <a:noFill/>
                </a:ln>
                <a:solidFill>
                  <a:srgbClr val="FFFFFF"/>
                </a:solidFill>
                <a:effectLst/>
                <a:uLnTx/>
                <a:uFillTx/>
                <a:latin typeface="Century Gothic" panose="020F0302020204030204"/>
                <a:ea typeface="+mn-ea"/>
                <a:cs typeface="+mn-cs"/>
              </a:rPr>
            </a:br>
            <a:r>
              <a:rPr kumimoji="0" lang="en-US" sz="1100" b="0" i="0" u="none" strike="noStrike" kern="1200" cap="none" spc="0" normalizeH="0" baseline="0" noProof="0" dirty="0">
                <a:ln>
                  <a:noFill/>
                </a:ln>
                <a:solidFill>
                  <a:srgbClr val="FFFFFF"/>
                </a:solidFill>
                <a:effectLst/>
                <a:uLnTx/>
                <a:uFillTx/>
                <a:latin typeface="Century Gothic" panose="020F0302020204030204"/>
                <a:ea typeface="+mn-ea"/>
                <a:cs typeface="+mn-cs"/>
              </a:rPr>
              <a:t>OPERATIONS</a:t>
            </a:r>
          </a:p>
        </p:txBody>
      </p:sp>
      <p:cxnSp>
        <p:nvCxnSpPr>
          <p:cNvPr id="6" name="Straight Connector 5"/>
          <p:cNvCxnSpPr/>
          <p:nvPr/>
        </p:nvCxnSpPr>
        <p:spPr>
          <a:xfrm flipV="1">
            <a:off x="10461786" y="1293837"/>
            <a:ext cx="0" cy="134066"/>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 name="Rectangle 6"/>
          <p:cNvSpPr/>
          <p:nvPr/>
        </p:nvSpPr>
        <p:spPr bwMode="auto">
          <a:xfrm>
            <a:off x="10106124" y="995864"/>
            <a:ext cx="142745" cy="184098"/>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8" name="Rectangle 7"/>
          <p:cNvSpPr/>
          <p:nvPr/>
        </p:nvSpPr>
        <p:spPr bwMode="auto">
          <a:xfrm>
            <a:off x="10314456" y="1022098"/>
            <a:ext cx="142745" cy="149542"/>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9" name="Rectangle 8"/>
          <p:cNvSpPr/>
          <p:nvPr/>
        </p:nvSpPr>
        <p:spPr bwMode="auto">
          <a:xfrm>
            <a:off x="10517129" y="889919"/>
            <a:ext cx="142745" cy="291877"/>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0" name="Rectangle 73"/>
          <p:cNvSpPr/>
          <p:nvPr/>
        </p:nvSpPr>
        <p:spPr bwMode="auto">
          <a:xfrm rot="5400000">
            <a:off x="10163928" y="770095"/>
            <a:ext cx="443804" cy="599360"/>
          </a:xfrm>
          <a:custGeom>
            <a:avLst/>
            <a:gdLst/>
            <a:ahLst/>
            <a:cxnLst/>
            <a:rect l="l" t="t" r="r" b="b"/>
            <a:pathLst>
              <a:path w="1906013" h="2081213">
                <a:moveTo>
                  <a:pt x="1447225" y="473849"/>
                </a:moveTo>
                <a:lnTo>
                  <a:pt x="1906012" y="473849"/>
                </a:lnTo>
                <a:lnTo>
                  <a:pt x="1906012" y="225142"/>
                </a:lnTo>
                <a:lnTo>
                  <a:pt x="1447225" y="225142"/>
                </a:lnTo>
                <a:close/>
                <a:moveTo>
                  <a:pt x="1256359" y="1719312"/>
                </a:moveTo>
                <a:lnTo>
                  <a:pt x="1375231" y="1719312"/>
                </a:lnTo>
                <a:lnTo>
                  <a:pt x="1375231" y="1534257"/>
                </a:lnTo>
                <a:lnTo>
                  <a:pt x="1256359" y="1534257"/>
                </a:lnTo>
                <a:close/>
                <a:moveTo>
                  <a:pt x="1256359" y="1956654"/>
                </a:moveTo>
                <a:lnTo>
                  <a:pt x="1375231" y="1956654"/>
                </a:lnTo>
                <a:lnTo>
                  <a:pt x="1375231" y="1771599"/>
                </a:lnTo>
                <a:lnTo>
                  <a:pt x="1256359" y="1771599"/>
                </a:lnTo>
                <a:close/>
                <a:moveTo>
                  <a:pt x="1250439" y="315966"/>
                </a:moveTo>
                <a:lnTo>
                  <a:pt x="1369311" y="315966"/>
                </a:lnTo>
                <a:lnTo>
                  <a:pt x="1369311" y="130911"/>
                </a:lnTo>
                <a:lnTo>
                  <a:pt x="1250439" y="130911"/>
                </a:lnTo>
                <a:close/>
                <a:moveTo>
                  <a:pt x="1250439" y="553308"/>
                </a:moveTo>
                <a:lnTo>
                  <a:pt x="1369311" y="553308"/>
                </a:lnTo>
                <a:lnTo>
                  <a:pt x="1369311" y="368253"/>
                </a:lnTo>
                <a:lnTo>
                  <a:pt x="1250439" y="368253"/>
                </a:lnTo>
                <a:close/>
                <a:moveTo>
                  <a:pt x="1242568" y="1014462"/>
                </a:moveTo>
                <a:lnTo>
                  <a:pt x="1361440" y="1014462"/>
                </a:lnTo>
                <a:lnTo>
                  <a:pt x="1361440" y="829407"/>
                </a:lnTo>
                <a:lnTo>
                  <a:pt x="1242568" y="829407"/>
                </a:lnTo>
                <a:close/>
                <a:moveTo>
                  <a:pt x="1242568" y="1251804"/>
                </a:moveTo>
                <a:lnTo>
                  <a:pt x="1361440" y="1251804"/>
                </a:lnTo>
                <a:lnTo>
                  <a:pt x="1361440" y="1066749"/>
                </a:lnTo>
                <a:lnTo>
                  <a:pt x="1242568" y="1066749"/>
                </a:lnTo>
                <a:close/>
                <a:moveTo>
                  <a:pt x="1052142" y="1719312"/>
                </a:moveTo>
                <a:lnTo>
                  <a:pt x="1171014" y="1719312"/>
                </a:lnTo>
                <a:lnTo>
                  <a:pt x="1171014" y="1534257"/>
                </a:lnTo>
                <a:lnTo>
                  <a:pt x="1052142" y="1534257"/>
                </a:lnTo>
                <a:close/>
                <a:moveTo>
                  <a:pt x="1052142" y="1956654"/>
                </a:moveTo>
                <a:lnTo>
                  <a:pt x="1171014" y="1956654"/>
                </a:lnTo>
                <a:lnTo>
                  <a:pt x="1171014" y="1771599"/>
                </a:lnTo>
                <a:lnTo>
                  <a:pt x="1052142" y="1771599"/>
                </a:lnTo>
                <a:close/>
                <a:moveTo>
                  <a:pt x="1040908" y="315966"/>
                </a:moveTo>
                <a:lnTo>
                  <a:pt x="1159780" y="315966"/>
                </a:lnTo>
                <a:lnTo>
                  <a:pt x="1159780" y="130911"/>
                </a:lnTo>
                <a:lnTo>
                  <a:pt x="1040908" y="130911"/>
                </a:lnTo>
                <a:close/>
                <a:moveTo>
                  <a:pt x="1040908" y="553308"/>
                </a:moveTo>
                <a:lnTo>
                  <a:pt x="1159780" y="553308"/>
                </a:lnTo>
                <a:lnTo>
                  <a:pt x="1159780" y="368253"/>
                </a:lnTo>
                <a:lnTo>
                  <a:pt x="1040908" y="368253"/>
                </a:lnTo>
                <a:close/>
                <a:moveTo>
                  <a:pt x="1038352" y="1014462"/>
                </a:moveTo>
                <a:lnTo>
                  <a:pt x="1157224" y="1014462"/>
                </a:lnTo>
                <a:lnTo>
                  <a:pt x="1157224" y="829407"/>
                </a:lnTo>
                <a:lnTo>
                  <a:pt x="1038352" y="829407"/>
                </a:lnTo>
                <a:close/>
                <a:moveTo>
                  <a:pt x="1038352" y="1251804"/>
                </a:moveTo>
                <a:lnTo>
                  <a:pt x="1157224" y="1251804"/>
                </a:lnTo>
                <a:lnTo>
                  <a:pt x="1157224" y="1066749"/>
                </a:lnTo>
                <a:lnTo>
                  <a:pt x="1038352" y="1066749"/>
                </a:lnTo>
                <a:close/>
                <a:moveTo>
                  <a:pt x="847926" y="1719312"/>
                </a:moveTo>
                <a:lnTo>
                  <a:pt x="966798" y="1719312"/>
                </a:lnTo>
                <a:lnTo>
                  <a:pt x="966798" y="1534257"/>
                </a:lnTo>
                <a:lnTo>
                  <a:pt x="847926" y="1534257"/>
                </a:lnTo>
                <a:close/>
                <a:moveTo>
                  <a:pt x="847926" y="1956654"/>
                </a:moveTo>
                <a:lnTo>
                  <a:pt x="966798" y="1956654"/>
                </a:lnTo>
                <a:lnTo>
                  <a:pt x="966798" y="1771599"/>
                </a:lnTo>
                <a:lnTo>
                  <a:pt x="847926" y="1771599"/>
                </a:lnTo>
                <a:close/>
                <a:moveTo>
                  <a:pt x="834136" y="1014462"/>
                </a:moveTo>
                <a:lnTo>
                  <a:pt x="953008" y="1014462"/>
                </a:lnTo>
                <a:lnTo>
                  <a:pt x="953008" y="829407"/>
                </a:lnTo>
                <a:lnTo>
                  <a:pt x="834136" y="829407"/>
                </a:lnTo>
                <a:close/>
                <a:moveTo>
                  <a:pt x="834136" y="1251804"/>
                </a:moveTo>
                <a:lnTo>
                  <a:pt x="953008" y="1251804"/>
                </a:lnTo>
                <a:lnTo>
                  <a:pt x="953008" y="1066749"/>
                </a:lnTo>
                <a:lnTo>
                  <a:pt x="834136" y="1066749"/>
                </a:lnTo>
                <a:close/>
                <a:moveTo>
                  <a:pt x="831377" y="315966"/>
                </a:moveTo>
                <a:lnTo>
                  <a:pt x="950249" y="315966"/>
                </a:lnTo>
                <a:lnTo>
                  <a:pt x="950249" y="130911"/>
                </a:lnTo>
                <a:lnTo>
                  <a:pt x="831377" y="130911"/>
                </a:lnTo>
                <a:close/>
                <a:moveTo>
                  <a:pt x="831377" y="553308"/>
                </a:moveTo>
                <a:lnTo>
                  <a:pt x="950249" y="553308"/>
                </a:lnTo>
                <a:lnTo>
                  <a:pt x="950249" y="368253"/>
                </a:lnTo>
                <a:lnTo>
                  <a:pt x="831377" y="368253"/>
                </a:lnTo>
                <a:close/>
                <a:moveTo>
                  <a:pt x="737560" y="1376363"/>
                </a:moveTo>
                <a:lnTo>
                  <a:pt x="737560" y="704850"/>
                </a:lnTo>
                <a:lnTo>
                  <a:pt x="1906013" y="704850"/>
                </a:lnTo>
                <a:lnTo>
                  <a:pt x="1906013" y="916252"/>
                </a:lnTo>
                <a:lnTo>
                  <a:pt x="1447226" y="916252"/>
                </a:lnTo>
                <a:lnTo>
                  <a:pt x="1447226" y="1164960"/>
                </a:lnTo>
                <a:lnTo>
                  <a:pt x="1906013" y="1164960"/>
                </a:lnTo>
                <a:lnTo>
                  <a:pt x="1906013" y="1376363"/>
                </a:lnTo>
                <a:close/>
                <a:moveTo>
                  <a:pt x="643710" y="1719312"/>
                </a:moveTo>
                <a:lnTo>
                  <a:pt x="762582" y="1719312"/>
                </a:lnTo>
                <a:lnTo>
                  <a:pt x="762582" y="1534257"/>
                </a:lnTo>
                <a:lnTo>
                  <a:pt x="643710" y="1534257"/>
                </a:lnTo>
                <a:close/>
                <a:moveTo>
                  <a:pt x="643710" y="1956654"/>
                </a:moveTo>
                <a:lnTo>
                  <a:pt x="762582" y="1956654"/>
                </a:lnTo>
                <a:lnTo>
                  <a:pt x="762582" y="1771599"/>
                </a:lnTo>
                <a:lnTo>
                  <a:pt x="643710" y="1771599"/>
                </a:lnTo>
                <a:close/>
                <a:moveTo>
                  <a:pt x="621846" y="315966"/>
                </a:moveTo>
                <a:lnTo>
                  <a:pt x="740718" y="315966"/>
                </a:lnTo>
                <a:lnTo>
                  <a:pt x="740718" y="130911"/>
                </a:lnTo>
                <a:lnTo>
                  <a:pt x="621846" y="130911"/>
                </a:lnTo>
                <a:close/>
                <a:moveTo>
                  <a:pt x="621846" y="553308"/>
                </a:moveTo>
                <a:lnTo>
                  <a:pt x="740718" y="553308"/>
                </a:lnTo>
                <a:lnTo>
                  <a:pt x="740718" y="368253"/>
                </a:lnTo>
                <a:lnTo>
                  <a:pt x="621846" y="368253"/>
                </a:lnTo>
                <a:close/>
                <a:moveTo>
                  <a:pt x="467686" y="2081213"/>
                </a:moveTo>
                <a:lnTo>
                  <a:pt x="467686" y="1409701"/>
                </a:lnTo>
                <a:lnTo>
                  <a:pt x="1906013" y="1409701"/>
                </a:lnTo>
                <a:lnTo>
                  <a:pt x="1906013" y="1621103"/>
                </a:lnTo>
                <a:lnTo>
                  <a:pt x="1447226" y="1621103"/>
                </a:lnTo>
                <a:lnTo>
                  <a:pt x="1447226" y="1869810"/>
                </a:lnTo>
                <a:lnTo>
                  <a:pt x="1906013" y="1869810"/>
                </a:lnTo>
                <a:lnTo>
                  <a:pt x="1906013" y="2081213"/>
                </a:lnTo>
                <a:close/>
                <a:moveTo>
                  <a:pt x="412315" y="315966"/>
                </a:moveTo>
                <a:lnTo>
                  <a:pt x="531187" y="315966"/>
                </a:lnTo>
                <a:lnTo>
                  <a:pt x="531187" y="130911"/>
                </a:lnTo>
                <a:lnTo>
                  <a:pt x="412315" y="130911"/>
                </a:lnTo>
                <a:close/>
                <a:moveTo>
                  <a:pt x="412315" y="553308"/>
                </a:moveTo>
                <a:lnTo>
                  <a:pt x="531187" y="553308"/>
                </a:lnTo>
                <a:lnTo>
                  <a:pt x="531187" y="368253"/>
                </a:lnTo>
                <a:lnTo>
                  <a:pt x="412315" y="368253"/>
                </a:lnTo>
                <a:close/>
                <a:moveTo>
                  <a:pt x="202784" y="315966"/>
                </a:moveTo>
                <a:lnTo>
                  <a:pt x="321656" y="315966"/>
                </a:lnTo>
                <a:lnTo>
                  <a:pt x="321656" y="130911"/>
                </a:lnTo>
                <a:lnTo>
                  <a:pt x="202784" y="130911"/>
                </a:lnTo>
                <a:close/>
                <a:moveTo>
                  <a:pt x="202784" y="553308"/>
                </a:moveTo>
                <a:lnTo>
                  <a:pt x="321656" y="553308"/>
                </a:lnTo>
                <a:lnTo>
                  <a:pt x="321656" y="368253"/>
                </a:lnTo>
                <a:lnTo>
                  <a:pt x="202784" y="368253"/>
                </a:lnTo>
                <a:close/>
                <a:moveTo>
                  <a:pt x="0" y="671512"/>
                </a:moveTo>
                <a:lnTo>
                  <a:pt x="0" y="0"/>
                </a:lnTo>
                <a:lnTo>
                  <a:pt x="1906013" y="0"/>
                </a:lnTo>
                <a:lnTo>
                  <a:pt x="1906013" y="67151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187" tIns="45594" rIns="45594" bIns="9118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147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nvGrpSpPr>
          <p:cNvPr id="11" name="Group 10"/>
          <p:cNvGrpSpPr/>
          <p:nvPr/>
        </p:nvGrpSpPr>
        <p:grpSpPr>
          <a:xfrm>
            <a:off x="10038443" y="1376995"/>
            <a:ext cx="1933076" cy="1626257"/>
            <a:chOff x="161401" y="1932654"/>
            <a:chExt cx="1761072" cy="1626721"/>
          </a:xfrm>
        </p:grpSpPr>
        <p:grpSp>
          <p:nvGrpSpPr>
            <p:cNvPr id="582" name="Group 581"/>
            <p:cNvGrpSpPr/>
            <p:nvPr/>
          </p:nvGrpSpPr>
          <p:grpSpPr>
            <a:xfrm>
              <a:off x="161401" y="3250919"/>
              <a:ext cx="1761072" cy="308456"/>
              <a:chOff x="3900492" y="3987329"/>
              <a:chExt cx="4849648" cy="308456"/>
            </a:xfrm>
          </p:grpSpPr>
          <p:sp>
            <p:nvSpPr>
              <p:cNvPr id="587" name="Rectangle 586"/>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88" name="Trapezoid 587"/>
              <p:cNvSpPr/>
              <p:nvPr/>
            </p:nvSpPr>
            <p:spPr bwMode="auto">
              <a:xfrm>
                <a:off x="4016909" y="3987329"/>
                <a:ext cx="4634336" cy="262428"/>
              </a:xfrm>
              <a:prstGeom prst="trapezoid">
                <a:avLst>
                  <a:gd name="adj" fmla="val 100094"/>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nvGrpSpPr>
            <p:cNvPr id="583" name="Group 582"/>
            <p:cNvGrpSpPr/>
            <p:nvPr/>
          </p:nvGrpSpPr>
          <p:grpSpPr>
            <a:xfrm>
              <a:off x="199444" y="1932654"/>
              <a:ext cx="1691879" cy="1585516"/>
              <a:chOff x="114794" y="583668"/>
              <a:chExt cx="3534424" cy="3543633"/>
            </a:xfrm>
          </p:grpSpPr>
          <p:sp>
            <p:nvSpPr>
              <p:cNvPr id="584" name="Rectangle 583"/>
              <p:cNvSpPr/>
              <p:nvPr/>
            </p:nvSpPr>
            <p:spPr bwMode="auto">
              <a:xfrm>
                <a:off x="607548"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85"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86"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grpSp>
        <p:nvGrpSpPr>
          <p:cNvPr id="12" name="Group 11"/>
          <p:cNvGrpSpPr/>
          <p:nvPr/>
        </p:nvGrpSpPr>
        <p:grpSpPr>
          <a:xfrm>
            <a:off x="10081236" y="4448714"/>
            <a:ext cx="1890282" cy="1577387"/>
            <a:chOff x="199443" y="1940338"/>
            <a:chExt cx="1691879" cy="1577832"/>
          </a:xfrm>
        </p:grpSpPr>
        <p:sp>
          <p:nvSpPr>
            <p:cNvPr id="577" name="Trapezoid 576"/>
            <p:cNvSpPr/>
            <p:nvPr/>
          </p:nvSpPr>
          <p:spPr bwMode="auto">
            <a:xfrm>
              <a:off x="203676" y="3250919"/>
              <a:ext cx="1682885" cy="262428"/>
            </a:xfrm>
            <a:prstGeom prst="trapezoid">
              <a:avLst>
                <a:gd name="adj" fmla="val 98125"/>
              </a:avLst>
            </a:prstGeom>
            <a:solidFill>
              <a:srgbClr val="004B6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578" name="Group 577"/>
            <p:cNvGrpSpPr/>
            <p:nvPr/>
          </p:nvGrpSpPr>
          <p:grpSpPr>
            <a:xfrm>
              <a:off x="199443" y="1940338"/>
              <a:ext cx="1691879" cy="1577832"/>
              <a:chOff x="114793" y="600842"/>
              <a:chExt cx="3534425" cy="3526460"/>
            </a:xfrm>
          </p:grpSpPr>
          <p:sp>
            <p:nvSpPr>
              <p:cNvPr id="579" name="Rectangle 578"/>
              <p:cNvSpPr/>
              <p:nvPr/>
            </p:nvSpPr>
            <p:spPr bwMode="auto">
              <a:xfrm>
                <a:off x="607549" y="600842"/>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80"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81" name="Trapezoid 302"/>
              <p:cNvSpPr/>
              <p:nvPr/>
            </p:nvSpPr>
            <p:spPr bwMode="auto">
              <a:xfrm rot="5400000" flipH="1">
                <a:off x="-758896" y="2766596"/>
                <a:ext cx="2234395" cy="48701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grpSp>
        <p:nvGrpSpPr>
          <p:cNvPr id="13" name="Group 12"/>
          <p:cNvGrpSpPr/>
          <p:nvPr/>
        </p:nvGrpSpPr>
        <p:grpSpPr>
          <a:xfrm>
            <a:off x="10681423" y="1420440"/>
            <a:ext cx="1270235" cy="1508563"/>
            <a:chOff x="831806" y="2003382"/>
            <a:chExt cx="1002800" cy="1337563"/>
          </a:xfrm>
        </p:grpSpPr>
        <p:sp>
          <p:nvSpPr>
            <p:cNvPr id="575" name="Rectangle 574"/>
            <p:cNvSpPr/>
            <p:nvPr/>
          </p:nvSpPr>
          <p:spPr bwMode="auto">
            <a:xfrm>
              <a:off x="858986" y="2003382"/>
              <a:ext cx="975620" cy="1337563"/>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91414" rIns="91414" bIns="9141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3748"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w="3175">
                    <a:noFill/>
                  </a:ln>
                  <a:solidFill>
                    <a:srgbClr val="FFFFFF"/>
                  </a:solidFill>
                  <a:effectLst/>
                  <a:uLnTx/>
                  <a:uFillTx/>
                  <a:latin typeface="Century Gothic" panose="020F0302020204030204"/>
                  <a:ea typeface="+mn-ea"/>
                  <a:cs typeface="Arial" charset="0"/>
                </a:rPr>
                <a:t>I can see my production line status and recommend adjustments to  better manage operational cost.</a:t>
              </a:r>
            </a:p>
          </p:txBody>
        </p:sp>
        <p:cxnSp>
          <p:nvCxnSpPr>
            <p:cNvPr id="576" name="Straight Connector 575"/>
            <p:cNvCxnSpPr/>
            <p:nvPr/>
          </p:nvCxnSpPr>
          <p:spPr>
            <a:xfrm flipV="1">
              <a:off x="831806" y="2009918"/>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4" name="Group 13"/>
          <p:cNvGrpSpPr/>
          <p:nvPr/>
        </p:nvGrpSpPr>
        <p:grpSpPr>
          <a:xfrm>
            <a:off x="10681424" y="4504080"/>
            <a:ext cx="1235492" cy="1535649"/>
            <a:chOff x="831806" y="4946414"/>
            <a:chExt cx="1002800" cy="1490908"/>
          </a:xfrm>
        </p:grpSpPr>
        <p:sp>
          <p:nvSpPr>
            <p:cNvPr id="573" name="Rectangle 572"/>
            <p:cNvSpPr/>
            <p:nvPr/>
          </p:nvSpPr>
          <p:spPr bwMode="auto">
            <a:xfrm>
              <a:off x="831806" y="4946414"/>
              <a:ext cx="1002800" cy="149090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91414" rIns="91414" bIns="9141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374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entury Gothic" panose="020F0302020204030204"/>
                  <a:ea typeface="+mn-ea"/>
                  <a:cs typeface="+mn-cs"/>
                </a:rPr>
                <a:t>I know when to deploy the right resources for predictive maintenance.</a:t>
              </a:r>
              <a:endParaRPr kumimoji="0" lang="en-US" sz="1200" b="0" i="0" u="none" strike="noStrike" kern="1200" cap="none" spc="0" normalizeH="0" baseline="0" noProof="0" dirty="0">
                <a:ln w="3175">
                  <a:noFill/>
                </a:ln>
                <a:solidFill>
                  <a:srgbClr val="FFFFFF"/>
                </a:solidFill>
                <a:effectLst/>
                <a:uLnTx/>
                <a:uFillTx/>
                <a:latin typeface="Century Gothic" panose="020F0302020204030204"/>
                <a:ea typeface="+mn-ea"/>
                <a:cs typeface="Arial" charset="0"/>
              </a:endParaRPr>
            </a:p>
          </p:txBody>
        </p:sp>
        <p:cxnSp>
          <p:nvCxnSpPr>
            <p:cNvPr id="574" name="Straight Connector 573"/>
            <p:cNvCxnSpPr/>
            <p:nvPr/>
          </p:nvCxnSpPr>
          <p:spPr>
            <a:xfrm flipV="1">
              <a:off x="831806" y="5064344"/>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 name="Group 14"/>
          <p:cNvGrpSpPr/>
          <p:nvPr/>
        </p:nvGrpSpPr>
        <p:grpSpPr>
          <a:xfrm>
            <a:off x="10681422" y="2981607"/>
            <a:ext cx="1255374" cy="1496474"/>
            <a:chOff x="831804" y="3430296"/>
            <a:chExt cx="1018938" cy="1452874"/>
          </a:xfrm>
        </p:grpSpPr>
        <p:sp>
          <p:nvSpPr>
            <p:cNvPr id="571" name="Rectangle 570"/>
            <p:cNvSpPr/>
            <p:nvPr/>
          </p:nvSpPr>
          <p:spPr bwMode="auto">
            <a:xfrm>
              <a:off x="831804" y="3430296"/>
              <a:ext cx="1018938" cy="1452874"/>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91414" rIns="91414" bIns="9141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374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entury Gothic" panose="020F0302020204030204"/>
                  <a:ea typeface="+mn-ea"/>
                  <a:cs typeface="+mn-cs"/>
                </a:rPr>
                <a:t>I gain insight into usage patterns from multiple customers and track equipment performance.</a:t>
              </a:r>
              <a:endParaRPr kumimoji="0" lang="en-US" sz="1200" b="0" i="0" u="none" strike="noStrike" kern="1200" cap="none" spc="0" normalizeH="0" baseline="0" noProof="0" dirty="0">
                <a:ln w="3175">
                  <a:noFill/>
                </a:ln>
                <a:solidFill>
                  <a:srgbClr val="FFFFFF"/>
                </a:solidFill>
                <a:effectLst/>
                <a:uLnTx/>
                <a:uFillTx/>
                <a:latin typeface="Segoe UI Light"/>
                <a:ea typeface="+mn-ea"/>
                <a:cs typeface="Arial" charset="0"/>
              </a:endParaRPr>
            </a:p>
          </p:txBody>
        </p:sp>
        <p:cxnSp>
          <p:nvCxnSpPr>
            <p:cNvPr id="572" name="Straight Connector 571"/>
            <p:cNvCxnSpPr/>
            <p:nvPr/>
          </p:nvCxnSpPr>
          <p:spPr>
            <a:xfrm flipV="1">
              <a:off x="831806" y="3541921"/>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6" name="Group 15"/>
          <p:cNvGrpSpPr/>
          <p:nvPr/>
        </p:nvGrpSpPr>
        <p:grpSpPr>
          <a:xfrm>
            <a:off x="10234273" y="2144078"/>
            <a:ext cx="407561" cy="707172"/>
            <a:chOff x="10207721" y="2573943"/>
            <a:chExt cx="407677" cy="707372"/>
          </a:xfrm>
        </p:grpSpPr>
        <p:grpSp>
          <p:nvGrpSpPr>
            <p:cNvPr id="557" name="Group 556"/>
            <p:cNvGrpSpPr/>
            <p:nvPr/>
          </p:nvGrpSpPr>
          <p:grpSpPr>
            <a:xfrm>
              <a:off x="10207721" y="2573943"/>
              <a:ext cx="311545" cy="707372"/>
              <a:chOff x="309086" y="5345226"/>
              <a:chExt cx="311545" cy="707372"/>
            </a:xfrm>
          </p:grpSpPr>
          <p:sp>
            <p:nvSpPr>
              <p:cNvPr id="565" name="Freeform 564"/>
              <p:cNvSpPr>
                <a:spLocks/>
              </p:cNvSpPr>
              <p:nvPr/>
            </p:nvSpPr>
            <p:spPr bwMode="auto">
              <a:xfrm>
                <a:off x="309086" y="5489141"/>
                <a:ext cx="255618" cy="563457"/>
              </a:xfrm>
              <a:custGeom>
                <a:avLst/>
                <a:gdLst>
                  <a:gd name="T0" fmla="*/ 1366 w 1586"/>
                  <a:gd name="T1" fmla="*/ 120 h 3496"/>
                  <a:gd name="T2" fmla="*/ 1247 w 1586"/>
                  <a:gd name="T3" fmla="*/ 64 h 3496"/>
                  <a:gd name="T4" fmla="*/ 1023 w 1586"/>
                  <a:gd name="T5" fmla="*/ 0 h 3496"/>
                  <a:gd name="T6" fmla="*/ 489 w 1586"/>
                  <a:gd name="T7" fmla="*/ 30 h 3496"/>
                  <a:gd name="T8" fmla="*/ 249 w 1586"/>
                  <a:gd name="T9" fmla="*/ 136 h 3496"/>
                  <a:gd name="T10" fmla="*/ 126 w 1586"/>
                  <a:gd name="T11" fmla="*/ 222 h 3496"/>
                  <a:gd name="T12" fmla="*/ 106 w 1586"/>
                  <a:gd name="T13" fmla="*/ 261 h 3496"/>
                  <a:gd name="T14" fmla="*/ 62 w 1586"/>
                  <a:gd name="T15" fmla="*/ 441 h 3496"/>
                  <a:gd name="T16" fmla="*/ 54 w 1586"/>
                  <a:gd name="T17" fmla="*/ 605 h 3496"/>
                  <a:gd name="T18" fmla="*/ 18 w 1586"/>
                  <a:gd name="T19" fmla="*/ 1139 h 3496"/>
                  <a:gd name="T20" fmla="*/ 2 w 1586"/>
                  <a:gd name="T21" fmla="*/ 1549 h 3496"/>
                  <a:gd name="T22" fmla="*/ 4 w 1586"/>
                  <a:gd name="T23" fmla="*/ 1632 h 3496"/>
                  <a:gd name="T24" fmla="*/ 32 w 1586"/>
                  <a:gd name="T25" fmla="*/ 1698 h 3496"/>
                  <a:gd name="T26" fmla="*/ 78 w 1586"/>
                  <a:gd name="T27" fmla="*/ 1732 h 3496"/>
                  <a:gd name="T28" fmla="*/ 124 w 1586"/>
                  <a:gd name="T29" fmla="*/ 1738 h 3496"/>
                  <a:gd name="T30" fmla="*/ 178 w 1586"/>
                  <a:gd name="T31" fmla="*/ 1724 h 3496"/>
                  <a:gd name="T32" fmla="*/ 217 w 1586"/>
                  <a:gd name="T33" fmla="*/ 1690 h 3496"/>
                  <a:gd name="T34" fmla="*/ 239 w 1586"/>
                  <a:gd name="T35" fmla="*/ 1634 h 3496"/>
                  <a:gd name="T36" fmla="*/ 245 w 1586"/>
                  <a:gd name="T37" fmla="*/ 1473 h 3496"/>
                  <a:gd name="T38" fmla="*/ 291 w 1586"/>
                  <a:gd name="T39" fmla="*/ 856 h 3496"/>
                  <a:gd name="T40" fmla="*/ 323 w 1586"/>
                  <a:gd name="T41" fmla="*/ 635 h 3496"/>
                  <a:gd name="T42" fmla="*/ 331 w 1586"/>
                  <a:gd name="T43" fmla="*/ 1193 h 3496"/>
                  <a:gd name="T44" fmla="*/ 321 w 1586"/>
                  <a:gd name="T45" fmla="*/ 1355 h 3496"/>
                  <a:gd name="T46" fmla="*/ 297 w 1586"/>
                  <a:gd name="T47" fmla="*/ 1616 h 3496"/>
                  <a:gd name="T48" fmla="*/ 311 w 1586"/>
                  <a:gd name="T49" fmla="*/ 1808 h 3496"/>
                  <a:gd name="T50" fmla="*/ 343 w 1586"/>
                  <a:gd name="T51" fmla="*/ 2039 h 3496"/>
                  <a:gd name="T52" fmla="*/ 359 w 1586"/>
                  <a:gd name="T53" fmla="*/ 2399 h 3496"/>
                  <a:gd name="T54" fmla="*/ 341 w 1586"/>
                  <a:gd name="T55" fmla="*/ 2953 h 3496"/>
                  <a:gd name="T56" fmla="*/ 333 w 1586"/>
                  <a:gd name="T57" fmla="*/ 3312 h 3496"/>
                  <a:gd name="T58" fmla="*/ 341 w 1586"/>
                  <a:gd name="T59" fmla="*/ 3374 h 3496"/>
                  <a:gd name="T60" fmla="*/ 367 w 1586"/>
                  <a:gd name="T61" fmla="*/ 3424 h 3496"/>
                  <a:gd name="T62" fmla="*/ 457 w 1586"/>
                  <a:gd name="T63" fmla="*/ 3484 h 3496"/>
                  <a:gd name="T64" fmla="*/ 573 w 1586"/>
                  <a:gd name="T65" fmla="*/ 3492 h 3496"/>
                  <a:gd name="T66" fmla="*/ 678 w 1586"/>
                  <a:gd name="T67" fmla="*/ 3444 h 3496"/>
                  <a:gd name="T68" fmla="*/ 710 w 1586"/>
                  <a:gd name="T69" fmla="*/ 3334 h 3496"/>
                  <a:gd name="T70" fmla="*/ 726 w 1586"/>
                  <a:gd name="T71" fmla="*/ 3143 h 3496"/>
                  <a:gd name="T72" fmla="*/ 724 w 1586"/>
                  <a:gd name="T73" fmla="*/ 1736 h 3496"/>
                  <a:gd name="T74" fmla="*/ 812 w 1586"/>
                  <a:gd name="T75" fmla="*/ 2542 h 3496"/>
                  <a:gd name="T76" fmla="*/ 816 w 1586"/>
                  <a:gd name="T77" fmla="*/ 3350 h 3496"/>
                  <a:gd name="T78" fmla="*/ 838 w 1586"/>
                  <a:gd name="T79" fmla="*/ 3420 h 3496"/>
                  <a:gd name="T80" fmla="*/ 884 w 1586"/>
                  <a:gd name="T81" fmla="*/ 3466 h 3496"/>
                  <a:gd name="T82" fmla="*/ 948 w 1586"/>
                  <a:gd name="T83" fmla="*/ 3490 h 3496"/>
                  <a:gd name="T84" fmla="*/ 1017 w 1586"/>
                  <a:gd name="T85" fmla="*/ 3492 h 3496"/>
                  <a:gd name="T86" fmla="*/ 1083 w 1586"/>
                  <a:gd name="T87" fmla="*/ 3474 h 3496"/>
                  <a:gd name="T88" fmla="*/ 1141 w 1586"/>
                  <a:gd name="T89" fmla="*/ 3436 h 3496"/>
                  <a:gd name="T90" fmla="*/ 1179 w 1586"/>
                  <a:gd name="T91" fmla="*/ 3380 h 3496"/>
                  <a:gd name="T92" fmla="*/ 1187 w 1586"/>
                  <a:gd name="T93" fmla="*/ 3308 h 3496"/>
                  <a:gd name="T94" fmla="*/ 1179 w 1586"/>
                  <a:gd name="T95" fmla="*/ 2935 h 3496"/>
                  <a:gd name="T96" fmla="*/ 1163 w 1586"/>
                  <a:gd name="T97" fmla="*/ 2369 h 3496"/>
                  <a:gd name="T98" fmla="*/ 1185 w 1586"/>
                  <a:gd name="T99" fmla="*/ 1997 h 3496"/>
                  <a:gd name="T100" fmla="*/ 1225 w 1586"/>
                  <a:gd name="T101" fmla="*/ 1764 h 3496"/>
                  <a:gd name="T102" fmla="*/ 1235 w 1586"/>
                  <a:gd name="T103" fmla="*/ 1584 h 3496"/>
                  <a:gd name="T104" fmla="*/ 1201 w 1586"/>
                  <a:gd name="T105" fmla="*/ 1327 h 3496"/>
                  <a:gd name="T106" fmla="*/ 1189 w 1586"/>
                  <a:gd name="T107" fmla="*/ 1173 h 3496"/>
                  <a:gd name="T108" fmla="*/ 1189 w 1586"/>
                  <a:gd name="T109" fmla="*/ 623 h 3496"/>
                  <a:gd name="T110" fmla="*/ 1299 w 1586"/>
                  <a:gd name="T111" fmla="*/ 1042 h 3496"/>
                  <a:gd name="T112" fmla="*/ 1351 w 1586"/>
                  <a:gd name="T113" fmla="*/ 1004 h 3496"/>
                  <a:gd name="T114" fmla="*/ 1476 w 1586"/>
                  <a:gd name="T115" fmla="*/ 844 h 3496"/>
                  <a:gd name="T116" fmla="*/ 1550 w 1586"/>
                  <a:gd name="T117" fmla="*/ 772 h 3496"/>
                  <a:gd name="T118" fmla="*/ 1586 w 1586"/>
                  <a:gd name="T119" fmla="*/ 760 h 3496"/>
                  <a:gd name="T120" fmla="*/ 1438 w 1586"/>
                  <a:gd name="T121" fmla="*/ 557 h 3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6" h="3496">
                    <a:moveTo>
                      <a:pt x="1438" y="557"/>
                    </a:moveTo>
                    <a:lnTo>
                      <a:pt x="1378" y="132"/>
                    </a:lnTo>
                    <a:lnTo>
                      <a:pt x="1378" y="132"/>
                    </a:lnTo>
                    <a:lnTo>
                      <a:pt x="1366" y="120"/>
                    </a:lnTo>
                    <a:lnTo>
                      <a:pt x="1351" y="110"/>
                    </a:lnTo>
                    <a:lnTo>
                      <a:pt x="1329" y="98"/>
                    </a:lnTo>
                    <a:lnTo>
                      <a:pt x="1305" y="86"/>
                    </a:lnTo>
                    <a:lnTo>
                      <a:pt x="1247" y="64"/>
                    </a:lnTo>
                    <a:lnTo>
                      <a:pt x="1185" y="44"/>
                    </a:lnTo>
                    <a:lnTo>
                      <a:pt x="1125" y="26"/>
                    </a:lnTo>
                    <a:lnTo>
                      <a:pt x="1073" y="12"/>
                    </a:lnTo>
                    <a:lnTo>
                      <a:pt x="1023" y="0"/>
                    </a:lnTo>
                    <a:lnTo>
                      <a:pt x="782" y="1046"/>
                    </a:lnTo>
                    <a:lnTo>
                      <a:pt x="561" y="4"/>
                    </a:lnTo>
                    <a:lnTo>
                      <a:pt x="561" y="4"/>
                    </a:lnTo>
                    <a:lnTo>
                      <a:pt x="489" y="30"/>
                    </a:lnTo>
                    <a:lnTo>
                      <a:pt x="417" y="60"/>
                    </a:lnTo>
                    <a:lnTo>
                      <a:pt x="333" y="96"/>
                    </a:lnTo>
                    <a:lnTo>
                      <a:pt x="291" y="116"/>
                    </a:lnTo>
                    <a:lnTo>
                      <a:pt x="249" y="136"/>
                    </a:lnTo>
                    <a:lnTo>
                      <a:pt x="211" y="158"/>
                    </a:lnTo>
                    <a:lnTo>
                      <a:pt x="178" y="180"/>
                    </a:lnTo>
                    <a:lnTo>
                      <a:pt x="148" y="202"/>
                    </a:lnTo>
                    <a:lnTo>
                      <a:pt x="126" y="222"/>
                    </a:lnTo>
                    <a:lnTo>
                      <a:pt x="118" y="232"/>
                    </a:lnTo>
                    <a:lnTo>
                      <a:pt x="112" y="242"/>
                    </a:lnTo>
                    <a:lnTo>
                      <a:pt x="108" y="252"/>
                    </a:lnTo>
                    <a:lnTo>
                      <a:pt x="106" y="261"/>
                    </a:lnTo>
                    <a:lnTo>
                      <a:pt x="80" y="333"/>
                    </a:lnTo>
                    <a:lnTo>
                      <a:pt x="80" y="333"/>
                    </a:lnTo>
                    <a:lnTo>
                      <a:pt x="68" y="399"/>
                    </a:lnTo>
                    <a:lnTo>
                      <a:pt x="62" y="441"/>
                    </a:lnTo>
                    <a:lnTo>
                      <a:pt x="58" y="467"/>
                    </a:lnTo>
                    <a:lnTo>
                      <a:pt x="58" y="467"/>
                    </a:lnTo>
                    <a:lnTo>
                      <a:pt x="58" y="537"/>
                    </a:lnTo>
                    <a:lnTo>
                      <a:pt x="54" y="605"/>
                    </a:lnTo>
                    <a:lnTo>
                      <a:pt x="48" y="742"/>
                    </a:lnTo>
                    <a:lnTo>
                      <a:pt x="38" y="876"/>
                    </a:lnTo>
                    <a:lnTo>
                      <a:pt x="28" y="1008"/>
                    </a:lnTo>
                    <a:lnTo>
                      <a:pt x="18" y="1139"/>
                    </a:lnTo>
                    <a:lnTo>
                      <a:pt x="8" y="1273"/>
                    </a:lnTo>
                    <a:lnTo>
                      <a:pt x="2" y="1409"/>
                    </a:lnTo>
                    <a:lnTo>
                      <a:pt x="2" y="1479"/>
                    </a:lnTo>
                    <a:lnTo>
                      <a:pt x="2" y="1549"/>
                    </a:lnTo>
                    <a:lnTo>
                      <a:pt x="2" y="1549"/>
                    </a:lnTo>
                    <a:lnTo>
                      <a:pt x="0" y="1574"/>
                    </a:lnTo>
                    <a:lnTo>
                      <a:pt x="0" y="1602"/>
                    </a:lnTo>
                    <a:lnTo>
                      <a:pt x="4" y="1632"/>
                    </a:lnTo>
                    <a:lnTo>
                      <a:pt x="12" y="1660"/>
                    </a:lnTo>
                    <a:lnTo>
                      <a:pt x="18" y="1674"/>
                    </a:lnTo>
                    <a:lnTo>
                      <a:pt x="24" y="1686"/>
                    </a:lnTo>
                    <a:lnTo>
                      <a:pt x="32" y="1698"/>
                    </a:lnTo>
                    <a:lnTo>
                      <a:pt x="42" y="1710"/>
                    </a:lnTo>
                    <a:lnTo>
                      <a:pt x="52" y="1718"/>
                    </a:lnTo>
                    <a:lnTo>
                      <a:pt x="64" y="1726"/>
                    </a:lnTo>
                    <a:lnTo>
                      <a:pt x="78" y="1732"/>
                    </a:lnTo>
                    <a:lnTo>
                      <a:pt x="94" y="1736"/>
                    </a:lnTo>
                    <a:lnTo>
                      <a:pt x="94" y="1736"/>
                    </a:lnTo>
                    <a:lnTo>
                      <a:pt x="110" y="1738"/>
                    </a:lnTo>
                    <a:lnTo>
                      <a:pt x="124" y="1738"/>
                    </a:lnTo>
                    <a:lnTo>
                      <a:pt x="138" y="1736"/>
                    </a:lnTo>
                    <a:lnTo>
                      <a:pt x="152" y="1734"/>
                    </a:lnTo>
                    <a:lnTo>
                      <a:pt x="166" y="1730"/>
                    </a:lnTo>
                    <a:lnTo>
                      <a:pt x="178" y="1724"/>
                    </a:lnTo>
                    <a:lnTo>
                      <a:pt x="190" y="1718"/>
                    </a:lnTo>
                    <a:lnTo>
                      <a:pt x="199" y="1710"/>
                    </a:lnTo>
                    <a:lnTo>
                      <a:pt x="207" y="1700"/>
                    </a:lnTo>
                    <a:lnTo>
                      <a:pt x="217" y="1690"/>
                    </a:lnTo>
                    <a:lnTo>
                      <a:pt x="223" y="1678"/>
                    </a:lnTo>
                    <a:lnTo>
                      <a:pt x="229" y="1664"/>
                    </a:lnTo>
                    <a:lnTo>
                      <a:pt x="235" y="1650"/>
                    </a:lnTo>
                    <a:lnTo>
                      <a:pt x="239" y="1634"/>
                    </a:lnTo>
                    <a:lnTo>
                      <a:pt x="241" y="1618"/>
                    </a:lnTo>
                    <a:lnTo>
                      <a:pt x="241" y="1600"/>
                    </a:lnTo>
                    <a:lnTo>
                      <a:pt x="241" y="1600"/>
                    </a:lnTo>
                    <a:lnTo>
                      <a:pt x="245" y="1473"/>
                    </a:lnTo>
                    <a:lnTo>
                      <a:pt x="253" y="1323"/>
                    </a:lnTo>
                    <a:lnTo>
                      <a:pt x="265" y="1161"/>
                    </a:lnTo>
                    <a:lnTo>
                      <a:pt x="277" y="1002"/>
                    </a:lnTo>
                    <a:lnTo>
                      <a:pt x="291" y="856"/>
                    </a:lnTo>
                    <a:lnTo>
                      <a:pt x="305" y="738"/>
                    </a:lnTo>
                    <a:lnTo>
                      <a:pt x="313" y="692"/>
                    </a:lnTo>
                    <a:lnTo>
                      <a:pt x="319" y="657"/>
                    </a:lnTo>
                    <a:lnTo>
                      <a:pt x="323" y="635"/>
                    </a:lnTo>
                    <a:lnTo>
                      <a:pt x="327" y="629"/>
                    </a:lnTo>
                    <a:lnTo>
                      <a:pt x="329" y="627"/>
                    </a:lnTo>
                    <a:lnTo>
                      <a:pt x="329" y="627"/>
                    </a:lnTo>
                    <a:lnTo>
                      <a:pt x="331" y="1193"/>
                    </a:lnTo>
                    <a:lnTo>
                      <a:pt x="331" y="1193"/>
                    </a:lnTo>
                    <a:lnTo>
                      <a:pt x="329" y="1237"/>
                    </a:lnTo>
                    <a:lnTo>
                      <a:pt x="327" y="1277"/>
                    </a:lnTo>
                    <a:lnTo>
                      <a:pt x="321" y="1355"/>
                    </a:lnTo>
                    <a:lnTo>
                      <a:pt x="311" y="1427"/>
                    </a:lnTo>
                    <a:lnTo>
                      <a:pt x="303" y="1499"/>
                    </a:lnTo>
                    <a:lnTo>
                      <a:pt x="297" y="1574"/>
                    </a:lnTo>
                    <a:lnTo>
                      <a:pt x="297" y="1616"/>
                    </a:lnTo>
                    <a:lnTo>
                      <a:pt x="297" y="1658"/>
                    </a:lnTo>
                    <a:lnTo>
                      <a:pt x="299" y="1704"/>
                    </a:lnTo>
                    <a:lnTo>
                      <a:pt x="303" y="1754"/>
                    </a:lnTo>
                    <a:lnTo>
                      <a:pt x="311" y="1808"/>
                    </a:lnTo>
                    <a:lnTo>
                      <a:pt x="319" y="1866"/>
                    </a:lnTo>
                    <a:lnTo>
                      <a:pt x="319" y="1866"/>
                    </a:lnTo>
                    <a:lnTo>
                      <a:pt x="333" y="1952"/>
                    </a:lnTo>
                    <a:lnTo>
                      <a:pt x="343" y="2039"/>
                    </a:lnTo>
                    <a:lnTo>
                      <a:pt x="351" y="2127"/>
                    </a:lnTo>
                    <a:lnTo>
                      <a:pt x="355" y="2217"/>
                    </a:lnTo>
                    <a:lnTo>
                      <a:pt x="357" y="2307"/>
                    </a:lnTo>
                    <a:lnTo>
                      <a:pt x="359" y="2399"/>
                    </a:lnTo>
                    <a:lnTo>
                      <a:pt x="357" y="2490"/>
                    </a:lnTo>
                    <a:lnTo>
                      <a:pt x="355" y="2584"/>
                    </a:lnTo>
                    <a:lnTo>
                      <a:pt x="349" y="2768"/>
                    </a:lnTo>
                    <a:lnTo>
                      <a:pt x="341" y="2953"/>
                    </a:lnTo>
                    <a:lnTo>
                      <a:pt x="335" y="3135"/>
                    </a:lnTo>
                    <a:lnTo>
                      <a:pt x="333" y="3225"/>
                    </a:lnTo>
                    <a:lnTo>
                      <a:pt x="333" y="3312"/>
                    </a:lnTo>
                    <a:lnTo>
                      <a:pt x="333" y="3312"/>
                    </a:lnTo>
                    <a:lnTo>
                      <a:pt x="333" y="3328"/>
                    </a:lnTo>
                    <a:lnTo>
                      <a:pt x="333" y="3344"/>
                    </a:lnTo>
                    <a:lnTo>
                      <a:pt x="337" y="3360"/>
                    </a:lnTo>
                    <a:lnTo>
                      <a:pt x="341" y="3374"/>
                    </a:lnTo>
                    <a:lnTo>
                      <a:pt x="345" y="3388"/>
                    </a:lnTo>
                    <a:lnTo>
                      <a:pt x="351" y="3400"/>
                    </a:lnTo>
                    <a:lnTo>
                      <a:pt x="359" y="3412"/>
                    </a:lnTo>
                    <a:lnTo>
                      <a:pt x="367" y="3424"/>
                    </a:lnTo>
                    <a:lnTo>
                      <a:pt x="385" y="3444"/>
                    </a:lnTo>
                    <a:lnTo>
                      <a:pt x="407" y="3460"/>
                    </a:lnTo>
                    <a:lnTo>
                      <a:pt x="431" y="3474"/>
                    </a:lnTo>
                    <a:lnTo>
                      <a:pt x="457" y="3484"/>
                    </a:lnTo>
                    <a:lnTo>
                      <a:pt x="485" y="3492"/>
                    </a:lnTo>
                    <a:lnTo>
                      <a:pt x="515" y="3494"/>
                    </a:lnTo>
                    <a:lnTo>
                      <a:pt x="543" y="3496"/>
                    </a:lnTo>
                    <a:lnTo>
                      <a:pt x="573" y="3492"/>
                    </a:lnTo>
                    <a:lnTo>
                      <a:pt x="600" y="3486"/>
                    </a:lnTo>
                    <a:lnTo>
                      <a:pt x="628" y="3476"/>
                    </a:lnTo>
                    <a:lnTo>
                      <a:pt x="654" y="3462"/>
                    </a:lnTo>
                    <a:lnTo>
                      <a:pt x="678" y="3444"/>
                    </a:lnTo>
                    <a:lnTo>
                      <a:pt x="678" y="3444"/>
                    </a:lnTo>
                    <a:lnTo>
                      <a:pt x="692" y="3408"/>
                    </a:lnTo>
                    <a:lnTo>
                      <a:pt x="702" y="3372"/>
                    </a:lnTo>
                    <a:lnTo>
                      <a:pt x="710" y="3334"/>
                    </a:lnTo>
                    <a:lnTo>
                      <a:pt x="716" y="3296"/>
                    </a:lnTo>
                    <a:lnTo>
                      <a:pt x="722" y="3259"/>
                    </a:lnTo>
                    <a:lnTo>
                      <a:pt x="724" y="3219"/>
                    </a:lnTo>
                    <a:lnTo>
                      <a:pt x="726" y="3143"/>
                    </a:lnTo>
                    <a:lnTo>
                      <a:pt x="726" y="3143"/>
                    </a:lnTo>
                    <a:lnTo>
                      <a:pt x="724" y="2440"/>
                    </a:lnTo>
                    <a:lnTo>
                      <a:pt x="724" y="1736"/>
                    </a:lnTo>
                    <a:lnTo>
                      <a:pt x="724" y="1736"/>
                    </a:lnTo>
                    <a:lnTo>
                      <a:pt x="812" y="1736"/>
                    </a:lnTo>
                    <a:lnTo>
                      <a:pt x="812" y="1736"/>
                    </a:lnTo>
                    <a:lnTo>
                      <a:pt x="814" y="2139"/>
                    </a:lnTo>
                    <a:lnTo>
                      <a:pt x="812" y="2542"/>
                    </a:lnTo>
                    <a:lnTo>
                      <a:pt x="812" y="2947"/>
                    </a:lnTo>
                    <a:lnTo>
                      <a:pt x="814" y="3149"/>
                    </a:lnTo>
                    <a:lnTo>
                      <a:pt x="816" y="3350"/>
                    </a:lnTo>
                    <a:lnTo>
                      <a:pt x="816" y="3350"/>
                    </a:lnTo>
                    <a:lnTo>
                      <a:pt x="818" y="3370"/>
                    </a:lnTo>
                    <a:lnTo>
                      <a:pt x="824" y="3388"/>
                    </a:lnTo>
                    <a:lnTo>
                      <a:pt x="830" y="3404"/>
                    </a:lnTo>
                    <a:lnTo>
                      <a:pt x="838" y="3420"/>
                    </a:lnTo>
                    <a:lnTo>
                      <a:pt x="848" y="3434"/>
                    </a:lnTo>
                    <a:lnTo>
                      <a:pt x="858" y="3446"/>
                    </a:lnTo>
                    <a:lnTo>
                      <a:pt x="872" y="3458"/>
                    </a:lnTo>
                    <a:lnTo>
                      <a:pt x="884" y="3466"/>
                    </a:lnTo>
                    <a:lnTo>
                      <a:pt x="900" y="3474"/>
                    </a:lnTo>
                    <a:lnTo>
                      <a:pt x="914" y="3482"/>
                    </a:lnTo>
                    <a:lnTo>
                      <a:pt x="930" y="3486"/>
                    </a:lnTo>
                    <a:lnTo>
                      <a:pt x="948" y="3490"/>
                    </a:lnTo>
                    <a:lnTo>
                      <a:pt x="964" y="3492"/>
                    </a:lnTo>
                    <a:lnTo>
                      <a:pt x="981" y="3494"/>
                    </a:lnTo>
                    <a:lnTo>
                      <a:pt x="999" y="3494"/>
                    </a:lnTo>
                    <a:lnTo>
                      <a:pt x="1017" y="3492"/>
                    </a:lnTo>
                    <a:lnTo>
                      <a:pt x="1033" y="3490"/>
                    </a:lnTo>
                    <a:lnTo>
                      <a:pt x="1051" y="3486"/>
                    </a:lnTo>
                    <a:lnTo>
                      <a:pt x="1067" y="3480"/>
                    </a:lnTo>
                    <a:lnTo>
                      <a:pt x="1083" y="3474"/>
                    </a:lnTo>
                    <a:lnTo>
                      <a:pt x="1099" y="3466"/>
                    </a:lnTo>
                    <a:lnTo>
                      <a:pt x="1115" y="3456"/>
                    </a:lnTo>
                    <a:lnTo>
                      <a:pt x="1129" y="3446"/>
                    </a:lnTo>
                    <a:lnTo>
                      <a:pt x="1141" y="3436"/>
                    </a:lnTo>
                    <a:lnTo>
                      <a:pt x="1153" y="3424"/>
                    </a:lnTo>
                    <a:lnTo>
                      <a:pt x="1163" y="3410"/>
                    </a:lnTo>
                    <a:lnTo>
                      <a:pt x="1171" y="3396"/>
                    </a:lnTo>
                    <a:lnTo>
                      <a:pt x="1179" y="3380"/>
                    </a:lnTo>
                    <a:lnTo>
                      <a:pt x="1183" y="3364"/>
                    </a:lnTo>
                    <a:lnTo>
                      <a:pt x="1187" y="3346"/>
                    </a:lnTo>
                    <a:lnTo>
                      <a:pt x="1187" y="3326"/>
                    </a:lnTo>
                    <a:lnTo>
                      <a:pt x="1187" y="3308"/>
                    </a:lnTo>
                    <a:lnTo>
                      <a:pt x="1187" y="3308"/>
                    </a:lnTo>
                    <a:lnTo>
                      <a:pt x="1187" y="3215"/>
                    </a:lnTo>
                    <a:lnTo>
                      <a:pt x="1185" y="3123"/>
                    </a:lnTo>
                    <a:lnTo>
                      <a:pt x="1179" y="2935"/>
                    </a:lnTo>
                    <a:lnTo>
                      <a:pt x="1171" y="2746"/>
                    </a:lnTo>
                    <a:lnTo>
                      <a:pt x="1165" y="2558"/>
                    </a:lnTo>
                    <a:lnTo>
                      <a:pt x="1163" y="2464"/>
                    </a:lnTo>
                    <a:lnTo>
                      <a:pt x="1163" y="2369"/>
                    </a:lnTo>
                    <a:lnTo>
                      <a:pt x="1165" y="2275"/>
                    </a:lnTo>
                    <a:lnTo>
                      <a:pt x="1169" y="2183"/>
                    </a:lnTo>
                    <a:lnTo>
                      <a:pt x="1177" y="2089"/>
                    </a:lnTo>
                    <a:lnTo>
                      <a:pt x="1185" y="1997"/>
                    </a:lnTo>
                    <a:lnTo>
                      <a:pt x="1199" y="1906"/>
                    </a:lnTo>
                    <a:lnTo>
                      <a:pt x="1215" y="1816"/>
                    </a:lnTo>
                    <a:lnTo>
                      <a:pt x="1215" y="1816"/>
                    </a:lnTo>
                    <a:lnTo>
                      <a:pt x="1225" y="1764"/>
                    </a:lnTo>
                    <a:lnTo>
                      <a:pt x="1231" y="1716"/>
                    </a:lnTo>
                    <a:lnTo>
                      <a:pt x="1235" y="1670"/>
                    </a:lnTo>
                    <a:lnTo>
                      <a:pt x="1235" y="1626"/>
                    </a:lnTo>
                    <a:lnTo>
                      <a:pt x="1235" y="1584"/>
                    </a:lnTo>
                    <a:lnTo>
                      <a:pt x="1233" y="1547"/>
                    </a:lnTo>
                    <a:lnTo>
                      <a:pt x="1229" y="1509"/>
                    </a:lnTo>
                    <a:lnTo>
                      <a:pt x="1223" y="1471"/>
                    </a:lnTo>
                    <a:lnTo>
                      <a:pt x="1201" y="1327"/>
                    </a:lnTo>
                    <a:lnTo>
                      <a:pt x="1197" y="1291"/>
                    </a:lnTo>
                    <a:lnTo>
                      <a:pt x="1193" y="1253"/>
                    </a:lnTo>
                    <a:lnTo>
                      <a:pt x="1189" y="1213"/>
                    </a:lnTo>
                    <a:lnTo>
                      <a:pt x="1189" y="1173"/>
                    </a:lnTo>
                    <a:lnTo>
                      <a:pt x="1189" y="1173"/>
                    </a:lnTo>
                    <a:lnTo>
                      <a:pt x="1191" y="623"/>
                    </a:lnTo>
                    <a:lnTo>
                      <a:pt x="1191" y="623"/>
                    </a:lnTo>
                    <a:lnTo>
                      <a:pt x="1189" y="623"/>
                    </a:lnTo>
                    <a:lnTo>
                      <a:pt x="1189" y="625"/>
                    </a:lnTo>
                    <a:lnTo>
                      <a:pt x="1191" y="639"/>
                    </a:lnTo>
                    <a:lnTo>
                      <a:pt x="1207" y="708"/>
                    </a:lnTo>
                    <a:lnTo>
                      <a:pt x="1299" y="1042"/>
                    </a:lnTo>
                    <a:lnTo>
                      <a:pt x="1299" y="1042"/>
                    </a:lnTo>
                    <a:lnTo>
                      <a:pt x="1317" y="1034"/>
                    </a:lnTo>
                    <a:lnTo>
                      <a:pt x="1333" y="1020"/>
                    </a:lnTo>
                    <a:lnTo>
                      <a:pt x="1351" y="1004"/>
                    </a:lnTo>
                    <a:lnTo>
                      <a:pt x="1368" y="984"/>
                    </a:lnTo>
                    <a:lnTo>
                      <a:pt x="1404" y="940"/>
                    </a:lnTo>
                    <a:lnTo>
                      <a:pt x="1440" y="892"/>
                    </a:lnTo>
                    <a:lnTo>
                      <a:pt x="1476" y="844"/>
                    </a:lnTo>
                    <a:lnTo>
                      <a:pt x="1494" y="822"/>
                    </a:lnTo>
                    <a:lnTo>
                      <a:pt x="1512" y="802"/>
                    </a:lnTo>
                    <a:lnTo>
                      <a:pt x="1532" y="786"/>
                    </a:lnTo>
                    <a:lnTo>
                      <a:pt x="1550" y="772"/>
                    </a:lnTo>
                    <a:lnTo>
                      <a:pt x="1568" y="764"/>
                    </a:lnTo>
                    <a:lnTo>
                      <a:pt x="1576" y="762"/>
                    </a:lnTo>
                    <a:lnTo>
                      <a:pt x="1586" y="760"/>
                    </a:lnTo>
                    <a:lnTo>
                      <a:pt x="1586" y="760"/>
                    </a:lnTo>
                    <a:lnTo>
                      <a:pt x="1586" y="756"/>
                    </a:lnTo>
                    <a:lnTo>
                      <a:pt x="1586" y="750"/>
                    </a:lnTo>
                    <a:lnTo>
                      <a:pt x="1422" y="718"/>
                    </a:lnTo>
                    <a:lnTo>
                      <a:pt x="1438" y="557"/>
                    </a:lnTo>
                    <a:close/>
                  </a:path>
                </a:pathLst>
              </a:custGeom>
              <a:solidFill>
                <a:schemeClr val="bg1"/>
              </a:solid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66" name="Freeform 565"/>
              <p:cNvSpPr>
                <a:spLocks/>
              </p:cNvSpPr>
              <p:nvPr/>
            </p:nvSpPr>
            <p:spPr bwMode="auto">
              <a:xfrm>
                <a:off x="559225" y="5493976"/>
                <a:ext cx="61406" cy="60117"/>
              </a:xfrm>
              <a:custGeom>
                <a:avLst/>
                <a:gdLst>
                  <a:gd name="T0" fmla="*/ 16 w 381"/>
                  <a:gd name="T1" fmla="*/ 357 h 373"/>
                  <a:gd name="T2" fmla="*/ 16 w 381"/>
                  <a:gd name="T3" fmla="*/ 357 h 373"/>
                  <a:gd name="T4" fmla="*/ 34 w 381"/>
                  <a:gd name="T5" fmla="*/ 333 h 373"/>
                  <a:gd name="T6" fmla="*/ 56 w 381"/>
                  <a:gd name="T7" fmla="*/ 303 h 373"/>
                  <a:gd name="T8" fmla="*/ 56 w 381"/>
                  <a:gd name="T9" fmla="*/ 303 h 373"/>
                  <a:gd name="T10" fmla="*/ 66 w 381"/>
                  <a:gd name="T11" fmla="*/ 295 h 373"/>
                  <a:gd name="T12" fmla="*/ 76 w 381"/>
                  <a:gd name="T13" fmla="*/ 285 h 373"/>
                  <a:gd name="T14" fmla="*/ 92 w 381"/>
                  <a:gd name="T15" fmla="*/ 273 h 373"/>
                  <a:gd name="T16" fmla="*/ 110 w 381"/>
                  <a:gd name="T17" fmla="*/ 261 h 373"/>
                  <a:gd name="T18" fmla="*/ 130 w 381"/>
                  <a:gd name="T19" fmla="*/ 251 h 373"/>
                  <a:gd name="T20" fmla="*/ 154 w 381"/>
                  <a:gd name="T21" fmla="*/ 245 h 373"/>
                  <a:gd name="T22" fmla="*/ 168 w 381"/>
                  <a:gd name="T23" fmla="*/ 243 h 373"/>
                  <a:gd name="T24" fmla="*/ 182 w 381"/>
                  <a:gd name="T25" fmla="*/ 243 h 373"/>
                  <a:gd name="T26" fmla="*/ 182 w 381"/>
                  <a:gd name="T27" fmla="*/ 243 h 373"/>
                  <a:gd name="T28" fmla="*/ 201 w 381"/>
                  <a:gd name="T29" fmla="*/ 243 h 373"/>
                  <a:gd name="T30" fmla="*/ 219 w 381"/>
                  <a:gd name="T31" fmla="*/ 247 h 373"/>
                  <a:gd name="T32" fmla="*/ 235 w 381"/>
                  <a:gd name="T33" fmla="*/ 253 h 373"/>
                  <a:gd name="T34" fmla="*/ 235 w 381"/>
                  <a:gd name="T35" fmla="*/ 253 h 373"/>
                  <a:gd name="T36" fmla="*/ 289 w 381"/>
                  <a:gd name="T37" fmla="*/ 279 h 373"/>
                  <a:gd name="T38" fmla="*/ 289 w 381"/>
                  <a:gd name="T39" fmla="*/ 279 h 373"/>
                  <a:gd name="T40" fmla="*/ 299 w 381"/>
                  <a:gd name="T41" fmla="*/ 281 h 373"/>
                  <a:gd name="T42" fmla="*/ 313 w 381"/>
                  <a:gd name="T43" fmla="*/ 279 h 373"/>
                  <a:gd name="T44" fmla="*/ 319 w 381"/>
                  <a:gd name="T45" fmla="*/ 277 h 373"/>
                  <a:gd name="T46" fmla="*/ 325 w 381"/>
                  <a:gd name="T47" fmla="*/ 273 h 373"/>
                  <a:gd name="T48" fmla="*/ 329 w 381"/>
                  <a:gd name="T49" fmla="*/ 267 h 373"/>
                  <a:gd name="T50" fmla="*/ 333 w 381"/>
                  <a:gd name="T51" fmla="*/ 259 h 373"/>
                  <a:gd name="T52" fmla="*/ 379 w 381"/>
                  <a:gd name="T53" fmla="*/ 114 h 373"/>
                  <a:gd name="T54" fmla="*/ 379 w 381"/>
                  <a:gd name="T55" fmla="*/ 114 h 373"/>
                  <a:gd name="T56" fmla="*/ 381 w 381"/>
                  <a:gd name="T57" fmla="*/ 106 h 373"/>
                  <a:gd name="T58" fmla="*/ 381 w 381"/>
                  <a:gd name="T59" fmla="*/ 96 h 373"/>
                  <a:gd name="T60" fmla="*/ 379 w 381"/>
                  <a:gd name="T61" fmla="*/ 90 h 373"/>
                  <a:gd name="T62" fmla="*/ 377 w 381"/>
                  <a:gd name="T63" fmla="*/ 82 h 373"/>
                  <a:gd name="T64" fmla="*/ 373 w 381"/>
                  <a:gd name="T65" fmla="*/ 76 h 373"/>
                  <a:gd name="T66" fmla="*/ 367 w 381"/>
                  <a:gd name="T67" fmla="*/ 70 h 373"/>
                  <a:gd name="T68" fmla="*/ 359 w 381"/>
                  <a:gd name="T69" fmla="*/ 66 h 373"/>
                  <a:gd name="T70" fmla="*/ 353 w 381"/>
                  <a:gd name="T71" fmla="*/ 62 h 373"/>
                  <a:gd name="T72" fmla="*/ 158 w 381"/>
                  <a:gd name="T73" fmla="*/ 0 h 373"/>
                  <a:gd name="T74" fmla="*/ 158 w 381"/>
                  <a:gd name="T75" fmla="*/ 0 h 373"/>
                  <a:gd name="T76" fmla="*/ 150 w 381"/>
                  <a:gd name="T77" fmla="*/ 0 h 373"/>
                  <a:gd name="T78" fmla="*/ 142 w 381"/>
                  <a:gd name="T79" fmla="*/ 0 h 373"/>
                  <a:gd name="T80" fmla="*/ 134 w 381"/>
                  <a:gd name="T81" fmla="*/ 0 h 373"/>
                  <a:gd name="T82" fmla="*/ 126 w 381"/>
                  <a:gd name="T83" fmla="*/ 4 h 373"/>
                  <a:gd name="T84" fmla="*/ 120 w 381"/>
                  <a:gd name="T85" fmla="*/ 8 h 373"/>
                  <a:gd name="T86" fmla="*/ 114 w 381"/>
                  <a:gd name="T87" fmla="*/ 14 h 373"/>
                  <a:gd name="T88" fmla="*/ 110 w 381"/>
                  <a:gd name="T89" fmla="*/ 20 h 373"/>
                  <a:gd name="T90" fmla="*/ 106 w 381"/>
                  <a:gd name="T91" fmla="*/ 28 h 373"/>
                  <a:gd name="T92" fmla="*/ 2 w 381"/>
                  <a:gd name="T93" fmla="*/ 361 h 373"/>
                  <a:gd name="T94" fmla="*/ 2 w 381"/>
                  <a:gd name="T95" fmla="*/ 361 h 373"/>
                  <a:gd name="T96" fmla="*/ 0 w 381"/>
                  <a:gd name="T97" fmla="*/ 367 h 373"/>
                  <a:gd name="T98" fmla="*/ 0 w 381"/>
                  <a:gd name="T99" fmla="*/ 371 h 373"/>
                  <a:gd name="T100" fmla="*/ 2 w 381"/>
                  <a:gd name="T101" fmla="*/ 373 h 373"/>
                  <a:gd name="T102" fmla="*/ 4 w 381"/>
                  <a:gd name="T103" fmla="*/ 371 h 373"/>
                  <a:gd name="T104" fmla="*/ 10 w 381"/>
                  <a:gd name="T105" fmla="*/ 365 h 373"/>
                  <a:gd name="T106" fmla="*/ 16 w 381"/>
                  <a:gd name="T107" fmla="*/ 357 h 373"/>
                  <a:gd name="T108" fmla="*/ 16 w 381"/>
                  <a:gd name="T109" fmla="*/ 3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373">
                    <a:moveTo>
                      <a:pt x="16" y="357"/>
                    </a:moveTo>
                    <a:lnTo>
                      <a:pt x="16" y="357"/>
                    </a:lnTo>
                    <a:lnTo>
                      <a:pt x="34" y="333"/>
                    </a:lnTo>
                    <a:lnTo>
                      <a:pt x="56" y="303"/>
                    </a:lnTo>
                    <a:lnTo>
                      <a:pt x="56" y="303"/>
                    </a:lnTo>
                    <a:lnTo>
                      <a:pt x="66" y="295"/>
                    </a:lnTo>
                    <a:lnTo>
                      <a:pt x="76" y="285"/>
                    </a:lnTo>
                    <a:lnTo>
                      <a:pt x="92" y="273"/>
                    </a:lnTo>
                    <a:lnTo>
                      <a:pt x="110" y="261"/>
                    </a:lnTo>
                    <a:lnTo>
                      <a:pt x="130" y="251"/>
                    </a:lnTo>
                    <a:lnTo>
                      <a:pt x="154" y="245"/>
                    </a:lnTo>
                    <a:lnTo>
                      <a:pt x="168" y="243"/>
                    </a:lnTo>
                    <a:lnTo>
                      <a:pt x="182" y="243"/>
                    </a:lnTo>
                    <a:lnTo>
                      <a:pt x="182" y="243"/>
                    </a:lnTo>
                    <a:lnTo>
                      <a:pt x="201" y="243"/>
                    </a:lnTo>
                    <a:lnTo>
                      <a:pt x="219" y="247"/>
                    </a:lnTo>
                    <a:lnTo>
                      <a:pt x="235" y="253"/>
                    </a:lnTo>
                    <a:lnTo>
                      <a:pt x="235" y="253"/>
                    </a:lnTo>
                    <a:lnTo>
                      <a:pt x="289" y="279"/>
                    </a:lnTo>
                    <a:lnTo>
                      <a:pt x="289" y="279"/>
                    </a:lnTo>
                    <a:lnTo>
                      <a:pt x="299" y="281"/>
                    </a:lnTo>
                    <a:lnTo>
                      <a:pt x="313" y="279"/>
                    </a:lnTo>
                    <a:lnTo>
                      <a:pt x="319" y="277"/>
                    </a:lnTo>
                    <a:lnTo>
                      <a:pt x="325" y="273"/>
                    </a:lnTo>
                    <a:lnTo>
                      <a:pt x="329" y="267"/>
                    </a:lnTo>
                    <a:lnTo>
                      <a:pt x="333" y="259"/>
                    </a:lnTo>
                    <a:lnTo>
                      <a:pt x="379" y="114"/>
                    </a:lnTo>
                    <a:lnTo>
                      <a:pt x="379" y="114"/>
                    </a:lnTo>
                    <a:lnTo>
                      <a:pt x="381" y="106"/>
                    </a:lnTo>
                    <a:lnTo>
                      <a:pt x="381" y="96"/>
                    </a:lnTo>
                    <a:lnTo>
                      <a:pt x="379" y="90"/>
                    </a:lnTo>
                    <a:lnTo>
                      <a:pt x="377" y="82"/>
                    </a:lnTo>
                    <a:lnTo>
                      <a:pt x="373" y="76"/>
                    </a:lnTo>
                    <a:lnTo>
                      <a:pt x="367" y="70"/>
                    </a:lnTo>
                    <a:lnTo>
                      <a:pt x="359" y="66"/>
                    </a:lnTo>
                    <a:lnTo>
                      <a:pt x="353" y="62"/>
                    </a:lnTo>
                    <a:lnTo>
                      <a:pt x="158" y="0"/>
                    </a:lnTo>
                    <a:lnTo>
                      <a:pt x="158" y="0"/>
                    </a:lnTo>
                    <a:lnTo>
                      <a:pt x="150" y="0"/>
                    </a:lnTo>
                    <a:lnTo>
                      <a:pt x="142" y="0"/>
                    </a:lnTo>
                    <a:lnTo>
                      <a:pt x="134" y="0"/>
                    </a:lnTo>
                    <a:lnTo>
                      <a:pt x="126" y="4"/>
                    </a:lnTo>
                    <a:lnTo>
                      <a:pt x="120" y="8"/>
                    </a:lnTo>
                    <a:lnTo>
                      <a:pt x="114" y="14"/>
                    </a:lnTo>
                    <a:lnTo>
                      <a:pt x="110" y="20"/>
                    </a:lnTo>
                    <a:lnTo>
                      <a:pt x="106" y="28"/>
                    </a:lnTo>
                    <a:lnTo>
                      <a:pt x="2" y="361"/>
                    </a:lnTo>
                    <a:lnTo>
                      <a:pt x="2" y="361"/>
                    </a:lnTo>
                    <a:lnTo>
                      <a:pt x="0" y="367"/>
                    </a:lnTo>
                    <a:lnTo>
                      <a:pt x="0" y="371"/>
                    </a:lnTo>
                    <a:lnTo>
                      <a:pt x="2" y="373"/>
                    </a:lnTo>
                    <a:lnTo>
                      <a:pt x="4" y="371"/>
                    </a:lnTo>
                    <a:lnTo>
                      <a:pt x="10" y="365"/>
                    </a:lnTo>
                    <a:lnTo>
                      <a:pt x="16" y="357"/>
                    </a:lnTo>
                    <a:lnTo>
                      <a:pt x="16" y="357"/>
                    </a:lnTo>
                    <a:close/>
                  </a:path>
                </a:pathLst>
              </a:custGeom>
              <a:solidFill>
                <a:schemeClr val="accent1"/>
              </a:solid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67" name="Freeform 566"/>
              <p:cNvSpPr>
                <a:spLocks/>
              </p:cNvSpPr>
              <p:nvPr/>
            </p:nvSpPr>
            <p:spPr bwMode="auto">
              <a:xfrm>
                <a:off x="527313" y="5542812"/>
                <a:ext cx="81392" cy="118139"/>
              </a:xfrm>
              <a:custGeom>
                <a:avLst/>
                <a:gdLst>
                  <a:gd name="T0" fmla="*/ 208 w 505"/>
                  <a:gd name="T1" fmla="*/ 733 h 733"/>
                  <a:gd name="T2" fmla="*/ 208 w 505"/>
                  <a:gd name="T3" fmla="*/ 733 h 733"/>
                  <a:gd name="T4" fmla="*/ 242 w 505"/>
                  <a:gd name="T5" fmla="*/ 675 h 733"/>
                  <a:gd name="T6" fmla="*/ 274 w 505"/>
                  <a:gd name="T7" fmla="*/ 615 h 733"/>
                  <a:gd name="T8" fmla="*/ 340 w 505"/>
                  <a:gd name="T9" fmla="*/ 489 h 733"/>
                  <a:gd name="T10" fmla="*/ 403 w 505"/>
                  <a:gd name="T11" fmla="*/ 361 h 733"/>
                  <a:gd name="T12" fmla="*/ 435 w 505"/>
                  <a:gd name="T13" fmla="*/ 302 h 733"/>
                  <a:gd name="T14" fmla="*/ 469 w 505"/>
                  <a:gd name="T15" fmla="*/ 244 h 733"/>
                  <a:gd name="T16" fmla="*/ 469 w 505"/>
                  <a:gd name="T17" fmla="*/ 244 h 733"/>
                  <a:gd name="T18" fmla="*/ 481 w 505"/>
                  <a:gd name="T19" fmla="*/ 222 h 733"/>
                  <a:gd name="T20" fmla="*/ 493 w 505"/>
                  <a:gd name="T21" fmla="*/ 194 h 733"/>
                  <a:gd name="T22" fmla="*/ 501 w 505"/>
                  <a:gd name="T23" fmla="*/ 162 h 733"/>
                  <a:gd name="T24" fmla="*/ 505 w 505"/>
                  <a:gd name="T25" fmla="*/ 146 h 733"/>
                  <a:gd name="T26" fmla="*/ 505 w 505"/>
                  <a:gd name="T27" fmla="*/ 128 h 733"/>
                  <a:gd name="T28" fmla="*/ 505 w 505"/>
                  <a:gd name="T29" fmla="*/ 112 h 733"/>
                  <a:gd name="T30" fmla="*/ 503 w 505"/>
                  <a:gd name="T31" fmla="*/ 96 h 733"/>
                  <a:gd name="T32" fmla="*/ 499 w 505"/>
                  <a:gd name="T33" fmla="*/ 80 h 733"/>
                  <a:gd name="T34" fmla="*/ 493 w 505"/>
                  <a:gd name="T35" fmla="*/ 66 h 733"/>
                  <a:gd name="T36" fmla="*/ 485 w 505"/>
                  <a:gd name="T37" fmla="*/ 52 h 733"/>
                  <a:gd name="T38" fmla="*/ 473 w 505"/>
                  <a:gd name="T39" fmla="*/ 40 h 733"/>
                  <a:gd name="T40" fmla="*/ 459 w 505"/>
                  <a:gd name="T41" fmla="*/ 28 h 733"/>
                  <a:gd name="T42" fmla="*/ 441 w 505"/>
                  <a:gd name="T43" fmla="*/ 20 h 733"/>
                  <a:gd name="T44" fmla="*/ 441 w 505"/>
                  <a:gd name="T45" fmla="*/ 20 h 733"/>
                  <a:gd name="T46" fmla="*/ 427 w 505"/>
                  <a:gd name="T47" fmla="*/ 12 h 733"/>
                  <a:gd name="T48" fmla="*/ 415 w 505"/>
                  <a:gd name="T49" fmla="*/ 6 h 733"/>
                  <a:gd name="T50" fmla="*/ 401 w 505"/>
                  <a:gd name="T51" fmla="*/ 2 h 733"/>
                  <a:gd name="T52" fmla="*/ 387 w 505"/>
                  <a:gd name="T53" fmla="*/ 0 h 733"/>
                  <a:gd name="T54" fmla="*/ 376 w 505"/>
                  <a:gd name="T55" fmla="*/ 0 h 733"/>
                  <a:gd name="T56" fmla="*/ 364 w 505"/>
                  <a:gd name="T57" fmla="*/ 0 h 733"/>
                  <a:gd name="T58" fmla="*/ 352 w 505"/>
                  <a:gd name="T59" fmla="*/ 4 h 733"/>
                  <a:gd name="T60" fmla="*/ 342 w 505"/>
                  <a:gd name="T61" fmla="*/ 8 h 733"/>
                  <a:gd name="T62" fmla="*/ 322 w 505"/>
                  <a:gd name="T63" fmla="*/ 18 h 733"/>
                  <a:gd name="T64" fmla="*/ 306 w 505"/>
                  <a:gd name="T65" fmla="*/ 32 h 733"/>
                  <a:gd name="T66" fmla="*/ 292 w 505"/>
                  <a:gd name="T67" fmla="*/ 46 h 733"/>
                  <a:gd name="T68" fmla="*/ 280 w 505"/>
                  <a:gd name="T69" fmla="*/ 62 h 733"/>
                  <a:gd name="T70" fmla="*/ 280 w 505"/>
                  <a:gd name="T71" fmla="*/ 62 h 733"/>
                  <a:gd name="T72" fmla="*/ 210 w 505"/>
                  <a:gd name="T73" fmla="*/ 176 h 733"/>
                  <a:gd name="T74" fmla="*/ 140 w 505"/>
                  <a:gd name="T75" fmla="*/ 290 h 733"/>
                  <a:gd name="T76" fmla="*/ 2 w 505"/>
                  <a:gd name="T77" fmla="*/ 517 h 733"/>
                  <a:gd name="T78" fmla="*/ 2 w 505"/>
                  <a:gd name="T79" fmla="*/ 517 h 733"/>
                  <a:gd name="T80" fmla="*/ 0 w 505"/>
                  <a:gd name="T81" fmla="*/ 517 h 733"/>
                  <a:gd name="T82" fmla="*/ 0 w 505"/>
                  <a:gd name="T83" fmla="*/ 517 h 733"/>
                  <a:gd name="T84" fmla="*/ 16 w 505"/>
                  <a:gd name="T85" fmla="*/ 527 h 733"/>
                  <a:gd name="T86" fmla="*/ 30 w 505"/>
                  <a:gd name="T87" fmla="*/ 539 h 733"/>
                  <a:gd name="T88" fmla="*/ 42 w 505"/>
                  <a:gd name="T89" fmla="*/ 551 h 733"/>
                  <a:gd name="T90" fmla="*/ 56 w 505"/>
                  <a:gd name="T91" fmla="*/ 567 h 733"/>
                  <a:gd name="T92" fmla="*/ 80 w 505"/>
                  <a:gd name="T93" fmla="*/ 599 h 733"/>
                  <a:gd name="T94" fmla="*/ 102 w 505"/>
                  <a:gd name="T95" fmla="*/ 631 h 733"/>
                  <a:gd name="T96" fmla="*/ 126 w 505"/>
                  <a:gd name="T97" fmla="*/ 665 h 733"/>
                  <a:gd name="T98" fmla="*/ 138 w 505"/>
                  <a:gd name="T99" fmla="*/ 679 h 733"/>
                  <a:gd name="T100" fmla="*/ 150 w 505"/>
                  <a:gd name="T101" fmla="*/ 693 h 733"/>
                  <a:gd name="T102" fmla="*/ 164 w 505"/>
                  <a:gd name="T103" fmla="*/ 707 h 733"/>
                  <a:gd name="T104" fmla="*/ 178 w 505"/>
                  <a:gd name="T105" fmla="*/ 717 h 733"/>
                  <a:gd name="T106" fmla="*/ 192 w 505"/>
                  <a:gd name="T107" fmla="*/ 727 h 733"/>
                  <a:gd name="T108" fmla="*/ 208 w 505"/>
                  <a:gd name="T109" fmla="*/ 733 h 733"/>
                  <a:gd name="T110" fmla="*/ 208 w 505"/>
                  <a:gd name="T111" fmla="*/ 7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5" h="733">
                    <a:moveTo>
                      <a:pt x="208" y="733"/>
                    </a:moveTo>
                    <a:lnTo>
                      <a:pt x="208" y="733"/>
                    </a:lnTo>
                    <a:lnTo>
                      <a:pt x="242" y="675"/>
                    </a:lnTo>
                    <a:lnTo>
                      <a:pt x="274" y="615"/>
                    </a:lnTo>
                    <a:lnTo>
                      <a:pt x="340" y="489"/>
                    </a:lnTo>
                    <a:lnTo>
                      <a:pt x="403" y="361"/>
                    </a:lnTo>
                    <a:lnTo>
                      <a:pt x="435" y="302"/>
                    </a:lnTo>
                    <a:lnTo>
                      <a:pt x="469" y="244"/>
                    </a:lnTo>
                    <a:lnTo>
                      <a:pt x="469" y="244"/>
                    </a:lnTo>
                    <a:lnTo>
                      <a:pt x="481" y="222"/>
                    </a:lnTo>
                    <a:lnTo>
                      <a:pt x="493" y="194"/>
                    </a:lnTo>
                    <a:lnTo>
                      <a:pt x="501" y="162"/>
                    </a:lnTo>
                    <a:lnTo>
                      <a:pt x="505" y="146"/>
                    </a:lnTo>
                    <a:lnTo>
                      <a:pt x="505" y="128"/>
                    </a:lnTo>
                    <a:lnTo>
                      <a:pt x="505" y="112"/>
                    </a:lnTo>
                    <a:lnTo>
                      <a:pt x="503" y="96"/>
                    </a:lnTo>
                    <a:lnTo>
                      <a:pt x="499" y="80"/>
                    </a:lnTo>
                    <a:lnTo>
                      <a:pt x="493" y="66"/>
                    </a:lnTo>
                    <a:lnTo>
                      <a:pt x="485" y="52"/>
                    </a:lnTo>
                    <a:lnTo>
                      <a:pt x="473" y="40"/>
                    </a:lnTo>
                    <a:lnTo>
                      <a:pt x="459" y="28"/>
                    </a:lnTo>
                    <a:lnTo>
                      <a:pt x="441" y="20"/>
                    </a:lnTo>
                    <a:lnTo>
                      <a:pt x="441" y="20"/>
                    </a:lnTo>
                    <a:lnTo>
                      <a:pt x="427" y="12"/>
                    </a:lnTo>
                    <a:lnTo>
                      <a:pt x="415" y="6"/>
                    </a:lnTo>
                    <a:lnTo>
                      <a:pt x="401" y="2"/>
                    </a:lnTo>
                    <a:lnTo>
                      <a:pt x="387" y="0"/>
                    </a:lnTo>
                    <a:lnTo>
                      <a:pt x="376" y="0"/>
                    </a:lnTo>
                    <a:lnTo>
                      <a:pt x="364" y="0"/>
                    </a:lnTo>
                    <a:lnTo>
                      <a:pt x="352" y="4"/>
                    </a:lnTo>
                    <a:lnTo>
                      <a:pt x="342" y="8"/>
                    </a:lnTo>
                    <a:lnTo>
                      <a:pt x="322" y="18"/>
                    </a:lnTo>
                    <a:lnTo>
                      <a:pt x="306" y="32"/>
                    </a:lnTo>
                    <a:lnTo>
                      <a:pt x="292" y="46"/>
                    </a:lnTo>
                    <a:lnTo>
                      <a:pt x="280" y="62"/>
                    </a:lnTo>
                    <a:lnTo>
                      <a:pt x="280" y="62"/>
                    </a:lnTo>
                    <a:lnTo>
                      <a:pt x="210" y="176"/>
                    </a:lnTo>
                    <a:lnTo>
                      <a:pt x="140" y="290"/>
                    </a:lnTo>
                    <a:lnTo>
                      <a:pt x="2" y="517"/>
                    </a:lnTo>
                    <a:lnTo>
                      <a:pt x="2" y="517"/>
                    </a:lnTo>
                    <a:lnTo>
                      <a:pt x="0" y="517"/>
                    </a:lnTo>
                    <a:lnTo>
                      <a:pt x="0" y="517"/>
                    </a:lnTo>
                    <a:lnTo>
                      <a:pt x="16" y="527"/>
                    </a:lnTo>
                    <a:lnTo>
                      <a:pt x="30" y="539"/>
                    </a:lnTo>
                    <a:lnTo>
                      <a:pt x="42" y="551"/>
                    </a:lnTo>
                    <a:lnTo>
                      <a:pt x="56" y="567"/>
                    </a:lnTo>
                    <a:lnTo>
                      <a:pt x="80" y="599"/>
                    </a:lnTo>
                    <a:lnTo>
                      <a:pt x="102" y="631"/>
                    </a:lnTo>
                    <a:lnTo>
                      <a:pt x="126" y="665"/>
                    </a:lnTo>
                    <a:lnTo>
                      <a:pt x="138" y="679"/>
                    </a:lnTo>
                    <a:lnTo>
                      <a:pt x="150" y="693"/>
                    </a:lnTo>
                    <a:lnTo>
                      <a:pt x="164" y="707"/>
                    </a:lnTo>
                    <a:lnTo>
                      <a:pt x="178" y="717"/>
                    </a:lnTo>
                    <a:lnTo>
                      <a:pt x="192" y="727"/>
                    </a:lnTo>
                    <a:lnTo>
                      <a:pt x="208" y="733"/>
                    </a:lnTo>
                    <a:lnTo>
                      <a:pt x="208" y="733"/>
                    </a:lnTo>
                    <a:close/>
                  </a:path>
                </a:pathLst>
              </a:custGeom>
              <a:solidFill>
                <a:schemeClr val="bg1"/>
              </a:solid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68" name="Freeform 567"/>
              <p:cNvSpPr>
                <a:spLocks/>
              </p:cNvSpPr>
              <p:nvPr/>
            </p:nvSpPr>
            <p:spPr bwMode="auto">
              <a:xfrm>
                <a:off x="517159" y="5569244"/>
                <a:ext cx="77362" cy="105406"/>
              </a:xfrm>
              <a:custGeom>
                <a:avLst/>
                <a:gdLst>
                  <a:gd name="T0" fmla="*/ 287 w 480"/>
                  <a:gd name="T1" fmla="*/ 0 h 654"/>
                  <a:gd name="T2" fmla="*/ 287 w 480"/>
                  <a:gd name="T3" fmla="*/ 0 h 654"/>
                  <a:gd name="T4" fmla="*/ 151 w 480"/>
                  <a:gd name="T5" fmla="*/ 219 h 654"/>
                  <a:gd name="T6" fmla="*/ 16 w 480"/>
                  <a:gd name="T7" fmla="*/ 441 h 654"/>
                  <a:gd name="T8" fmla="*/ 16 w 480"/>
                  <a:gd name="T9" fmla="*/ 441 h 654"/>
                  <a:gd name="T10" fmla="*/ 10 w 480"/>
                  <a:gd name="T11" fmla="*/ 451 h 654"/>
                  <a:gd name="T12" fmla="*/ 6 w 480"/>
                  <a:gd name="T13" fmla="*/ 463 h 654"/>
                  <a:gd name="T14" fmla="*/ 4 w 480"/>
                  <a:gd name="T15" fmla="*/ 475 h 654"/>
                  <a:gd name="T16" fmla="*/ 2 w 480"/>
                  <a:gd name="T17" fmla="*/ 487 h 654"/>
                  <a:gd name="T18" fmla="*/ 0 w 480"/>
                  <a:gd name="T19" fmla="*/ 501 h 654"/>
                  <a:gd name="T20" fmla="*/ 2 w 480"/>
                  <a:gd name="T21" fmla="*/ 513 h 654"/>
                  <a:gd name="T22" fmla="*/ 4 w 480"/>
                  <a:gd name="T23" fmla="*/ 527 h 654"/>
                  <a:gd name="T24" fmla="*/ 8 w 480"/>
                  <a:gd name="T25" fmla="*/ 541 h 654"/>
                  <a:gd name="T26" fmla="*/ 14 w 480"/>
                  <a:gd name="T27" fmla="*/ 555 h 654"/>
                  <a:gd name="T28" fmla="*/ 22 w 480"/>
                  <a:gd name="T29" fmla="*/ 569 h 654"/>
                  <a:gd name="T30" fmla="*/ 30 w 480"/>
                  <a:gd name="T31" fmla="*/ 581 h 654"/>
                  <a:gd name="T32" fmla="*/ 42 w 480"/>
                  <a:gd name="T33" fmla="*/ 593 h 654"/>
                  <a:gd name="T34" fmla="*/ 54 w 480"/>
                  <a:gd name="T35" fmla="*/ 605 h 654"/>
                  <a:gd name="T36" fmla="*/ 67 w 480"/>
                  <a:gd name="T37" fmla="*/ 615 h 654"/>
                  <a:gd name="T38" fmla="*/ 83 w 480"/>
                  <a:gd name="T39" fmla="*/ 624 h 654"/>
                  <a:gd name="T40" fmla="*/ 101 w 480"/>
                  <a:gd name="T41" fmla="*/ 632 h 654"/>
                  <a:gd name="T42" fmla="*/ 101 w 480"/>
                  <a:gd name="T43" fmla="*/ 632 h 654"/>
                  <a:gd name="T44" fmla="*/ 115 w 480"/>
                  <a:gd name="T45" fmla="*/ 640 h 654"/>
                  <a:gd name="T46" fmla="*/ 127 w 480"/>
                  <a:gd name="T47" fmla="*/ 646 h 654"/>
                  <a:gd name="T48" fmla="*/ 141 w 480"/>
                  <a:gd name="T49" fmla="*/ 650 h 654"/>
                  <a:gd name="T50" fmla="*/ 155 w 480"/>
                  <a:gd name="T51" fmla="*/ 652 h 654"/>
                  <a:gd name="T52" fmla="*/ 167 w 480"/>
                  <a:gd name="T53" fmla="*/ 654 h 654"/>
                  <a:gd name="T54" fmla="*/ 179 w 480"/>
                  <a:gd name="T55" fmla="*/ 652 h 654"/>
                  <a:gd name="T56" fmla="*/ 189 w 480"/>
                  <a:gd name="T57" fmla="*/ 650 h 654"/>
                  <a:gd name="T58" fmla="*/ 201 w 480"/>
                  <a:gd name="T59" fmla="*/ 646 h 654"/>
                  <a:gd name="T60" fmla="*/ 221 w 480"/>
                  <a:gd name="T61" fmla="*/ 636 h 654"/>
                  <a:gd name="T62" fmla="*/ 237 w 480"/>
                  <a:gd name="T63" fmla="*/ 623 h 654"/>
                  <a:gd name="T64" fmla="*/ 251 w 480"/>
                  <a:gd name="T65" fmla="*/ 607 h 654"/>
                  <a:gd name="T66" fmla="*/ 263 w 480"/>
                  <a:gd name="T67" fmla="*/ 591 h 654"/>
                  <a:gd name="T68" fmla="*/ 263 w 480"/>
                  <a:gd name="T69" fmla="*/ 591 h 654"/>
                  <a:gd name="T70" fmla="*/ 279 w 480"/>
                  <a:gd name="T71" fmla="*/ 563 h 654"/>
                  <a:gd name="T72" fmla="*/ 293 w 480"/>
                  <a:gd name="T73" fmla="*/ 535 h 654"/>
                  <a:gd name="T74" fmla="*/ 307 w 480"/>
                  <a:gd name="T75" fmla="*/ 507 h 654"/>
                  <a:gd name="T76" fmla="*/ 317 w 480"/>
                  <a:gd name="T77" fmla="*/ 479 h 654"/>
                  <a:gd name="T78" fmla="*/ 339 w 480"/>
                  <a:gd name="T79" fmla="*/ 421 h 654"/>
                  <a:gd name="T80" fmla="*/ 357 w 480"/>
                  <a:gd name="T81" fmla="*/ 363 h 654"/>
                  <a:gd name="T82" fmla="*/ 377 w 480"/>
                  <a:gd name="T83" fmla="*/ 305 h 654"/>
                  <a:gd name="T84" fmla="*/ 397 w 480"/>
                  <a:gd name="T85" fmla="*/ 247 h 654"/>
                  <a:gd name="T86" fmla="*/ 409 w 480"/>
                  <a:gd name="T87" fmla="*/ 217 h 654"/>
                  <a:gd name="T88" fmla="*/ 423 w 480"/>
                  <a:gd name="T89" fmla="*/ 188 h 654"/>
                  <a:gd name="T90" fmla="*/ 439 w 480"/>
                  <a:gd name="T91" fmla="*/ 160 h 654"/>
                  <a:gd name="T92" fmla="*/ 454 w 480"/>
                  <a:gd name="T93" fmla="*/ 130 h 654"/>
                  <a:gd name="T94" fmla="*/ 454 w 480"/>
                  <a:gd name="T95" fmla="*/ 130 h 654"/>
                  <a:gd name="T96" fmla="*/ 480 w 480"/>
                  <a:gd name="T97" fmla="*/ 136 h 654"/>
                  <a:gd name="T98" fmla="*/ 480 w 480"/>
                  <a:gd name="T99" fmla="*/ 136 h 654"/>
                  <a:gd name="T100" fmla="*/ 450 w 480"/>
                  <a:gd name="T101" fmla="*/ 118 h 654"/>
                  <a:gd name="T102" fmla="*/ 427 w 480"/>
                  <a:gd name="T103" fmla="*/ 100 h 654"/>
                  <a:gd name="T104" fmla="*/ 405 w 480"/>
                  <a:gd name="T105" fmla="*/ 80 h 654"/>
                  <a:gd name="T106" fmla="*/ 385 w 480"/>
                  <a:gd name="T107" fmla="*/ 62 h 654"/>
                  <a:gd name="T108" fmla="*/ 365 w 480"/>
                  <a:gd name="T109" fmla="*/ 44 h 654"/>
                  <a:gd name="T110" fmla="*/ 343 w 480"/>
                  <a:gd name="T111" fmla="*/ 26 h 654"/>
                  <a:gd name="T112" fmla="*/ 317 w 480"/>
                  <a:gd name="T113" fmla="*/ 12 h 654"/>
                  <a:gd name="T114" fmla="*/ 301 w 480"/>
                  <a:gd name="T115" fmla="*/ 4 h 654"/>
                  <a:gd name="T116" fmla="*/ 287 w 480"/>
                  <a:gd name="T117" fmla="*/ 0 h 654"/>
                  <a:gd name="T118" fmla="*/ 287 w 480"/>
                  <a:gd name="T119"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0" h="654">
                    <a:moveTo>
                      <a:pt x="287" y="0"/>
                    </a:moveTo>
                    <a:lnTo>
                      <a:pt x="287" y="0"/>
                    </a:lnTo>
                    <a:lnTo>
                      <a:pt x="151" y="219"/>
                    </a:lnTo>
                    <a:lnTo>
                      <a:pt x="16" y="441"/>
                    </a:lnTo>
                    <a:lnTo>
                      <a:pt x="16" y="441"/>
                    </a:lnTo>
                    <a:lnTo>
                      <a:pt x="10" y="451"/>
                    </a:lnTo>
                    <a:lnTo>
                      <a:pt x="6" y="463"/>
                    </a:lnTo>
                    <a:lnTo>
                      <a:pt x="4" y="475"/>
                    </a:lnTo>
                    <a:lnTo>
                      <a:pt x="2" y="487"/>
                    </a:lnTo>
                    <a:lnTo>
                      <a:pt x="0" y="501"/>
                    </a:lnTo>
                    <a:lnTo>
                      <a:pt x="2" y="513"/>
                    </a:lnTo>
                    <a:lnTo>
                      <a:pt x="4" y="527"/>
                    </a:lnTo>
                    <a:lnTo>
                      <a:pt x="8" y="541"/>
                    </a:lnTo>
                    <a:lnTo>
                      <a:pt x="14" y="555"/>
                    </a:lnTo>
                    <a:lnTo>
                      <a:pt x="22" y="569"/>
                    </a:lnTo>
                    <a:lnTo>
                      <a:pt x="30" y="581"/>
                    </a:lnTo>
                    <a:lnTo>
                      <a:pt x="42" y="593"/>
                    </a:lnTo>
                    <a:lnTo>
                      <a:pt x="54" y="605"/>
                    </a:lnTo>
                    <a:lnTo>
                      <a:pt x="67" y="615"/>
                    </a:lnTo>
                    <a:lnTo>
                      <a:pt x="83" y="624"/>
                    </a:lnTo>
                    <a:lnTo>
                      <a:pt x="101" y="632"/>
                    </a:lnTo>
                    <a:lnTo>
                      <a:pt x="101" y="632"/>
                    </a:lnTo>
                    <a:lnTo>
                      <a:pt x="115" y="640"/>
                    </a:lnTo>
                    <a:lnTo>
                      <a:pt x="127" y="646"/>
                    </a:lnTo>
                    <a:lnTo>
                      <a:pt x="141" y="650"/>
                    </a:lnTo>
                    <a:lnTo>
                      <a:pt x="155" y="652"/>
                    </a:lnTo>
                    <a:lnTo>
                      <a:pt x="167" y="654"/>
                    </a:lnTo>
                    <a:lnTo>
                      <a:pt x="179" y="652"/>
                    </a:lnTo>
                    <a:lnTo>
                      <a:pt x="189" y="650"/>
                    </a:lnTo>
                    <a:lnTo>
                      <a:pt x="201" y="646"/>
                    </a:lnTo>
                    <a:lnTo>
                      <a:pt x="221" y="636"/>
                    </a:lnTo>
                    <a:lnTo>
                      <a:pt x="237" y="623"/>
                    </a:lnTo>
                    <a:lnTo>
                      <a:pt x="251" y="607"/>
                    </a:lnTo>
                    <a:lnTo>
                      <a:pt x="263" y="591"/>
                    </a:lnTo>
                    <a:lnTo>
                      <a:pt x="263" y="591"/>
                    </a:lnTo>
                    <a:lnTo>
                      <a:pt x="279" y="563"/>
                    </a:lnTo>
                    <a:lnTo>
                      <a:pt x="293" y="535"/>
                    </a:lnTo>
                    <a:lnTo>
                      <a:pt x="307" y="507"/>
                    </a:lnTo>
                    <a:lnTo>
                      <a:pt x="317" y="479"/>
                    </a:lnTo>
                    <a:lnTo>
                      <a:pt x="339" y="421"/>
                    </a:lnTo>
                    <a:lnTo>
                      <a:pt x="357" y="363"/>
                    </a:lnTo>
                    <a:lnTo>
                      <a:pt x="377" y="305"/>
                    </a:lnTo>
                    <a:lnTo>
                      <a:pt x="397" y="247"/>
                    </a:lnTo>
                    <a:lnTo>
                      <a:pt x="409" y="217"/>
                    </a:lnTo>
                    <a:lnTo>
                      <a:pt x="423" y="188"/>
                    </a:lnTo>
                    <a:lnTo>
                      <a:pt x="439" y="160"/>
                    </a:lnTo>
                    <a:lnTo>
                      <a:pt x="454" y="130"/>
                    </a:lnTo>
                    <a:lnTo>
                      <a:pt x="454" y="130"/>
                    </a:lnTo>
                    <a:lnTo>
                      <a:pt x="480" y="136"/>
                    </a:lnTo>
                    <a:lnTo>
                      <a:pt x="480" y="136"/>
                    </a:lnTo>
                    <a:lnTo>
                      <a:pt x="450" y="118"/>
                    </a:lnTo>
                    <a:lnTo>
                      <a:pt x="427" y="100"/>
                    </a:lnTo>
                    <a:lnTo>
                      <a:pt x="405" y="80"/>
                    </a:lnTo>
                    <a:lnTo>
                      <a:pt x="385" y="62"/>
                    </a:lnTo>
                    <a:lnTo>
                      <a:pt x="365" y="44"/>
                    </a:lnTo>
                    <a:lnTo>
                      <a:pt x="343" y="26"/>
                    </a:lnTo>
                    <a:lnTo>
                      <a:pt x="317" y="12"/>
                    </a:lnTo>
                    <a:lnTo>
                      <a:pt x="301" y="4"/>
                    </a:lnTo>
                    <a:lnTo>
                      <a:pt x="287" y="0"/>
                    </a:lnTo>
                    <a:lnTo>
                      <a:pt x="287" y="0"/>
                    </a:lnTo>
                    <a:close/>
                  </a:path>
                </a:pathLst>
              </a:custGeom>
              <a:solidFill>
                <a:schemeClr val="bg1"/>
              </a:solid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69" name="Freeform 568"/>
              <p:cNvSpPr>
                <a:spLocks/>
              </p:cNvSpPr>
              <p:nvPr/>
            </p:nvSpPr>
            <p:spPr bwMode="auto">
              <a:xfrm>
                <a:off x="517481" y="5512350"/>
                <a:ext cx="60117" cy="153436"/>
              </a:xfrm>
              <a:custGeom>
                <a:avLst/>
                <a:gdLst>
                  <a:gd name="T0" fmla="*/ 209 w 373"/>
                  <a:gd name="T1" fmla="*/ 491 h 952"/>
                  <a:gd name="T2" fmla="*/ 85 w 373"/>
                  <a:gd name="T3" fmla="*/ 0 h 952"/>
                  <a:gd name="T4" fmla="*/ 75 w 373"/>
                  <a:gd name="T5" fmla="*/ 4 h 952"/>
                  <a:gd name="T6" fmla="*/ 65 w 373"/>
                  <a:gd name="T7" fmla="*/ 12 h 952"/>
                  <a:gd name="T8" fmla="*/ 54 w 373"/>
                  <a:gd name="T9" fmla="*/ 46 h 952"/>
                  <a:gd name="T10" fmla="*/ 46 w 373"/>
                  <a:gd name="T11" fmla="*/ 96 h 952"/>
                  <a:gd name="T12" fmla="*/ 36 w 373"/>
                  <a:gd name="T13" fmla="*/ 207 h 952"/>
                  <a:gd name="T14" fmla="*/ 28 w 373"/>
                  <a:gd name="T15" fmla="*/ 257 h 952"/>
                  <a:gd name="T16" fmla="*/ 18 w 373"/>
                  <a:gd name="T17" fmla="*/ 293 h 952"/>
                  <a:gd name="T18" fmla="*/ 4 w 373"/>
                  <a:gd name="T19" fmla="*/ 309 h 952"/>
                  <a:gd name="T20" fmla="*/ 0 w 373"/>
                  <a:gd name="T21" fmla="*/ 311 h 952"/>
                  <a:gd name="T22" fmla="*/ 0 w 373"/>
                  <a:gd name="T23" fmla="*/ 828 h 952"/>
                  <a:gd name="T24" fmla="*/ 0 w 373"/>
                  <a:gd name="T25" fmla="*/ 840 h 952"/>
                  <a:gd name="T26" fmla="*/ 6 w 373"/>
                  <a:gd name="T27" fmla="*/ 864 h 952"/>
                  <a:gd name="T28" fmla="*/ 16 w 373"/>
                  <a:gd name="T29" fmla="*/ 888 h 952"/>
                  <a:gd name="T30" fmla="*/ 34 w 373"/>
                  <a:gd name="T31" fmla="*/ 910 h 952"/>
                  <a:gd name="T32" fmla="*/ 58 w 373"/>
                  <a:gd name="T33" fmla="*/ 928 h 952"/>
                  <a:gd name="T34" fmla="*/ 83 w 373"/>
                  <a:gd name="T35" fmla="*/ 942 h 952"/>
                  <a:gd name="T36" fmla="*/ 115 w 373"/>
                  <a:gd name="T37" fmla="*/ 950 h 952"/>
                  <a:gd name="T38" fmla="*/ 151 w 373"/>
                  <a:gd name="T39" fmla="*/ 952 h 952"/>
                  <a:gd name="T40" fmla="*/ 171 w 373"/>
                  <a:gd name="T41" fmla="*/ 950 h 952"/>
                  <a:gd name="T42" fmla="*/ 203 w 373"/>
                  <a:gd name="T43" fmla="*/ 946 h 952"/>
                  <a:gd name="T44" fmla="*/ 227 w 373"/>
                  <a:gd name="T45" fmla="*/ 938 h 952"/>
                  <a:gd name="T46" fmla="*/ 249 w 373"/>
                  <a:gd name="T47" fmla="*/ 926 h 952"/>
                  <a:gd name="T48" fmla="*/ 265 w 373"/>
                  <a:gd name="T49" fmla="*/ 908 h 952"/>
                  <a:gd name="T50" fmla="*/ 283 w 373"/>
                  <a:gd name="T51" fmla="*/ 868 h 952"/>
                  <a:gd name="T52" fmla="*/ 287 w 373"/>
                  <a:gd name="T53" fmla="*/ 828 h 952"/>
                  <a:gd name="T54" fmla="*/ 289 w 373"/>
                  <a:gd name="T55" fmla="*/ 804 h 952"/>
                  <a:gd name="T56" fmla="*/ 301 w 373"/>
                  <a:gd name="T57" fmla="*/ 700 h 952"/>
                  <a:gd name="T58" fmla="*/ 331 w 373"/>
                  <a:gd name="T59" fmla="*/ 531 h 952"/>
                  <a:gd name="T60" fmla="*/ 359 w 373"/>
                  <a:gd name="T61" fmla="*/ 359 h 952"/>
                  <a:gd name="T62" fmla="*/ 373 w 373"/>
                  <a:gd name="T63" fmla="*/ 257 h 952"/>
                  <a:gd name="T64" fmla="*/ 373 w 373"/>
                  <a:gd name="T65" fmla="*/ 231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952">
                    <a:moveTo>
                      <a:pt x="373" y="231"/>
                    </a:moveTo>
                    <a:lnTo>
                      <a:pt x="209" y="491"/>
                    </a:lnTo>
                    <a:lnTo>
                      <a:pt x="85" y="0"/>
                    </a:lnTo>
                    <a:lnTo>
                      <a:pt x="85" y="0"/>
                    </a:lnTo>
                    <a:lnTo>
                      <a:pt x="79" y="0"/>
                    </a:lnTo>
                    <a:lnTo>
                      <a:pt x="75" y="4"/>
                    </a:lnTo>
                    <a:lnTo>
                      <a:pt x="69" y="8"/>
                    </a:lnTo>
                    <a:lnTo>
                      <a:pt x="65" y="12"/>
                    </a:lnTo>
                    <a:lnTo>
                      <a:pt x="60" y="28"/>
                    </a:lnTo>
                    <a:lnTo>
                      <a:pt x="54" y="46"/>
                    </a:lnTo>
                    <a:lnTo>
                      <a:pt x="50" y="70"/>
                    </a:lnTo>
                    <a:lnTo>
                      <a:pt x="46" y="96"/>
                    </a:lnTo>
                    <a:lnTo>
                      <a:pt x="40" y="149"/>
                    </a:lnTo>
                    <a:lnTo>
                      <a:pt x="36" y="207"/>
                    </a:lnTo>
                    <a:lnTo>
                      <a:pt x="32" y="233"/>
                    </a:lnTo>
                    <a:lnTo>
                      <a:pt x="28" y="257"/>
                    </a:lnTo>
                    <a:lnTo>
                      <a:pt x="24" y="277"/>
                    </a:lnTo>
                    <a:lnTo>
                      <a:pt x="18" y="293"/>
                    </a:lnTo>
                    <a:lnTo>
                      <a:pt x="10" y="305"/>
                    </a:lnTo>
                    <a:lnTo>
                      <a:pt x="4" y="309"/>
                    </a:lnTo>
                    <a:lnTo>
                      <a:pt x="0" y="311"/>
                    </a:lnTo>
                    <a:lnTo>
                      <a:pt x="0" y="311"/>
                    </a:lnTo>
                    <a:lnTo>
                      <a:pt x="0" y="570"/>
                    </a:lnTo>
                    <a:lnTo>
                      <a:pt x="0" y="828"/>
                    </a:lnTo>
                    <a:lnTo>
                      <a:pt x="0" y="828"/>
                    </a:lnTo>
                    <a:lnTo>
                      <a:pt x="0" y="840"/>
                    </a:lnTo>
                    <a:lnTo>
                      <a:pt x="2" y="852"/>
                    </a:lnTo>
                    <a:lnTo>
                      <a:pt x="6" y="864"/>
                    </a:lnTo>
                    <a:lnTo>
                      <a:pt x="10" y="876"/>
                    </a:lnTo>
                    <a:lnTo>
                      <a:pt x="16" y="888"/>
                    </a:lnTo>
                    <a:lnTo>
                      <a:pt x="24" y="898"/>
                    </a:lnTo>
                    <a:lnTo>
                      <a:pt x="34" y="910"/>
                    </a:lnTo>
                    <a:lnTo>
                      <a:pt x="46" y="918"/>
                    </a:lnTo>
                    <a:lnTo>
                      <a:pt x="58" y="928"/>
                    </a:lnTo>
                    <a:lnTo>
                      <a:pt x="69" y="936"/>
                    </a:lnTo>
                    <a:lnTo>
                      <a:pt x="83" y="942"/>
                    </a:lnTo>
                    <a:lnTo>
                      <a:pt x="99" y="946"/>
                    </a:lnTo>
                    <a:lnTo>
                      <a:pt x="115" y="950"/>
                    </a:lnTo>
                    <a:lnTo>
                      <a:pt x="133" y="952"/>
                    </a:lnTo>
                    <a:lnTo>
                      <a:pt x="151" y="952"/>
                    </a:lnTo>
                    <a:lnTo>
                      <a:pt x="171" y="950"/>
                    </a:lnTo>
                    <a:lnTo>
                      <a:pt x="171" y="950"/>
                    </a:lnTo>
                    <a:lnTo>
                      <a:pt x="187" y="950"/>
                    </a:lnTo>
                    <a:lnTo>
                      <a:pt x="203" y="946"/>
                    </a:lnTo>
                    <a:lnTo>
                      <a:pt x="215" y="944"/>
                    </a:lnTo>
                    <a:lnTo>
                      <a:pt x="227" y="938"/>
                    </a:lnTo>
                    <a:lnTo>
                      <a:pt x="239" y="932"/>
                    </a:lnTo>
                    <a:lnTo>
                      <a:pt x="249" y="926"/>
                    </a:lnTo>
                    <a:lnTo>
                      <a:pt x="257" y="918"/>
                    </a:lnTo>
                    <a:lnTo>
                      <a:pt x="265" y="908"/>
                    </a:lnTo>
                    <a:lnTo>
                      <a:pt x="275" y="890"/>
                    </a:lnTo>
                    <a:lnTo>
                      <a:pt x="283" y="868"/>
                    </a:lnTo>
                    <a:lnTo>
                      <a:pt x="287" y="848"/>
                    </a:lnTo>
                    <a:lnTo>
                      <a:pt x="287" y="828"/>
                    </a:lnTo>
                    <a:lnTo>
                      <a:pt x="287" y="828"/>
                    </a:lnTo>
                    <a:lnTo>
                      <a:pt x="289" y="804"/>
                    </a:lnTo>
                    <a:lnTo>
                      <a:pt x="291" y="772"/>
                    </a:lnTo>
                    <a:lnTo>
                      <a:pt x="301" y="700"/>
                    </a:lnTo>
                    <a:lnTo>
                      <a:pt x="315" y="618"/>
                    </a:lnTo>
                    <a:lnTo>
                      <a:pt x="331" y="531"/>
                    </a:lnTo>
                    <a:lnTo>
                      <a:pt x="347" y="443"/>
                    </a:lnTo>
                    <a:lnTo>
                      <a:pt x="359" y="359"/>
                    </a:lnTo>
                    <a:lnTo>
                      <a:pt x="369" y="287"/>
                    </a:lnTo>
                    <a:lnTo>
                      <a:pt x="373" y="257"/>
                    </a:lnTo>
                    <a:lnTo>
                      <a:pt x="373" y="231"/>
                    </a:lnTo>
                    <a:lnTo>
                      <a:pt x="373" y="231"/>
                    </a:lnTo>
                    <a:close/>
                  </a:path>
                </a:pathLst>
              </a:custGeom>
              <a:solidFill>
                <a:schemeClr val="bg1"/>
              </a:solid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70" name="Freeform 569"/>
              <p:cNvSpPr>
                <a:spLocks/>
              </p:cNvSpPr>
              <p:nvPr/>
            </p:nvSpPr>
            <p:spPr bwMode="auto">
              <a:xfrm>
                <a:off x="341482" y="5345226"/>
                <a:ext cx="183413" cy="190344"/>
              </a:xfrm>
              <a:custGeom>
                <a:avLst/>
                <a:gdLst/>
                <a:ahLst/>
                <a:cxnLst/>
                <a:rect l="l" t="t" r="r" b="b"/>
                <a:pathLst>
                  <a:path w="183413" h="190344">
                    <a:moveTo>
                      <a:pt x="89127" y="0"/>
                    </a:moveTo>
                    <a:lnTo>
                      <a:pt x="92673" y="0"/>
                    </a:lnTo>
                    <a:lnTo>
                      <a:pt x="96218" y="0"/>
                    </a:lnTo>
                    <a:lnTo>
                      <a:pt x="99764" y="323"/>
                    </a:lnTo>
                    <a:lnTo>
                      <a:pt x="102988" y="967"/>
                    </a:lnTo>
                    <a:lnTo>
                      <a:pt x="106533" y="1934"/>
                    </a:lnTo>
                    <a:lnTo>
                      <a:pt x="109757" y="3224"/>
                    </a:lnTo>
                    <a:lnTo>
                      <a:pt x="112980" y="4513"/>
                    </a:lnTo>
                    <a:lnTo>
                      <a:pt x="116204" y="5802"/>
                    </a:lnTo>
                    <a:lnTo>
                      <a:pt x="119105" y="7736"/>
                    </a:lnTo>
                    <a:lnTo>
                      <a:pt x="122328" y="9671"/>
                    </a:lnTo>
                    <a:lnTo>
                      <a:pt x="124746" y="11605"/>
                    </a:lnTo>
                    <a:lnTo>
                      <a:pt x="127647" y="13861"/>
                    </a:lnTo>
                    <a:lnTo>
                      <a:pt x="130226" y="16440"/>
                    </a:lnTo>
                    <a:lnTo>
                      <a:pt x="132804" y="18696"/>
                    </a:lnTo>
                    <a:lnTo>
                      <a:pt x="135061" y="21597"/>
                    </a:lnTo>
                    <a:lnTo>
                      <a:pt x="136995" y="24176"/>
                    </a:lnTo>
                    <a:lnTo>
                      <a:pt x="139251" y="27077"/>
                    </a:lnTo>
                    <a:lnTo>
                      <a:pt x="140863" y="30301"/>
                    </a:lnTo>
                    <a:lnTo>
                      <a:pt x="142475" y="33202"/>
                    </a:lnTo>
                    <a:lnTo>
                      <a:pt x="143764" y="36264"/>
                    </a:lnTo>
                    <a:lnTo>
                      <a:pt x="145053" y="39487"/>
                    </a:lnTo>
                    <a:lnTo>
                      <a:pt x="146020" y="42711"/>
                    </a:lnTo>
                    <a:lnTo>
                      <a:pt x="146665" y="46256"/>
                    </a:lnTo>
                    <a:lnTo>
                      <a:pt x="147310" y="49480"/>
                    </a:lnTo>
                    <a:lnTo>
                      <a:pt x="147632" y="53026"/>
                    </a:lnTo>
                    <a:lnTo>
                      <a:pt x="147618" y="53185"/>
                    </a:lnTo>
                    <a:lnTo>
                      <a:pt x="150212" y="61729"/>
                    </a:lnTo>
                    <a:lnTo>
                      <a:pt x="153757" y="72689"/>
                    </a:lnTo>
                    <a:lnTo>
                      <a:pt x="155369" y="76880"/>
                    </a:lnTo>
                    <a:lnTo>
                      <a:pt x="156336" y="79458"/>
                    </a:lnTo>
                    <a:lnTo>
                      <a:pt x="159560" y="84938"/>
                    </a:lnTo>
                    <a:lnTo>
                      <a:pt x="162783" y="90096"/>
                    </a:lnTo>
                    <a:lnTo>
                      <a:pt x="166329" y="95253"/>
                    </a:lnTo>
                    <a:lnTo>
                      <a:pt x="170519" y="100088"/>
                    </a:lnTo>
                    <a:lnTo>
                      <a:pt x="172776" y="102345"/>
                    </a:lnTo>
                    <a:lnTo>
                      <a:pt x="175032" y="104440"/>
                    </a:lnTo>
                    <a:lnTo>
                      <a:pt x="176321" y="106052"/>
                    </a:lnTo>
                    <a:lnTo>
                      <a:pt x="177933" y="107663"/>
                    </a:lnTo>
                    <a:lnTo>
                      <a:pt x="179545" y="108630"/>
                    </a:lnTo>
                    <a:lnTo>
                      <a:pt x="181157" y="109920"/>
                    </a:lnTo>
                    <a:lnTo>
                      <a:pt x="182124" y="110564"/>
                    </a:lnTo>
                    <a:lnTo>
                      <a:pt x="183091" y="111209"/>
                    </a:lnTo>
                    <a:lnTo>
                      <a:pt x="183413" y="111209"/>
                    </a:lnTo>
                    <a:lnTo>
                      <a:pt x="183413" y="111531"/>
                    </a:lnTo>
                    <a:lnTo>
                      <a:pt x="182124" y="112498"/>
                    </a:lnTo>
                    <a:lnTo>
                      <a:pt x="177288" y="114110"/>
                    </a:lnTo>
                    <a:lnTo>
                      <a:pt x="167941" y="116689"/>
                    </a:lnTo>
                    <a:lnTo>
                      <a:pt x="156014" y="121846"/>
                    </a:lnTo>
                    <a:lnTo>
                      <a:pt x="148922" y="124103"/>
                    </a:lnTo>
                    <a:lnTo>
                      <a:pt x="141831" y="126359"/>
                    </a:lnTo>
                    <a:lnTo>
                      <a:pt x="137963" y="127004"/>
                    </a:lnTo>
                    <a:lnTo>
                      <a:pt x="134417" y="127326"/>
                    </a:lnTo>
                    <a:lnTo>
                      <a:pt x="130871" y="127326"/>
                    </a:lnTo>
                    <a:lnTo>
                      <a:pt x="127648" y="127004"/>
                    </a:lnTo>
                    <a:lnTo>
                      <a:pt x="125504" y="126575"/>
                    </a:lnTo>
                    <a:lnTo>
                      <a:pt x="125391" y="126624"/>
                    </a:lnTo>
                    <a:lnTo>
                      <a:pt x="123296" y="127591"/>
                    </a:lnTo>
                    <a:lnTo>
                      <a:pt x="120395" y="128236"/>
                    </a:lnTo>
                    <a:lnTo>
                      <a:pt x="118977" y="128460"/>
                    </a:lnTo>
                    <a:lnTo>
                      <a:pt x="93318" y="190344"/>
                    </a:lnTo>
                    <a:lnTo>
                      <a:pt x="67392" y="129211"/>
                    </a:lnTo>
                    <a:lnTo>
                      <a:pt x="67208" y="129203"/>
                    </a:lnTo>
                    <a:lnTo>
                      <a:pt x="61083" y="128236"/>
                    </a:lnTo>
                    <a:lnTo>
                      <a:pt x="58343" y="127591"/>
                    </a:lnTo>
                    <a:lnTo>
                      <a:pt x="56590" y="126839"/>
                    </a:lnTo>
                    <a:lnTo>
                      <a:pt x="55766" y="127004"/>
                    </a:lnTo>
                    <a:lnTo>
                      <a:pt x="52542" y="127326"/>
                    </a:lnTo>
                    <a:lnTo>
                      <a:pt x="48996" y="127326"/>
                    </a:lnTo>
                    <a:lnTo>
                      <a:pt x="45451" y="127004"/>
                    </a:lnTo>
                    <a:lnTo>
                      <a:pt x="41582" y="126359"/>
                    </a:lnTo>
                    <a:lnTo>
                      <a:pt x="34491" y="124103"/>
                    </a:lnTo>
                    <a:lnTo>
                      <a:pt x="27399" y="121846"/>
                    </a:lnTo>
                    <a:lnTo>
                      <a:pt x="15150" y="116689"/>
                    </a:lnTo>
                    <a:lnTo>
                      <a:pt x="6125" y="114110"/>
                    </a:lnTo>
                    <a:lnTo>
                      <a:pt x="1289" y="112498"/>
                    </a:lnTo>
                    <a:lnTo>
                      <a:pt x="0" y="111531"/>
                    </a:lnTo>
                    <a:lnTo>
                      <a:pt x="0" y="111209"/>
                    </a:lnTo>
                    <a:lnTo>
                      <a:pt x="322" y="111209"/>
                    </a:lnTo>
                    <a:lnTo>
                      <a:pt x="1289" y="110564"/>
                    </a:lnTo>
                    <a:lnTo>
                      <a:pt x="1934" y="109920"/>
                    </a:lnTo>
                    <a:lnTo>
                      <a:pt x="3546" y="108630"/>
                    </a:lnTo>
                    <a:lnTo>
                      <a:pt x="5480" y="107663"/>
                    </a:lnTo>
                    <a:lnTo>
                      <a:pt x="7092" y="106052"/>
                    </a:lnTo>
                    <a:lnTo>
                      <a:pt x="8381" y="104440"/>
                    </a:lnTo>
                    <a:lnTo>
                      <a:pt x="10637" y="102345"/>
                    </a:lnTo>
                    <a:lnTo>
                      <a:pt x="12894" y="100088"/>
                    </a:lnTo>
                    <a:lnTo>
                      <a:pt x="17084" y="95253"/>
                    </a:lnTo>
                    <a:lnTo>
                      <a:pt x="20630" y="90096"/>
                    </a:lnTo>
                    <a:lnTo>
                      <a:pt x="23853" y="84938"/>
                    </a:lnTo>
                    <a:lnTo>
                      <a:pt x="27077" y="79458"/>
                    </a:lnTo>
                    <a:lnTo>
                      <a:pt x="28366" y="76235"/>
                    </a:lnTo>
                    <a:lnTo>
                      <a:pt x="30300" y="70755"/>
                    </a:lnTo>
                    <a:lnTo>
                      <a:pt x="35458" y="55927"/>
                    </a:lnTo>
                    <a:lnTo>
                      <a:pt x="39969" y="42395"/>
                    </a:lnTo>
                    <a:lnTo>
                      <a:pt x="39970" y="42388"/>
                    </a:lnTo>
                    <a:lnTo>
                      <a:pt x="41581" y="35942"/>
                    </a:lnTo>
                    <a:lnTo>
                      <a:pt x="44160" y="29978"/>
                    </a:lnTo>
                    <a:lnTo>
                      <a:pt x="47384" y="24498"/>
                    </a:lnTo>
                    <a:lnTo>
                      <a:pt x="49318" y="21597"/>
                    </a:lnTo>
                    <a:lnTo>
                      <a:pt x="51252" y="19018"/>
                    </a:lnTo>
                    <a:lnTo>
                      <a:pt x="53186" y="16440"/>
                    </a:lnTo>
                    <a:lnTo>
                      <a:pt x="55442" y="14183"/>
                    </a:lnTo>
                    <a:lnTo>
                      <a:pt x="58021" y="11927"/>
                    </a:lnTo>
                    <a:lnTo>
                      <a:pt x="60600" y="9993"/>
                    </a:lnTo>
                    <a:lnTo>
                      <a:pt x="63017" y="8059"/>
                    </a:lnTo>
                    <a:lnTo>
                      <a:pt x="65918" y="6447"/>
                    </a:lnTo>
                    <a:lnTo>
                      <a:pt x="69142" y="5158"/>
                    </a:lnTo>
                    <a:lnTo>
                      <a:pt x="72043" y="3868"/>
                    </a:lnTo>
                    <a:lnTo>
                      <a:pt x="75266" y="2579"/>
                    </a:lnTo>
                    <a:lnTo>
                      <a:pt x="78812" y="1934"/>
                    </a:lnTo>
                    <a:lnTo>
                      <a:pt x="82035" y="967"/>
                    </a:lnTo>
                    <a:lnTo>
                      <a:pt x="85581" y="323"/>
                    </a:lnTo>
                    <a:close/>
                  </a:path>
                </a:pathLst>
              </a:custGeom>
              <a:solidFill>
                <a:schemeClr val="bg1"/>
              </a:solid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nvGrpSpPr>
            <p:cNvPr id="558" name="Group 557"/>
            <p:cNvGrpSpPr/>
            <p:nvPr/>
          </p:nvGrpSpPr>
          <p:grpSpPr>
            <a:xfrm rot="9000000" flipH="1">
              <a:off x="10525785" y="2618029"/>
              <a:ext cx="89613" cy="132564"/>
              <a:chOff x="2687372" y="3149601"/>
              <a:chExt cx="81465" cy="132564"/>
            </a:xfrm>
            <a:solidFill>
              <a:schemeClr val="accent1"/>
            </a:solidFill>
          </p:grpSpPr>
          <p:sp>
            <p:nvSpPr>
              <p:cNvPr id="559" name="Freeform 558"/>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60" name="Freeform 559"/>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61" name="Freeform 560"/>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62" name="Freeform 561"/>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63" name="Freeform 562"/>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64" name="Freeform 563"/>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grpSp>
        <p:nvGrpSpPr>
          <p:cNvPr id="17" name="Group 16"/>
          <p:cNvGrpSpPr/>
          <p:nvPr/>
        </p:nvGrpSpPr>
        <p:grpSpPr>
          <a:xfrm>
            <a:off x="10130191" y="3782724"/>
            <a:ext cx="484214" cy="601710"/>
            <a:chOff x="10126585" y="4213053"/>
            <a:chExt cx="484351" cy="601881"/>
          </a:xfrm>
        </p:grpSpPr>
        <p:grpSp>
          <p:nvGrpSpPr>
            <p:cNvPr id="544" name="Group 543"/>
            <p:cNvGrpSpPr>
              <a:grpSpLocks noChangeAspect="1"/>
            </p:cNvGrpSpPr>
            <p:nvPr/>
          </p:nvGrpSpPr>
          <p:grpSpPr>
            <a:xfrm>
              <a:off x="10126585" y="4284481"/>
              <a:ext cx="484351" cy="530453"/>
              <a:chOff x="223280" y="2346312"/>
              <a:chExt cx="448473" cy="530453"/>
            </a:xfrm>
          </p:grpSpPr>
          <p:sp>
            <p:nvSpPr>
              <p:cNvPr id="552" name="Freeform 551"/>
              <p:cNvSpPr>
                <a:spLocks/>
              </p:cNvSpPr>
              <p:nvPr/>
            </p:nvSpPr>
            <p:spPr bwMode="auto">
              <a:xfrm>
                <a:off x="223280" y="2437815"/>
                <a:ext cx="314654" cy="438950"/>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53" name="Freeform 552"/>
              <p:cNvSpPr>
                <a:spLocks/>
              </p:cNvSpPr>
              <p:nvPr/>
            </p:nvSpPr>
            <p:spPr bwMode="auto">
              <a:xfrm>
                <a:off x="370360" y="2346312"/>
                <a:ext cx="96446" cy="107417"/>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54" name="Freeform 553"/>
              <p:cNvSpPr>
                <a:spLocks/>
              </p:cNvSpPr>
              <p:nvPr/>
            </p:nvSpPr>
            <p:spPr bwMode="auto">
              <a:xfrm>
                <a:off x="481273" y="2616843"/>
                <a:ext cx="85596" cy="25197"/>
              </a:xfrm>
              <a:custGeom>
                <a:avLst/>
                <a:gdLst>
                  <a:gd name="T0" fmla="*/ 124 w 142"/>
                  <a:gd name="T1" fmla="*/ 0 h 38"/>
                  <a:gd name="T2" fmla="*/ 18 w 142"/>
                  <a:gd name="T3" fmla="*/ 0 h 38"/>
                  <a:gd name="T4" fmla="*/ 18 w 142"/>
                  <a:gd name="T5" fmla="*/ 0 h 38"/>
                  <a:gd name="T6" fmla="*/ 10 w 142"/>
                  <a:gd name="T7" fmla="*/ 2 h 38"/>
                  <a:gd name="T8" fmla="*/ 4 w 142"/>
                  <a:gd name="T9" fmla="*/ 6 h 38"/>
                  <a:gd name="T10" fmla="*/ 0 w 142"/>
                  <a:gd name="T11" fmla="*/ 12 h 38"/>
                  <a:gd name="T12" fmla="*/ 0 w 142"/>
                  <a:gd name="T13" fmla="*/ 20 h 38"/>
                  <a:gd name="T14" fmla="*/ 0 w 142"/>
                  <a:gd name="T15" fmla="*/ 20 h 38"/>
                  <a:gd name="T16" fmla="*/ 0 w 142"/>
                  <a:gd name="T17" fmla="*/ 26 h 38"/>
                  <a:gd name="T18" fmla="*/ 4 w 142"/>
                  <a:gd name="T19" fmla="*/ 32 h 38"/>
                  <a:gd name="T20" fmla="*/ 10 w 142"/>
                  <a:gd name="T21" fmla="*/ 36 h 38"/>
                  <a:gd name="T22" fmla="*/ 18 w 142"/>
                  <a:gd name="T23" fmla="*/ 38 h 38"/>
                  <a:gd name="T24" fmla="*/ 124 w 142"/>
                  <a:gd name="T25" fmla="*/ 38 h 38"/>
                  <a:gd name="T26" fmla="*/ 124 w 142"/>
                  <a:gd name="T27" fmla="*/ 38 h 38"/>
                  <a:gd name="T28" fmla="*/ 132 w 142"/>
                  <a:gd name="T29" fmla="*/ 36 h 38"/>
                  <a:gd name="T30" fmla="*/ 138 w 142"/>
                  <a:gd name="T31" fmla="*/ 32 h 38"/>
                  <a:gd name="T32" fmla="*/ 142 w 142"/>
                  <a:gd name="T33" fmla="*/ 26 h 38"/>
                  <a:gd name="T34" fmla="*/ 142 w 142"/>
                  <a:gd name="T35" fmla="*/ 20 h 38"/>
                  <a:gd name="T36" fmla="*/ 142 w 142"/>
                  <a:gd name="T37" fmla="*/ 20 h 38"/>
                  <a:gd name="T38" fmla="*/ 142 w 142"/>
                  <a:gd name="T39" fmla="*/ 12 h 38"/>
                  <a:gd name="T40" fmla="*/ 138 w 142"/>
                  <a:gd name="T41" fmla="*/ 6 h 38"/>
                  <a:gd name="T42" fmla="*/ 132 w 142"/>
                  <a:gd name="T43" fmla="*/ 2 h 38"/>
                  <a:gd name="T44" fmla="*/ 124 w 142"/>
                  <a:gd name="T45" fmla="*/ 0 h 38"/>
                  <a:gd name="T46" fmla="*/ 124 w 142"/>
                  <a:gd name="T4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38">
                    <a:moveTo>
                      <a:pt x="124" y="0"/>
                    </a:moveTo>
                    <a:lnTo>
                      <a:pt x="18" y="0"/>
                    </a:lnTo>
                    <a:lnTo>
                      <a:pt x="18" y="0"/>
                    </a:lnTo>
                    <a:lnTo>
                      <a:pt x="10" y="2"/>
                    </a:lnTo>
                    <a:lnTo>
                      <a:pt x="4" y="6"/>
                    </a:lnTo>
                    <a:lnTo>
                      <a:pt x="0" y="12"/>
                    </a:lnTo>
                    <a:lnTo>
                      <a:pt x="0" y="20"/>
                    </a:lnTo>
                    <a:lnTo>
                      <a:pt x="0" y="20"/>
                    </a:lnTo>
                    <a:lnTo>
                      <a:pt x="0" y="26"/>
                    </a:lnTo>
                    <a:lnTo>
                      <a:pt x="4" y="32"/>
                    </a:lnTo>
                    <a:lnTo>
                      <a:pt x="10" y="36"/>
                    </a:lnTo>
                    <a:lnTo>
                      <a:pt x="18" y="38"/>
                    </a:lnTo>
                    <a:lnTo>
                      <a:pt x="124" y="38"/>
                    </a:lnTo>
                    <a:lnTo>
                      <a:pt x="124" y="38"/>
                    </a:lnTo>
                    <a:lnTo>
                      <a:pt x="132" y="36"/>
                    </a:lnTo>
                    <a:lnTo>
                      <a:pt x="138" y="32"/>
                    </a:lnTo>
                    <a:lnTo>
                      <a:pt x="142" y="26"/>
                    </a:lnTo>
                    <a:lnTo>
                      <a:pt x="142" y="20"/>
                    </a:lnTo>
                    <a:lnTo>
                      <a:pt x="142" y="20"/>
                    </a:lnTo>
                    <a:lnTo>
                      <a:pt x="142" y="12"/>
                    </a:lnTo>
                    <a:lnTo>
                      <a:pt x="138" y="6"/>
                    </a:lnTo>
                    <a:lnTo>
                      <a:pt x="132" y="2"/>
                    </a:lnTo>
                    <a:lnTo>
                      <a:pt x="124" y="0"/>
                    </a:lnTo>
                    <a:lnTo>
                      <a:pt x="124" y="0"/>
                    </a:lnTo>
                    <a:close/>
                  </a:path>
                </a:pathLst>
              </a:custGeom>
              <a:solidFill>
                <a:schemeClr val="accent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55" name="Freeform 554"/>
              <p:cNvSpPr>
                <a:spLocks/>
              </p:cNvSpPr>
              <p:nvPr/>
            </p:nvSpPr>
            <p:spPr bwMode="auto">
              <a:xfrm>
                <a:off x="568074" y="2392727"/>
                <a:ext cx="103679" cy="249313"/>
              </a:xfrm>
              <a:custGeom>
                <a:avLst/>
                <a:gdLst>
                  <a:gd name="T0" fmla="*/ 96 w 172"/>
                  <a:gd name="T1" fmla="*/ 224 h 376"/>
                  <a:gd name="T2" fmla="*/ 96 w 172"/>
                  <a:gd name="T3" fmla="*/ 224 h 376"/>
                  <a:gd name="T4" fmla="*/ 94 w 172"/>
                  <a:gd name="T5" fmla="*/ 220 h 376"/>
                  <a:gd name="T6" fmla="*/ 88 w 172"/>
                  <a:gd name="T7" fmla="*/ 218 h 376"/>
                  <a:gd name="T8" fmla="*/ 172 w 172"/>
                  <a:gd name="T9" fmla="*/ 22 h 376"/>
                  <a:gd name="T10" fmla="*/ 122 w 172"/>
                  <a:gd name="T11" fmla="*/ 0 h 376"/>
                  <a:gd name="T12" fmla="*/ 0 w 172"/>
                  <a:gd name="T13" fmla="*/ 282 h 376"/>
                  <a:gd name="T14" fmla="*/ 52 w 172"/>
                  <a:gd name="T15" fmla="*/ 304 h 376"/>
                  <a:gd name="T16" fmla="*/ 72 w 172"/>
                  <a:gd name="T17" fmla="*/ 258 h 376"/>
                  <a:gd name="T18" fmla="*/ 110 w 172"/>
                  <a:gd name="T19" fmla="*/ 338 h 376"/>
                  <a:gd name="T20" fmla="*/ 54 w 172"/>
                  <a:gd name="T21" fmla="*/ 338 h 376"/>
                  <a:gd name="T22" fmla="*/ 54 w 172"/>
                  <a:gd name="T23" fmla="*/ 338 h 376"/>
                  <a:gd name="T24" fmla="*/ 46 w 172"/>
                  <a:gd name="T25" fmla="*/ 340 h 376"/>
                  <a:gd name="T26" fmla="*/ 40 w 172"/>
                  <a:gd name="T27" fmla="*/ 344 h 376"/>
                  <a:gd name="T28" fmla="*/ 38 w 172"/>
                  <a:gd name="T29" fmla="*/ 350 h 376"/>
                  <a:gd name="T30" fmla="*/ 36 w 172"/>
                  <a:gd name="T31" fmla="*/ 358 h 376"/>
                  <a:gd name="T32" fmla="*/ 36 w 172"/>
                  <a:gd name="T33" fmla="*/ 358 h 376"/>
                  <a:gd name="T34" fmla="*/ 38 w 172"/>
                  <a:gd name="T35" fmla="*/ 364 h 376"/>
                  <a:gd name="T36" fmla="*/ 40 w 172"/>
                  <a:gd name="T37" fmla="*/ 370 h 376"/>
                  <a:gd name="T38" fmla="*/ 46 w 172"/>
                  <a:gd name="T39" fmla="*/ 374 h 376"/>
                  <a:gd name="T40" fmla="*/ 54 w 172"/>
                  <a:gd name="T41" fmla="*/ 376 h 376"/>
                  <a:gd name="T42" fmla="*/ 140 w 172"/>
                  <a:gd name="T43" fmla="*/ 376 h 376"/>
                  <a:gd name="T44" fmla="*/ 140 w 172"/>
                  <a:gd name="T45" fmla="*/ 376 h 376"/>
                  <a:gd name="T46" fmla="*/ 148 w 172"/>
                  <a:gd name="T47" fmla="*/ 374 h 376"/>
                  <a:gd name="T48" fmla="*/ 156 w 172"/>
                  <a:gd name="T49" fmla="*/ 368 h 376"/>
                  <a:gd name="T50" fmla="*/ 156 w 172"/>
                  <a:gd name="T51" fmla="*/ 368 h 376"/>
                  <a:gd name="T52" fmla="*/ 158 w 172"/>
                  <a:gd name="T53" fmla="*/ 358 h 376"/>
                  <a:gd name="T54" fmla="*/ 156 w 172"/>
                  <a:gd name="T55" fmla="*/ 350 h 376"/>
                  <a:gd name="T56" fmla="*/ 96 w 172"/>
                  <a:gd name="T57" fmla="*/ 2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376">
                    <a:moveTo>
                      <a:pt x="96" y="224"/>
                    </a:moveTo>
                    <a:lnTo>
                      <a:pt x="96" y="224"/>
                    </a:lnTo>
                    <a:lnTo>
                      <a:pt x="94" y="220"/>
                    </a:lnTo>
                    <a:lnTo>
                      <a:pt x="88" y="218"/>
                    </a:lnTo>
                    <a:lnTo>
                      <a:pt x="172" y="22"/>
                    </a:lnTo>
                    <a:lnTo>
                      <a:pt x="122" y="0"/>
                    </a:lnTo>
                    <a:lnTo>
                      <a:pt x="0" y="282"/>
                    </a:lnTo>
                    <a:lnTo>
                      <a:pt x="52" y="304"/>
                    </a:lnTo>
                    <a:lnTo>
                      <a:pt x="72" y="258"/>
                    </a:lnTo>
                    <a:lnTo>
                      <a:pt x="110" y="338"/>
                    </a:lnTo>
                    <a:lnTo>
                      <a:pt x="54" y="338"/>
                    </a:lnTo>
                    <a:lnTo>
                      <a:pt x="54" y="338"/>
                    </a:lnTo>
                    <a:lnTo>
                      <a:pt x="46" y="340"/>
                    </a:lnTo>
                    <a:lnTo>
                      <a:pt x="40" y="344"/>
                    </a:lnTo>
                    <a:lnTo>
                      <a:pt x="38" y="350"/>
                    </a:lnTo>
                    <a:lnTo>
                      <a:pt x="36" y="358"/>
                    </a:lnTo>
                    <a:lnTo>
                      <a:pt x="36" y="358"/>
                    </a:lnTo>
                    <a:lnTo>
                      <a:pt x="38" y="364"/>
                    </a:lnTo>
                    <a:lnTo>
                      <a:pt x="40" y="370"/>
                    </a:lnTo>
                    <a:lnTo>
                      <a:pt x="46" y="374"/>
                    </a:lnTo>
                    <a:lnTo>
                      <a:pt x="54" y="376"/>
                    </a:lnTo>
                    <a:lnTo>
                      <a:pt x="140" y="376"/>
                    </a:lnTo>
                    <a:lnTo>
                      <a:pt x="140" y="376"/>
                    </a:lnTo>
                    <a:lnTo>
                      <a:pt x="148" y="374"/>
                    </a:lnTo>
                    <a:lnTo>
                      <a:pt x="156" y="368"/>
                    </a:lnTo>
                    <a:lnTo>
                      <a:pt x="156" y="368"/>
                    </a:lnTo>
                    <a:lnTo>
                      <a:pt x="158" y="358"/>
                    </a:lnTo>
                    <a:lnTo>
                      <a:pt x="156" y="350"/>
                    </a:lnTo>
                    <a:lnTo>
                      <a:pt x="96" y="224"/>
                    </a:lnTo>
                    <a:close/>
                  </a:path>
                </a:pathLst>
              </a:custGeom>
              <a:solidFill>
                <a:schemeClr val="accent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56" name="Rectangle 555"/>
              <p:cNvSpPr/>
              <p:nvPr/>
            </p:nvSpPr>
            <p:spPr bwMode="auto">
              <a:xfrm>
                <a:off x="446928" y="2662225"/>
                <a:ext cx="221285" cy="1707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nvGrpSpPr>
            <p:cNvPr id="545" name="Group 544"/>
            <p:cNvGrpSpPr/>
            <p:nvPr/>
          </p:nvGrpSpPr>
          <p:grpSpPr>
            <a:xfrm rot="13971796">
              <a:off x="10451170" y="4189429"/>
              <a:ext cx="98572" cy="145820"/>
              <a:chOff x="2687372" y="3149601"/>
              <a:chExt cx="81465" cy="132564"/>
            </a:xfrm>
            <a:solidFill>
              <a:schemeClr val="accent1"/>
            </a:solidFill>
          </p:grpSpPr>
          <p:sp>
            <p:nvSpPr>
              <p:cNvPr id="546" name="Freeform 54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47" name="Freeform 54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48" name="Freeform 54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49" name="Freeform 54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50" name="Freeform 54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51" name="Freeform 55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grpSp>
        <p:nvGrpSpPr>
          <p:cNvPr id="18" name="Group 17"/>
          <p:cNvGrpSpPr/>
          <p:nvPr/>
        </p:nvGrpSpPr>
        <p:grpSpPr>
          <a:xfrm>
            <a:off x="10120022" y="5159093"/>
            <a:ext cx="451997" cy="691873"/>
            <a:chOff x="10091739" y="5589819"/>
            <a:chExt cx="452124" cy="692072"/>
          </a:xfrm>
        </p:grpSpPr>
        <p:grpSp>
          <p:nvGrpSpPr>
            <p:cNvPr id="531" name="Group 530"/>
            <p:cNvGrpSpPr/>
            <p:nvPr/>
          </p:nvGrpSpPr>
          <p:grpSpPr>
            <a:xfrm>
              <a:off x="10167849" y="5589819"/>
              <a:ext cx="376014" cy="692072"/>
              <a:chOff x="226212" y="3840074"/>
              <a:chExt cx="376014" cy="692072"/>
            </a:xfrm>
            <a:solidFill>
              <a:schemeClr val="bg1"/>
            </a:solidFill>
          </p:grpSpPr>
          <p:sp>
            <p:nvSpPr>
              <p:cNvPr id="539" name="Freeform 538"/>
              <p:cNvSpPr>
                <a:spLocks/>
              </p:cNvSpPr>
              <p:nvPr/>
            </p:nvSpPr>
            <p:spPr bwMode="auto">
              <a:xfrm>
                <a:off x="401567" y="3840074"/>
                <a:ext cx="140058" cy="80264"/>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grp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40" name="Freeform 539"/>
              <p:cNvSpPr>
                <a:spLocks/>
              </p:cNvSpPr>
              <p:nvPr/>
            </p:nvSpPr>
            <p:spPr bwMode="auto">
              <a:xfrm>
                <a:off x="427838" y="3931136"/>
                <a:ext cx="102989" cy="63018"/>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grp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41" name="Freeform 540"/>
              <p:cNvSpPr>
                <a:spLocks/>
              </p:cNvSpPr>
              <p:nvPr/>
            </p:nvSpPr>
            <p:spPr bwMode="auto">
              <a:xfrm>
                <a:off x="226212" y="4011722"/>
                <a:ext cx="376014" cy="520424"/>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grp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42" name="Freeform 541"/>
              <p:cNvSpPr>
                <a:spLocks/>
              </p:cNvSpPr>
              <p:nvPr/>
            </p:nvSpPr>
            <p:spPr bwMode="auto">
              <a:xfrm>
                <a:off x="241685" y="4057495"/>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43" name="Freeform 542"/>
              <p:cNvSpPr>
                <a:spLocks/>
              </p:cNvSpPr>
              <p:nvPr/>
            </p:nvSpPr>
            <p:spPr bwMode="auto">
              <a:xfrm>
                <a:off x="254095" y="4069905"/>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nvGrpSpPr>
            <p:cNvPr id="532" name="Group 531"/>
            <p:cNvGrpSpPr/>
            <p:nvPr/>
          </p:nvGrpSpPr>
          <p:grpSpPr>
            <a:xfrm rot="13290159">
              <a:off x="10091739" y="5672508"/>
              <a:ext cx="89613" cy="132564"/>
              <a:chOff x="2687372" y="3149601"/>
              <a:chExt cx="81465" cy="132564"/>
            </a:xfrm>
            <a:solidFill>
              <a:schemeClr val="accent1"/>
            </a:solidFill>
          </p:grpSpPr>
          <p:sp>
            <p:nvSpPr>
              <p:cNvPr id="533" name="Freeform 532"/>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34" name="Freeform 533"/>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35" name="Freeform 534"/>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36" name="Freeform 535"/>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37" name="Freeform 536"/>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38" name="Freeform 537"/>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sp>
        <p:nvSpPr>
          <p:cNvPr id="19" name="Rectangle 18"/>
          <p:cNvSpPr/>
          <p:nvPr/>
        </p:nvSpPr>
        <p:spPr bwMode="auto">
          <a:xfrm>
            <a:off x="7274368" y="1447234"/>
            <a:ext cx="2613795" cy="2655380"/>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20" name="Group 19"/>
          <p:cNvGrpSpPr/>
          <p:nvPr/>
        </p:nvGrpSpPr>
        <p:grpSpPr>
          <a:xfrm>
            <a:off x="7313231" y="1491799"/>
            <a:ext cx="2544033" cy="2587517"/>
            <a:chOff x="199444" y="1932654"/>
            <a:chExt cx="1691879" cy="1585517"/>
          </a:xfrm>
        </p:grpSpPr>
        <p:sp>
          <p:nvSpPr>
            <p:cNvPr id="526" name="Trapezoid 525"/>
            <p:cNvSpPr/>
            <p:nvPr/>
          </p:nvSpPr>
          <p:spPr bwMode="auto">
            <a:xfrm>
              <a:off x="203676" y="3200073"/>
              <a:ext cx="1682885" cy="313274"/>
            </a:xfrm>
            <a:prstGeom prst="trapezoid">
              <a:avLst>
                <a:gd name="adj" fmla="val 6779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527" name="Group 526"/>
            <p:cNvGrpSpPr/>
            <p:nvPr/>
          </p:nvGrpSpPr>
          <p:grpSpPr>
            <a:xfrm>
              <a:off x="199444" y="1932654"/>
              <a:ext cx="1691879" cy="1585517"/>
              <a:chOff x="114794" y="583668"/>
              <a:chExt cx="3534424" cy="3543635"/>
            </a:xfrm>
          </p:grpSpPr>
          <p:sp>
            <p:nvSpPr>
              <p:cNvPr id="528" name="Rectangle 527"/>
              <p:cNvSpPr/>
              <p:nvPr/>
            </p:nvSpPr>
            <p:spPr bwMode="auto">
              <a:xfrm>
                <a:off x="607548" y="583668"/>
                <a:ext cx="2543904" cy="2819442"/>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29" name="Trapezoid 302"/>
              <p:cNvSpPr/>
              <p:nvPr/>
            </p:nvSpPr>
            <p:spPr bwMode="auto">
              <a:xfrm rot="16200000">
                <a:off x="2292621" y="2770705"/>
                <a:ext cx="2234396" cy="478799"/>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5"/>
                  <a:gd name="connsiteY0" fmla="*/ 297477 h 297477"/>
                  <a:gd name="connsiteX1" fmla="*/ 716023 w 2234395"/>
                  <a:gd name="connsiteY1" fmla="*/ 0 h 297477"/>
                  <a:gd name="connsiteX2" fmla="*/ 2234395 w 2234395"/>
                  <a:gd name="connsiteY2" fmla="*/ 1500 h 297477"/>
                  <a:gd name="connsiteX3" fmla="*/ 2232737 w 2234395"/>
                  <a:gd name="connsiteY3" fmla="*/ 297477 h 297477"/>
                  <a:gd name="connsiteX4" fmla="*/ 0 w 2234395"/>
                  <a:gd name="connsiteY4" fmla="*/ 297477 h 297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297477">
                    <a:moveTo>
                      <a:pt x="0" y="297477"/>
                    </a:moveTo>
                    <a:lnTo>
                      <a:pt x="716023" y="0"/>
                    </a:lnTo>
                    <a:lnTo>
                      <a:pt x="2234395" y="1500"/>
                    </a:lnTo>
                    <a:cubicBezTo>
                      <a:pt x="2233842" y="100159"/>
                      <a:pt x="2233290" y="198818"/>
                      <a:pt x="2232737" y="297477"/>
                    </a:cubicBezTo>
                    <a:lnTo>
                      <a:pt x="0" y="297477"/>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30"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sp>
        <p:nvSpPr>
          <p:cNvPr id="21" name="Trapezoid 20"/>
          <p:cNvSpPr/>
          <p:nvPr/>
        </p:nvSpPr>
        <p:spPr bwMode="auto">
          <a:xfrm>
            <a:off x="7494581" y="3784057"/>
            <a:ext cx="1167086" cy="212098"/>
          </a:xfrm>
          <a:prstGeom prst="trapezoid">
            <a:avLst>
              <a:gd name="adj" fmla="val 80666"/>
            </a:avLst>
          </a:prstGeom>
          <a:solidFill>
            <a:srgbClr val="00AFED">
              <a:alpha val="50000"/>
            </a:srgbClr>
          </a:solidFill>
          <a:ln w="19050">
            <a:solidFill>
              <a:srgbClr val="00AFE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22" name="Group 21"/>
          <p:cNvGrpSpPr/>
          <p:nvPr/>
        </p:nvGrpSpPr>
        <p:grpSpPr>
          <a:xfrm>
            <a:off x="5524324" y="888785"/>
            <a:ext cx="1475957" cy="1475957"/>
            <a:chOff x="12938991" y="3310221"/>
            <a:chExt cx="1476375" cy="1476375"/>
          </a:xfrm>
        </p:grpSpPr>
        <p:sp>
          <p:nvSpPr>
            <p:cNvPr id="517" name="Freeform 516"/>
            <p:cNvSpPr>
              <a:spLocks/>
            </p:cNvSpPr>
            <p:nvPr/>
          </p:nvSpPr>
          <p:spPr bwMode="auto">
            <a:xfrm>
              <a:off x="12938991" y="3310221"/>
              <a:ext cx="1476375" cy="1476375"/>
            </a:xfrm>
            <a:custGeom>
              <a:avLst/>
              <a:gdLst>
                <a:gd name="T0" fmla="*/ 0 w 930"/>
                <a:gd name="T1" fmla="*/ 466 h 930"/>
                <a:gd name="T2" fmla="*/ 2 w 930"/>
                <a:gd name="T3" fmla="*/ 418 h 930"/>
                <a:gd name="T4" fmla="*/ 20 w 930"/>
                <a:gd name="T5" fmla="*/ 328 h 930"/>
                <a:gd name="T6" fmla="*/ 56 w 930"/>
                <a:gd name="T7" fmla="*/ 244 h 930"/>
                <a:gd name="T8" fmla="*/ 106 w 930"/>
                <a:gd name="T9" fmla="*/ 170 h 930"/>
                <a:gd name="T10" fmla="*/ 170 w 930"/>
                <a:gd name="T11" fmla="*/ 106 h 930"/>
                <a:gd name="T12" fmla="*/ 244 w 930"/>
                <a:gd name="T13" fmla="*/ 56 h 930"/>
                <a:gd name="T14" fmla="*/ 326 w 930"/>
                <a:gd name="T15" fmla="*/ 22 h 930"/>
                <a:gd name="T16" fmla="*/ 418 w 930"/>
                <a:gd name="T17" fmla="*/ 4 h 930"/>
                <a:gd name="T18" fmla="*/ 464 w 930"/>
                <a:gd name="T19" fmla="*/ 0 h 930"/>
                <a:gd name="T20" fmla="*/ 488 w 930"/>
                <a:gd name="T21" fmla="*/ 2 h 930"/>
                <a:gd name="T22" fmla="*/ 558 w 930"/>
                <a:gd name="T23" fmla="*/ 10 h 930"/>
                <a:gd name="T24" fmla="*/ 646 w 930"/>
                <a:gd name="T25" fmla="*/ 38 h 930"/>
                <a:gd name="T26" fmla="*/ 724 w 930"/>
                <a:gd name="T27" fmla="*/ 80 h 930"/>
                <a:gd name="T28" fmla="*/ 794 w 930"/>
                <a:gd name="T29" fmla="*/ 136 h 930"/>
                <a:gd name="T30" fmla="*/ 850 w 930"/>
                <a:gd name="T31" fmla="*/ 206 h 930"/>
                <a:gd name="T32" fmla="*/ 894 w 930"/>
                <a:gd name="T33" fmla="*/ 284 h 930"/>
                <a:gd name="T34" fmla="*/ 920 w 930"/>
                <a:gd name="T35" fmla="*/ 372 h 930"/>
                <a:gd name="T36" fmla="*/ 930 w 930"/>
                <a:gd name="T37" fmla="*/ 442 h 930"/>
                <a:gd name="T38" fmla="*/ 930 w 930"/>
                <a:gd name="T39" fmla="*/ 466 h 930"/>
                <a:gd name="T40" fmla="*/ 930 w 930"/>
                <a:gd name="T41" fmla="*/ 490 h 930"/>
                <a:gd name="T42" fmla="*/ 920 w 930"/>
                <a:gd name="T43" fmla="*/ 560 h 930"/>
                <a:gd name="T44" fmla="*/ 894 w 930"/>
                <a:gd name="T45" fmla="*/ 646 h 930"/>
                <a:gd name="T46" fmla="*/ 850 w 930"/>
                <a:gd name="T47" fmla="*/ 726 h 930"/>
                <a:gd name="T48" fmla="*/ 794 w 930"/>
                <a:gd name="T49" fmla="*/ 794 h 930"/>
                <a:gd name="T50" fmla="*/ 724 w 930"/>
                <a:gd name="T51" fmla="*/ 852 h 930"/>
                <a:gd name="T52" fmla="*/ 646 w 930"/>
                <a:gd name="T53" fmla="*/ 894 h 930"/>
                <a:gd name="T54" fmla="*/ 558 w 930"/>
                <a:gd name="T55" fmla="*/ 920 h 930"/>
                <a:gd name="T56" fmla="*/ 488 w 930"/>
                <a:gd name="T57" fmla="*/ 930 h 930"/>
                <a:gd name="T58" fmla="*/ 464 w 930"/>
                <a:gd name="T59" fmla="*/ 930 h 930"/>
                <a:gd name="T60" fmla="*/ 418 w 930"/>
                <a:gd name="T61" fmla="*/ 928 h 930"/>
                <a:gd name="T62" fmla="*/ 326 w 930"/>
                <a:gd name="T63" fmla="*/ 910 h 930"/>
                <a:gd name="T64" fmla="*/ 244 w 930"/>
                <a:gd name="T65" fmla="*/ 874 h 930"/>
                <a:gd name="T66" fmla="*/ 170 w 930"/>
                <a:gd name="T67" fmla="*/ 824 h 930"/>
                <a:gd name="T68" fmla="*/ 106 w 930"/>
                <a:gd name="T69" fmla="*/ 762 h 930"/>
                <a:gd name="T70" fmla="*/ 56 w 930"/>
                <a:gd name="T71" fmla="*/ 688 h 930"/>
                <a:gd name="T72" fmla="*/ 20 w 930"/>
                <a:gd name="T73" fmla="*/ 604 h 930"/>
                <a:gd name="T74" fmla="*/ 2 w 930"/>
                <a:gd name="T75" fmla="*/ 514 h 930"/>
                <a:gd name="T76" fmla="*/ 0 w 930"/>
                <a:gd name="T77" fmla="*/ 466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0" h="930">
                  <a:moveTo>
                    <a:pt x="0" y="466"/>
                  </a:moveTo>
                  <a:lnTo>
                    <a:pt x="0" y="466"/>
                  </a:lnTo>
                  <a:lnTo>
                    <a:pt x="0" y="442"/>
                  </a:lnTo>
                  <a:lnTo>
                    <a:pt x="2" y="418"/>
                  </a:lnTo>
                  <a:lnTo>
                    <a:pt x="10" y="372"/>
                  </a:lnTo>
                  <a:lnTo>
                    <a:pt x="20" y="328"/>
                  </a:lnTo>
                  <a:lnTo>
                    <a:pt x="36" y="284"/>
                  </a:lnTo>
                  <a:lnTo>
                    <a:pt x="56" y="244"/>
                  </a:lnTo>
                  <a:lnTo>
                    <a:pt x="80" y="206"/>
                  </a:lnTo>
                  <a:lnTo>
                    <a:pt x="106" y="170"/>
                  </a:lnTo>
                  <a:lnTo>
                    <a:pt x="136" y="136"/>
                  </a:lnTo>
                  <a:lnTo>
                    <a:pt x="170" y="106"/>
                  </a:lnTo>
                  <a:lnTo>
                    <a:pt x="204" y="80"/>
                  </a:lnTo>
                  <a:lnTo>
                    <a:pt x="244" y="56"/>
                  </a:lnTo>
                  <a:lnTo>
                    <a:pt x="284" y="38"/>
                  </a:lnTo>
                  <a:lnTo>
                    <a:pt x="326" y="22"/>
                  </a:lnTo>
                  <a:lnTo>
                    <a:pt x="372" y="10"/>
                  </a:lnTo>
                  <a:lnTo>
                    <a:pt x="418" y="4"/>
                  </a:lnTo>
                  <a:lnTo>
                    <a:pt x="440" y="2"/>
                  </a:lnTo>
                  <a:lnTo>
                    <a:pt x="464" y="0"/>
                  </a:lnTo>
                  <a:lnTo>
                    <a:pt x="464" y="0"/>
                  </a:lnTo>
                  <a:lnTo>
                    <a:pt x="488" y="2"/>
                  </a:lnTo>
                  <a:lnTo>
                    <a:pt x="512" y="4"/>
                  </a:lnTo>
                  <a:lnTo>
                    <a:pt x="558" y="10"/>
                  </a:lnTo>
                  <a:lnTo>
                    <a:pt x="604" y="22"/>
                  </a:lnTo>
                  <a:lnTo>
                    <a:pt x="646" y="38"/>
                  </a:lnTo>
                  <a:lnTo>
                    <a:pt x="686" y="56"/>
                  </a:lnTo>
                  <a:lnTo>
                    <a:pt x="724" y="80"/>
                  </a:lnTo>
                  <a:lnTo>
                    <a:pt x="760" y="106"/>
                  </a:lnTo>
                  <a:lnTo>
                    <a:pt x="794" y="136"/>
                  </a:lnTo>
                  <a:lnTo>
                    <a:pt x="824" y="170"/>
                  </a:lnTo>
                  <a:lnTo>
                    <a:pt x="850" y="206"/>
                  </a:lnTo>
                  <a:lnTo>
                    <a:pt x="874" y="244"/>
                  </a:lnTo>
                  <a:lnTo>
                    <a:pt x="894" y="284"/>
                  </a:lnTo>
                  <a:lnTo>
                    <a:pt x="908" y="328"/>
                  </a:lnTo>
                  <a:lnTo>
                    <a:pt x="920" y="372"/>
                  </a:lnTo>
                  <a:lnTo>
                    <a:pt x="928" y="418"/>
                  </a:lnTo>
                  <a:lnTo>
                    <a:pt x="930" y="442"/>
                  </a:lnTo>
                  <a:lnTo>
                    <a:pt x="930" y="466"/>
                  </a:lnTo>
                  <a:lnTo>
                    <a:pt x="930" y="466"/>
                  </a:lnTo>
                  <a:lnTo>
                    <a:pt x="930" y="466"/>
                  </a:lnTo>
                  <a:lnTo>
                    <a:pt x="930" y="490"/>
                  </a:lnTo>
                  <a:lnTo>
                    <a:pt x="928" y="514"/>
                  </a:lnTo>
                  <a:lnTo>
                    <a:pt x="920" y="560"/>
                  </a:lnTo>
                  <a:lnTo>
                    <a:pt x="908" y="604"/>
                  </a:lnTo>
                  <a:lnTo>
                    <a:pt x="894" y="646"/>
                  </a:lnTo>
                  <a:lnTo>
                    <a:pt x="874" y="688"/>
                  </a:lnTo>
                  <a:lnTo>
                    <a:pt x="850" y="726"/>
                  </a:lnTo>
                  <a:lnTo>
                    <a:pt x="824" y="762"/>
                  </a:lnTo>
                  <a:lnTo>
                    <a:pt x="794" y="794"/>
                  </a:lnTo>
                  <a:lnTo>
                    <a:pt x="760" y="824"/>
                  </a:lnTo>
                  <a:lnTo>
                    <a:pt x="724" y="852"/>
                  </a:lnTo>
                  <a:lnTo>
                    <a:pt x="686" y="874"/>
                  </a:lnTo>
                  <a:lnTo>
                    <a:pt x="646" y="894"/>
                  </a:lnTo>
                  <a:lnTo>
                    <a:pt x="604" y="910"/>
                  </a:lnTo>
                  <a:lnTo>
                    <a:pt x="558" y="920"/>
                  </a:lnTo>
                  <a:lnTo>
                    <a:pt x="512" y="928"/>
                  </a:lnTo>
                  <a:lnTo>
                    <a:pt x="488" y="930"/>
                  </a:lnTo>
                  <a:lnTo>
                    <a:pt x="464" y="930"/>
                  </a:lnTo>
                  <a:lnTo>
                    <a:pt x="464" y="930"/>
                  </a:lnTo>
                  <a:lnTo>
                    <a:pt x="442" y="930"/>
                  </a:lnTo>
                  <a:lnTo>
                    <a:pt x="418" y="928"/>
                  </a:lnTo>
                  <a:lnTo>
                    <a:pt x="372" y="920"/>
                  </a:lnTo>
                  <a:lnTo>
                    <a:pt x="326" y="910"/>
                  </a:lnTo>
                  <a:lnTo>
                    <a:pt x="284" y="894"/>
                  </a:lnTo>
                  <a:lnTo>
                    <a:pt x="244" y="874"/>
                  </a:lnTo>
                  <a:lnTo>
                    <a:pt x="206" y="852"/>
                  </a:lnTo>
                  <a:lnTo>
                    <a:pt x="170" y="824"/>
                  </a:lnTo>
                  <a:lnTo>
                    <a:pt x="136" y="794"/>
                  </a:lnTo>
                  <a:lnTo>
                    <a:pt x="106" y="762"/>
                  </a:lnTo>
                  <a:lnTo>
                    <a:pt x="80" y="726"/>
                  </a:lnTo>
                  <a:lnTo>
                    <a:pt x="56" y="688"/>
                  </a:lnTo>
                  <a:lnTo>
                    <a:pt x="36" y="646"/>
                  </a:lnTo>
                  <a:lnTo>
                    <a:pt x="20" y="604"/>
                  </a:lnTo>
                  <a:lnTo>
                    <a:pt x="10" y="560"/>
                  </a:lnTo>
                  <a:lnTo>
                    <a:pt x="2" y="514"/>
                  </a:lnTo>
                  <a:lnTo>
                    <a:pt x="0" y="490"/>
                  </a:lnTo>
                  <a:lnTo>
                    <a:pt x="0" y="466"/>
                  </a:lnTo>
                  <a:lnTo>
                    <a:pt x="0" y="466"/>
                  </a:lnTo>
                  <a:close/>
                </a:path>
              </a:pathLst>
            </a:custGeom>
            <a:solidFill>
              <a:srgbClr val="00607A"/>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18" name="Freeform 517"/>
            <p:cNvSpPr>
              <a:spLocks/>
            </p:cNvSpPr>
            <p:nvPr/>
          </p:nvSpPr>
          <p:spPr bwMode="auto">
            <a:xfrm>
              <a:off x="12938991" y="3310221"/>
              <a:ext cx="1476375" cy="1476375"/>
            </a:xfrm>
            <a:custGeom>
              <a:avLst/>
              <a:gdLst>
                <a:gd name="T0" fmla="*/ 0 w 930"/>
                <a:gd name="T1" fmla="*/ 466 h 930"/>
                <a:gd name="T2" fmla="*/ 2 w 930"/>
                <a:gd name="T3" fmla="*/ 418 h 930"/>
                <a:gd name="T4" fmla="*/ 20 w 930"/>
                <a:gd name="T5" fmla="*/ 328 h 930"/>
                <a:gd name="T6" fmla="*/ 56 w 930"/>
                <a:gd name="T7" fmla="*/ 244 h 930"/>
                <a:gd name="T8" fmla="*/ 106 w 930"/>
                <a:gd name="T9" fmla="*/ 170 h 930"/>
                <a:gd name="T10" fmla="*/ 170 w 930"/>
                <a:gd name="T11" fmla="*/ 106 h 930"/>
                <a:gd name="T12" fmla="*/ 244 w 930"/>
                <a:gd name="T13" fmla="*/ 56 h 930"/>
                <a:gd name="T14" fmla="*/ 326 w 930"/>
                <a:gd name="T15" fmla="*/ 22 h 930"/>
                <a:gd name="T16" fmla="*/ 418 w 930"/>
                <a:gd name="T17" fmla="*/ 4 h 930"/>
                <a:gd name="T18" fmla="*/ 464 w 930"/>
                <a:gd name="T19" fmla="*/ 0 h 930"/>
                <a:gd name="T20" fmla="*/ 488 w 930"/>
                <a:gd name="T21" fmla="*/ 2 h 930"/>
                <a:gd name="T22" fmla="*/ 558 w 930"/>
                <a:gd name="T23" fmla="*/ 10 h 930"/>
                <a:gd name="T24" fmla="*/ 646 w 930"/>
                <a:gd name="T25" fmla="*/ 38 h 930"/>
                <a:gd name="T26" fmla="*/ 724 w 930"/>
                <a:gd name="T27" fmla="*/ 80 h 930"/>
                <a:gd name="T28" fmla="*/ 794 w 930"/>
                <a:gd name="T29" fmla="*/ 136 h 930"/>
                <a:gd name="T30" fmla="*/ 850 w 930"/>
                <a:gd name="T31" fmla="*/ 206 h 930"/>
                <a:gd name="T32" fmla="*/ 894 w 930"/>
                <a:gd name="T33" fmla="*/ 284 h 930"/>
                <a:gd name="T34" fmla="*/ 920 w 930"/>
                <a:gd name="T35" fmla="*/ 372 h 930"/>
                <a:gd name="T36" fmla="*/ 930 w 930"/>
                <a:gd name="T37" fmla="*/ 442 h 930"/>
                <a:gd name="T38" fmla="*/ 930 w 930"/>
                <a:gd name="T39" fmla="*/ 466 h 930"/>
                <a:gd name="T40" fmla="*/ 930 w 930"/>
                <a:gd name="T41" fmla="*/ 490 h 930"/>
                <a:gd name="T42" fmla="*/ 920 w 930"/>
                <a:gd name="T43" fmla="*/ 560 h 930"/>
                <a:gd name="T44" fmla="*/ 894 w 930"/>
                <a:gd name="T45" fmla="*/ 646 h 930"/>
                <a:gd name="T46" fmla="*/ 850 w 930"/>
                <a:gd name="T47" fmla="*/ 726 h 930"/>
                <a:gd name="T48" fmla="*/ 794 w 930"/>
                <a:gd name="T49" fmla="*/ 794 h 930"/>
                <a:gd name="T50" fmla="*/ 724 w 930"/>
                <a:gd name="T51" fmla="*/ 852 h 930"/>
                <a:gd name="T52" fmla="*/ 646 w 930"/>
                <a:gd name="T53" fmla="*/ 894 h 930"/>
                <a:gd name="T54" fmla="*/ 558 w 930"/>
                <a:gd name="T55" fmla="*/ 920 h 930"/>
                <a:gd name="T56" fmla="*/ 488 w 930"/>
                <a:gd name="T57" fmla="*/ 930 h 930"/>
                <a:gd name="T58" fmla="*/ 464 w 930"/>
                <a:gd name="T59" fmla="*/ 930 h 930"/>
                <a:gd name="T60" fmla="*/ 418 w 930"/>
                <a:gd name="T61" fmla="*/ 928 h 930"/>
                <a:gd name="T62" fmla="*/ 326 w 930"/>
                <a:gd name="T63" fmla="*/ 910 h 930"/>
                <a:gd name="T64" fmla="*/ 244 w 930"/>
                <a:gd name="T65" fmla="*/ 874 h 930"/>
                <a:gd name="T66" fmla="*/ 170 w 930"/>
                <a:gd name="T67" fmla="*/ 824 h 930"/>
                <a:gd name="T68" fmla="*/ 106 w 930"/>
                <a:gd name="T69" fmla="*/ 762 h 930"/>
                <a:gd name="T70" fmla="*/ 56 w 930"/>
                <a:gd name="T71" fmla="*/ 688 h 930"/>
                <a:gd name="T72" fmla="*/ 20 w 930"/>
                <a:gd name="T73" fmla="*/ 604 h 930"/>
                <a:gd name="T74" fmla="*/ 2 w 930"/>
                <a:gd name="T75" fmla="*/ 514 h 930"/>
                <a:gd name="T76" fmla="*/ 0 w 930"/>
                <a:gd name="T77" fmla="*/ 466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0" h="930">
                  <a:moveTo>
                    <a:pt x="0" y="466"/>
                  </a:moveTo>
                  <a:lnTo>
                    <a:pt x="0" y="466"/>
                  </a:lnTo>
                  <a:lnTo>
                    <a:pt x="0" y="442"/>
                  </a:lnTo>
                  <a:lnTo>
                    <a:pt x="2" y="418"/>
                  </a:lnTo>
                  <a:lnTo>
                    <a:pt x="10" y="372"/>
                  </a:lnTo>
                  <a:lnTo>
                    <a:pt x="20" y="328"/>
                  </a:lnTo>
                  <a:lnTo>
                    <a:pt x="36" y="284"/>
                  </a:lnTo>
                  <a:lnTo>
                    <a:pt x="56" y="244"/>
                  </a:lnTo>
                  <a:lnTo>
                    <a:pt x="80" y="206"/>
                  </a:lnTo>
                  <a:lnTo>
                    <a:pt x="106" y="170"/>
                  </a:lnTo>
                  <a:lnTo>
                    <a:pt x="136" y="136"/>
                  </a:lnTo>
                  <a:lnTo>
                    <a:pt x="170" y="106"/>
                  </a:lnTo>
                  <a:lnTo>
                    <a:pt x="204" y="80"/>
                  </a:lnTo>
                  <a:lnTo>
                    <a:pt x="244" y="56"/>
                  </a:lnTo>
                  <a:lnTo>
                    <a:pt x="284" y="38"/>
                  </a:lnTo>
                  <a:lnTo>
                    <a:pt x="326" y="22"/>
                  </a:lnTo>
                  <a:lnTo>
                    <a:pt x="372" y="10"/>
                  </a:lnTo>
                  <a:lnTo>
                    <a:pt x="418" y="4"/>
                  </a:lnTo>
                  <a:lnTo>
                    <a:pt x="440" y="2"/>
                  </a:lnTo>
                  <a:lnTo>
                    <a:pt x="464" y="0"/>
                  </a:lnTo>
                  <a:lnTo>
                    <a:pt x="464" y="0"/>
                  </a:lnTo>
                  <a:lnTo>
                    <a:pt x="488" y="2"/>
                  </a:lnTo>
                  <a:lnTo>
                    <a:pt x="512" y="4"/>
                  </a:lnTo>
                  <a:lnTo>
                    <a:pt x="558" y="10"/>
                  </a:lnTo>
                  <a:lnTo>
                    <a:pt x="604" y="22"/>
                  </a:lnTo>
                  <a:lnTo>
                    <a:pt x="646" y="38"/>
                  </a:lnTo>
                  <a:lnTo>
                    <a:pt x="686" y="56"/>
                  </a:lnTo>
                  <a:lnTo>
                    <a:pt x="724" y="80"/>
                  </a:lnTo>
                  <a:lnTo>
                    <a:pt x="760" y="106"/>
                  </a:lnTo>
                  <a:lnTo>
                    <a:pt x="794" y="136"/>
                  </a:lnTo>
                  <a:lnTo>
                    <a:pt x="824" y="170"/>
                  </a:lnTo>
                  <a:lnTo>
                    <a:pt x="850" y="206"/>
                  </a:lnTo>
                  <a:lnTo>
                    <a:pt x="874" y="244"/>
                  </a:lnTo>
                  <a:lnTo>
                    <a:pt x="894" y="284"/>
                  </a:lnTo>
                  <a:lnTo>
                    <a:pt x="908" y="328"/>
                  </a:lnTo>
                  <a:lnTo>
                    <a:pt x="920" y="372"/>
                  </a:lnTo>
                  <a:lnTo>
                    <a:pt x="928" y="418"/>
                  </a:lnTo>
                  <a:lnTo>
                    <a:pt x="930" y="442"/>
                  </a:lnTo>
                  <a:lnTo>
                    <a:pt x="930" y="466"/>
                  </a:lnTo>
                  <a:lnTo>
                    <a:pt x="930" y="466"/>
                  </a:lnTo>
                  <a:lnTo>
                    <a:pt x="930" y="466"/>
                  </a:lnTo>
                  <a:lnTo>
                    <a:pt x="930" y="490"/>
                  </a:lnTo>
                  <a:lnTo>
                    <a:pt x="928" y="514"/>
                  </a:lnTo>
                  <a:lnTo>
                    <a:pt x="920" y="560"/>
                  </a:lnTo>
                  <a:lnTo>
                    <a:pt x="908" y="604"/>
                  </a:lnTo>
                  <a:lnTo>
                    <a:pt x="894" y="646"/>
                  </a:lnTo>
                  <a:lnTo>
                    <a:pt x="874" y="688"/>
                  </a:lnTo>
                  <a:lnTo>
                    <a:pt x="850" y="726"/>
                  </a:lnTo>
                  <a:lnTo>
                    <a:pt x="824" y="762"/>
                  </a:lnTo>
                  <a:lnTo>
                    <a:pt x="794" y="794"/>
                  </a:lnTo>
                  <a:lnTo>
                    <a:pt x="760" y="824"/>
                  </a:lnTo>
                  <a:lnTo>
                    <a:pt x="724" y="852"/>
                  </a:lnTo>
                  <a:lnTo>
                    <a:pt x="686" y="874"/>
                  </a:lnTo>
                  <a:lnTo>
                    <a:pt x="646" y="894"/>
                  </a:lnTo>
                  <a:lnTo>
                    <a:pt x="604" y="910"/>
                  </a:lnTo>
                  <a:lnTo>
                    <a:pt x="558" y="920"/>
                  </a:lnTo>
                  <a:lnTo>
                    <a:pt x="512" y="928"/>
                  </a:lnTo>
                  <a:lnTo>
                    <a:pt x="488" y="930"/>
                  </a:lnTo>
                  <a:lnTo>
                    <a:pt x="464" y="930"/>
                  </a:lnTo>
                  <a:lnTo>
                    <a:pt x="464" y="930"/>
                  </a:lnTo>
                  <a:lnTo>
                    <a:pt x="442" y="930"/>
                  </a:lnTo>
                  <a:lnTo>
                    <a:pt x="418" y="928"/>
                  </a:lnTo>
                  <a:lnTo>
                    <a:pt x="372" y="920"/>
                  </a:lnTo>
                  <a:lnTo>
                    <a:pt x="326" y="910"/>
                  </a:lnTo>
                  <a:lnTo>
                    <a:pt x="284" y="894"/>
                  </a:lnTo>
                  <a:lnTo>
                    <a:pt x="244" y="874"/>
                  </a:lnTo>
                  <a:lnTo>
                    <a:pt x="206" y="852"/>
                  </a:lnTo>
                  <a:lnTo>
                    <a:pt x="170" y="824"/>
                  </a:lnTo>
                  <a:lnTo>
                    <a:pt x="136" y="794"/>
                  </a:lnTo>
                  <a:lnTo>
                    <a:pt x="106" y="762"/>
                  </a:lnTo>
                  <a:lnTo>
                    <a:pt x="80" y="726"/>
                  </a:lnTo>
                  <a:lnTo>
                    <a:pt x="56" y="688"/>
                  </a:lnTo>
                  <a:lnTo>
                    <a:pt x="36" y="646"/>
                  </a:lnTo>
                  <a:lnTo>
                    <a:pt x="20" y="604"/>
                  </a:lnTo>
                  <a:lnTo>
                    <a:pt x="10" y="560"/>
                  </a:lnTo>
                  <a:lnTo>
                    <a:pt x="2" y="514"/>
                  </a:lnTo>
                  <a:lnTo>
                    <a:pt x="0" y="490"/>
                  </a:lnTo>
                  <a:lnTo>
                    <a:pt x="0" y="466"/>
                  </a:lnTo>
                  <a:lnTo>
                    <a:pt x="0" y="466"/>
                  </a:lnTo>
                </a:path>
              </a:pathLst>
            </a:custGeom>
            <a:noFill/>
            <a:ln>
              <a:noFill/>
            </a:ln>
            <a:extLst>
              <a:ext uri="{909E8E84-426E-40dd-AFC4-6F175D3DCCD1}">
                <a14:hiddenFill xmlns:lc="http://schemas.openxmlformats.org/drawingml/2006/lockedCanvas" xmlns="" xmlns:a14="http://schemas.microsoft.com/office/drawing/2010/main">
                  <a:solidFill>
                    <a:srgbClr val="FFFFFF"/>
                  </a:solidFill>
                </a14:hiddenFill>
              </a:ex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19" name="Freeform 518"/>
            <p:cNvSpPr>
              <a:spLocks noEditPoints="1"/>
            </p:cNvSpPr>
            <p:nvPr/>
          </p:nvSpPr>
          <p:spPr bwMode="auto">
            <a:xfrm>
              <a:off x="12999316" y="3395946"/>
              <a:ext cx="1355725" cy="1352550"/>
            </a:xfrm>
            <a:custGeom>
              <a:avLst/>
              <a:gdLst>
                <a:gd name="T0" fmla="*/ 196 w 854"/>
                <a:gd name="T1" fmla="*/ 746 h 852"/>
                <a:gd name="T2" fmla="*/ 202 w 854"/>
                <a:gd name="T3" fmla="*/ 782 h 852"/>
                <a:gd name="T4" fmla="*/ 288 w 854"/>
                <a:gd name="T5" fmla="*/ 818 h 852"/>
                <a:gd name="T6" fmla="*/ 422 w 854"/>
                <a:gd name="T7" fmla="*/ 852 h 852"/>
                <a:gd name="T8" fmla="*/ 490 w 854"/>
                <a:gd name="T9" fmla="*/ 838 h 852"/>
                <a:gd name="T10" fmla="*/ 450 w 854"/>
                <a:gd name="T11" fmla="*/ 790 h 852"/>
                <a:gd name="T12" fmla="*/ 332 w 854"/>
                <a:gd name="T13" fmla="*/ 738 h 852"/>
                <a:gd name="T14" fmla="*/ 638 w 854"/>
                <a:gd name="T15" fmla="*/ 738 h 852"/>
                <a:gd name="T16" fmla="*/ 650 w 854"/>
                <a:gd name="T17" fmla="*/ 758 h 852"/>
                <a:gd name="T18" fmla="*/ 666 w 854"/>
                <a:gd name="T19" fmla="*/ 732 h 852"/>
                <a:gd name="T20" fmla="*/ 696 w 854"/>
                <a:gd name="T21" fmla="*/ 540 h 852"/>
                <a:gd name="T22" fmla="*/ 664 w 854"/>
                <a:gd name="T23" fmla="*/ 582 h 852"/>
                <a:gd name="T24" fmla="*/ 622 w 854"/>
                <a:gd name="T25" fmla="*/ 594 h 852"/>
                <a:gd name="T26" fmla="*/ 600 w 854"/>
                <a:gd name="T27" fmla="*/ 560 h 852"/>
                <a:gd name="T28" fmla="*/ 582 w 854"/>
                <a:gd name="T29" fmla="*/ 542 h 852"/>
                <a:gd name="T30" fmla="*/ 530 w 854"/>
                <a:gd name="T31" fmla="*/ 584 h 852"/>
                <a:gd name="T32" fmla="*/ 498 w 854"/>
                <a:gd name="T33" fmla="*/ 584 h 852"/>
                <a:gd name="T34" fmla="*/ 464 w 854"/>
                <a:gd name="T35" fmla="*/ 632 h 852"/>
                <a:gd name="T36" fmla="*/ 480 w 854"/>
                <a:gd name="T37" fmla="*/ 688 h 852"/>
                <a:gd name="T38" fmla="*/ 546 w 854"/>
                <a:gd name="T39" fmla="*/ 684 h 852"/>
                <a:gd name="T40" fmla="*/ 598 w 854"/>
                <a:gd name="T41" fmla="*/ 676 h 852"/>
                <a:gd name="T42" fmla="*/ 640 w 854"/>
                <a:gd name="T43" fmla="*/ 700 h 852"/>
                <a:gd name="T44" fmla="*/ 692 w 854"/>
                <a:gd name="T45" fmla="*/ 682 h 852"/>
                <a:gd name="T46" fmla="*/ 712 w 854"/>
                <a:gd name="T47" fmla="*/ 602 h 852"/>
                <a:gd name="T48" fmla="*/ 704 w 854"/>
                <a:gd name="T49" fmla="*/ 538 h 852"/>
                <a:gd name="T50" fmla="*/ 718 w 854"/>
                <a:gd name="T51" fmla="*/ 220 h 852"/>
                <a:gd name="T52" fmla="*/ 714 w 854"/>
                <a:gd name="T53" fmla="*/ 246 h 852"/>
                <a:gd name="T54" fmla="*/ 758 w 854"/>
                <a:gd name="T55" fmla="*/ 266 h 852"/>
                <a:gd name="T56" fmla="*/ 780 w 854"/>
                <a:gd name="T57" fmla="*/ 346 h 852"/>
                <a:gd name="T58" fmla="*/ 792 w 854"/>
                <a:gd name="T59" fmla="*/ 404 h 852"/>
                <a:gd name="T60" fmla="*/ 836 w 854"/>
                <a:gd name="T61" fmla="*/ 398 h 852"/>
                <a:gd name="T62" fmla="*/ 854 w 854"/>
                <a:gd name="T63" fmla="*/ 342 h 852"/>
                <a:gd name="T64" fmla="*/ 792 w 854"/>
                <a:gd name="T65" fmla="*/ 238 h 852"/>
                <a:gd name="T66" fmla="*/ 740 w 854"/>
                <a:gd name="T67" fmla="*/ 212 h 852"/>
                <a:gd name="T68" fmla="*/ 66 w 854"/>
                <a:gd name="T69" fmla="*/ 174 h 852"/>
                <a:gd name="T70" fmla="*/ 16 w 854"/>
                <a:gd name="T71" fmla="*/ 260 h 852"/>
                <a:gd name="T72" fmla="*/ 2 w 854"/>
                <a:gd name="T73" fmla="*/ 452 h 852"/>
                <a:gd name="T74" fmla="*/ 18 w 854"/>
                <a:gd name="T75" fmla="*/ 510 h 852"/>
                <a:gd name="T76" fmla="*/ 78 w 854"/>
                <a:gd name="T77" fmla="*/ 514 h 852"/>
                <a:gd name="T78" fmla="*/ 114 w 854"/>
                <a:gd name="T79" fmla="*/ 466 h 852"/>
                <a:gd name="T80" fmla="*/ 96 w 854"/>
                <a:gd name="T81" fmla="*/ 370 h 852"/>
                <a:gd name="T82" fmla="*/ 130 w 854"/>
                <a:gd name="T83" fmla="*/ 228 h 852"/>
                <a:gd name="T84" fmla="*/ 146 w 854"/>
                <a:gd name="T85" fmla="*/ 148 h 852"/>
                <a:gd name="T86" fmla="*/ 432 w 854"/>
                <a:gd name="T87" fmla="*/ 2 h 852"/>
                <a:gd name="T88" fmla="*/ 290 w 854"/>
                <a:gd name="T89" fmla="*/ 36 h 852"/>
                <a:gd name="T90" fmla="*/ 236 w 854"/>
                <a:gd name="T91" fmla="*/ 120 h 852"/>
                <a:gd name="T92" fmla="*/ 272 w 854"/>
                <a:gd name="T93" fmla="*/ 162 h 852"/>
                <a:gd name="T94" fmla="*/ 330 w 854"/>
                <a:gd name="T95" fmla="*/ 208 h 852"/>
                <a:gd name="T96" fmla="*/ 322 w 854"/>
                <a:gd name="T97" fmla="*/ 262 h 852"/>
                <a:gd name="T98" fmla="*/ 286 w 854"/>
                <a:gd name="T99" fmla="*/ 322 h 852"/>
                <a:gd name="T100" fmla="*/ 302 w 854"/>
                <a:gd name="T101" fmla="*/ 404 h 852"/>
                <a:gd name="T102" fmla="*/ 396 w 854"/>
                <a:gd name="T103" fmla="*/ 492 h 852"/>
                <a:gd name="T104" fmla="*/ 468 w 854"/>
                <a:gd name="T105" fmla="*/ 508 h 852"/>
                <a:gd name="T106" fmla="*/ 478 w 854"/>
                <a:gd name="T107" fmla="*/ 474 h 852"/>
                <a:gd name="T108" fmla="*/ 398 w 854"/>
                <a:gd name="T109" fmla="*/ 452 h 852"/>
                <a:gd name="T110" fmla="*/ 400 w 854"/>
                <a:gd name="T111" fmla="*/ 358 h 852"/>
                <a:gd name="T112" fmla="*/ 442 w 854"/>
                <a:gd name="T113" fmla="*/ 292 h 852"/>
                <a:gd name="T114" fmla="*/ 488 w 854"/>
                <a:gd name="T115" fmla="*/ 224 h 852"/>
                <a:gd name="T116" fmla="*/ 526 w 854"/>
                <a:gd name="T117" fmla="*/ 142 h 852"/>
                <a:gd name="T118" fmla="*/ 572 w 854"/>
                <a:gd name="T119" fmla="*/ 130 h 852"/>
                <a:gd name="T120" fmla="*/ 680 w 854"/>
                <a:gd name="T121" fmla="*/ 138 h 852"/>
                <a:gd name="T122" fmla="*/ 702 w 854"/>
                <a:gd name="T123" fmla="*/ 110 h 852"/>
                <a:gd name="T124" fmla="*/ 582 w 854"/>
                <a:gd name="T125" fmla="*/ 28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4" h="852">
                  <a:moveTo>
                    <a:pt x="332" y="738"/>
                  </a:moveTo>
                  <a:lnTo>
                    <a:pt x="332" y="738"/>
                  </a:lnTo>
                  <a:lnTo>
                    <a:pt x="298" y="738"/>
                  </a:lnTo>
                  <a:lnTo>
                    <a:pt x="264" y="742"/>
                  </a:lnTo>
                  <a:lnTo>
                    <a:pt x="230" y="744"/>
                  </a:lnTo>
                  <a:lnTo>
                    <a:pt x="196" y="746"/>
                  </a:lnTo>
                  <a:lnTo>
                    <a:pt x="196" y="746"/>
                  </a:lnTo>
                  <a:lnTo>
                    <a:pt x="194" y="752"/>
                  </a:lnTo>
                  <a:lnTo>
                    <a:pt x="194" y="760"/>
                  </a:lnTo>
                  <a:lnTo>
                    <a:pt x="198" y="774"/>
                  </a:lnTo>
                  <a:lnTo>
                    <a:pt x="198" y="774"/>
                  </a:lnTo>
                  <a:lnTo>
                    <a:pt x="202" y="782"/>
                  </a:lnTo>
                  <a:lnTo>
                    <a:pt x="208" y="790"/>
                  </a:lnTo>
                  <a:lnTo>
                    <a:pt x="214" y="796"/>
                  </a:lnTo>
                  <a:lnTo>
                    <a:pt x="220" y="800"/>
                  </a:lnTo>
                  <a:lnTo>
                    <a:pt x="236" y="808"/>
                  </a:lnTo>
                  <a:lnTo>
                    <a:pt x="252" y="812"/>
                  </a:lnTo>
                  <a:lnTo>
                    <a:pt x="288" y="818"/>
                  </a:lnTo>
                  <a:lnTo>
                    <a:pt x="304" y="822"/>
                  </a:lnTo>
                  <a:lnTo>
                    <a:pt x="322" y="826"/>
                  </a:lnTo>
                  <a:lnTo>
                    <a:pt x="322" y="826"/>
                  </a:lnTo>
                  <a:lnTo>
                    <a:pt x="378" y="842"/>
                  </a:lnTo>
                  <a:lnTo>
                    <a:pt x="408" y="850"/>
                  </a:lnTo>
                  <a:lnTo>
                    <a:pt x="422" y="852"/>
                  </a:lnTo>
                  <a:lnTo>
                    <a:pt x="438" y="852"/>
                  </a:lnTo>
                  <a:lnTo>
                    <a:pt x="438" y="852"/>
                  </a:lnTo>
                  <a:lnTo>
                    <a:pt x="452" y="852"/>
                  </a:lnTo>
                  <a:lnTo>
                    <a:pt x="464" y="850"/>
                  </a:lnTo>
                  <a:lnTo>
                    <a:pt x="478" y="844"/>
                  </a:lnTo>
                  <a:lnTo>
                    <a:pt x="490" y="838"/>
                  </a:lnTo>
                  <a:lnTo>
                    <a:pt x="490" y="838"/>
                  </a:lnTo>
                  <a:lnTo>
                    <a:pt x="490" y="830"/>
                  </a:lnTo>
                  <a:lnTo>
                    <a:pt x="486" y="824"/>
                  </a:lnTo>
                  <a:lnTo>
                    <a:pt x="478" y="812"/>
                  </a:lnTo>
                  <a:lnTo>
                    <a:pt x="466" y="800"/>
                  </a:lnTo>
                  <a:lnTo>
                    <a:pt x="450" y="790"/>
                  </a:lnTo>
                  <a:lnTo>
                    <a:pt x="418" y="768"/>
                  </a:lnTo>
                  <a:lnTo>
                    <a:pt x="404" y="756"/>
                  </a:lnTo>
                  <a:lnTo>
                    <a:pt x="392" y="744"/>
                  </a:lnTo>
                  <a:lnTo>
                    <a:pt x="392" y="744"/>
                  </a:lnTo>
                  <a:lnTo>
                    <a:pt x="362" y="738"/>
                  </a:lnTo>
                  <a:lnTo>
                    <a:pt x="332" y="738"/>
                  </a:lnTo>
                  <a:close/>
                  <a:moveTo>
                    <a:pt x="656" y="724"/>
                  </a:moveTo>
                  <a:lnTo>
                    <a:pt x="656" y="724"/>
                  </a:lnTo>
                  <a:lnTo>
                    <a:pt x="650" y="724"/>
                  </a:lnTo>
                  <a:lnTo>
                    <a:pt x="644" y="728"/>
                  </a:lnTo>
                  <a:lnTo>
                    <a:pt x="640" y="732"/>
                  </a:lnTo>
                  <a:lnTo>
                    <a:pt x="638" y="738"/>
                  </a:lnTo>
                  <a:lnTo>
                    <a:pt x="638" y="738"/>
                  </a:lnTo>
                  <a:lnTo>
                    <a:pt x="640" y="746"/>
                  </a:lnTo>
                  <a:lnTo>
                    <a:pt x="642" y="752"/>
                  </a:lnTo>
                  <a:lnTo>
                    <a:pt x="646" y="756"/>
                  </a:lnTo>
                  <a:lnTo>
                    <a:pt x="650" y="758"/>
                  </a:lnTo>
                  <a:lnTo>
                    <a:pt x="650" y="758"/>
                  </a:lnTo>
                  <a:lnTo>
                    <a:pt x="654" y="756"/>
                  </a:lnTo>
                  <a:lnTo>
                    <a:pt x="658" y="752"/>
                  </a:lnTo>
                  <a:lnTo>
                    <a:pt x="660" y="748"/>
                  </a:lnTo>
                  <a:lnTo>
                    <a:pt x="664" y="740"/>
                  </a:lnTo>
                  <a:lnTo>
                    <a:pt x="664" y="740"/>
                  </a:lnTo>
                  <a:lnTo>
                    <a:pt x="666" y="732"/>
                  </a:lnTo>
                  <a:lnTo>
                    <a:pt x="664" y="728"/>
                  </a:lnTo>
                  <a:lnTo>
                    <a:pt x="660" y="724"/>
                  </a:lnTo>
                  <a:lnTo>
                    <a:pt x="656" y="724"/>
                  </a:lnTo>
                  <a:close/>
                  <a:moveTo>
                    <a:pt x="700" y="536"/>
                  </a:moveTo>
                  <a:lnTo>
                    <a:pt x="700" y="536"/>
                  </a:lnTo>
                  <a:lnTo>
                    <a:pt x="696" y="540"/>
                  </a:lnTo>
                  <a:lnTo>
                    <a:pt x="690" y="548"/>
                  </a:lnTo>
                  <a:lnTo>
                    <a:pt x="690" y="548"/>
                  </a:lnTo>
                  <a:lnTo>
                    <a:pt x="686" y="558"/>
                  </a:lnTo>
                  <a:lnTo>
                    <a:pt x="680" y="568"/>
                  </a:lnTo>
                  <a:lnTo>
                    <a:pt x="672" y="576"/>
                  </a:lnTo>
                  <a:lnTo>
                    <a:pt x="664" y="582"/>
                  </a:lnTo>
                  <a:lnTo>
                    <a:pt x="656" y="588"/>
                  </a:lnTo>
                  <a:lnTo>
                    <a:pt x="646" y="592"/>
                  </a:lnTo>
                  <a:lnTo>
                    <a:pt x="638" y="594"/>
                  </a:lnTo>
                  <a:lnTo>
                    <a:pt x="628" y="594"/>
                  </a:lnTo>
                  <a:lnTo>
                    <a:pt x="628" y="594"/>
                  </a:lnTo>
                  <a:lnTo>
                    <a:pt x="622" y="594"/>
                  </a:lnTo>
                  <a:lnTo>
                    <a:pt x="616" y="592"/>
                  </a:lnTo>
                  <a:lnTo>
                    <a:pt x="610" y="588"/>
                  </a:lnTo>
                  <a:lnTo>
                    <a:pt x="604" y="584"/>
                  </a:lnTo>
                  <a:lnTo>
                    <a:pt x="602" y="578"/>
                  </a:lnTo>
                  <a:lnTo>
                    <a:pt x="600" y="570"/>
                  </a:lnTo>
                  <a:lnTo>
                    <a:pt x="600" y="560"/>
                  </a:lnTo>
                  <a:lnTo>
                    <a:pt x="602" y="548"/>
                  </a:lnTo>
                  <a:lnTo>
                    <a:pt x="602" y="548"/>
                  </a:lnTo>
                  <a:lnTo>
                    <a:pt x="596" y="542"/>
                  </a:lnTo>
                  <a:lnTo>
                    <a:pt x="590" y="540"/>
                  </a:lnTo>
                  <a:lnTo>
                    <a:pt x="590" y="540"/>
                  </a:lnTo>
                  <a:lnTo>
                    <a:pt x="582" y="542"/>
                  </a:lnTo>
                  <a:lnTo>
                    <a:pt x="576" y="546"/>
                  </a:lnTo>
                  <a:lnTo>
                    <a:pt x="558" y="562"/>
                  </a:lnTo>
                  <a:lnTo>
                    <a:pt x="558" y="562"/>
                  </a:lnTo>
                  <a:lnTo>
                    <a:pt x="550" y="570"/>
                  </a:lnTo>
                  <a:lnTo>
                    <a:pt x="540" y="578"/>
                  </a:lnTo>
                  <a:lnTo>
                    <a:pt x="530" y="584"/>
                  </a:lnTo>
                  <a:lnTo>
                    <a:pt x="520" y="584"/>
                  </a:lnTo>
                  <a:lnTo>
                    <a:pt x="520" y="584"/>
                  </a:lnTo>
                  <a:lnTo>
                    <a:pt x="514" y="584"/>
                  </a:lnTo>
                  <a:lnTo>
                    <a:pt x="508" y="582"/>
                  </a:lnTo>
                  <a:lnTo>
                    <a:pt x="508" y="582"/>
                  </a:lnTo>
                  <a:lnTo>
                    <a:pt x="498" y="584"/>
                  </a:lnTo>
                  <a:lnTo>
                    <a:pt x="488" y="588"/>
                  </a:lnTo>
                  <a:lnTo>
                    <a:pt x="480" y="596"/>
                  </a:lnTo>
                  <a:lnTo>
                    <a:pt x="474" y="602"/>
                  </a:lnTo>
                  <a:lnTo>
                    <a:pt x="468" y="612"/>
                  </a:lnTo>
                  <a:lnTo>
                    <a:pt x="466" y="622"/>
                  </a:lnTo>
                  <a:lnTo>
                    <a:pt x="464" y="632"/>
                  </a:lnTo>
                  <a:lnTo>
                    <a:pt x="462" y="642"/>
                  </a:lnTo>
                  <a:lnTo>
                    <a:pt x="464" y="652"/>
                  </a:lnTo>
                  <a:lnTo>
                    <a:pt x="466" y="662"/>
                  </a:lnTo>
                  <a:lnTo>
                    <a:pt x="470" y="672"/>
                  </a:lnTo>
                  <a:lnTo>
                    <a:pt x="474" y="680"/>
                  </a:lnTo>
                  <a:lnTo>
                    <a:pt x="480" y="688"/>
                  </a:lnTo>
                  <a:lnTo>
                    <a:pt x="488" y="694"/>
                  </a:lnTo>
                  <a:lnTo>
                    <a:pt x="498" y="698"/>
                  </a:lnTo>
                  <a:lnTo>
                    <a:pt x="508" y="700"/>
                  </a:lnTo>
                  <a:lnTo>
                    <a:pt x="508" y="700"/>
                  </a:lnTo>
                  <a:lnTo>
                    <a:pt x="528" y="694"/>
                  </a:lnTo>
                  <a:lnTo>
                    <a:pt x="546" y="684"/>
                  </a:lnTo>
                  <a:lnTo>
                    <a:pt x="564" y="676"/>
                  </a:lnTo>
                  <a:lnTo>
                    <a:pt x="572" y="674"/>
                  </a:lnTo>
                  <a:lnTo>
                    <a:pt x="582" y="674"/>
                  </a:lnTo>
                  <a:lnTo>
                    <a:pt x="582" y="674"/>
                  </a:lnTo>
                  <a:lnTo>
                    <a:pt x="590" y="674"/>
                  </a:lnTo>
                  <a:lnTo>
                    <a:pt x="598" y="676"/>
                  </a:lnTo>
                  <a:lnTo>
                    <a:pt x="606" y="682"/>
                  </a:lnTo>
                  <a:lnTo>
                    <a:pt x="614" y="688"/>
                  </a:lnTo>
                  <a:lnTo>
                    <a:pt x="614" y="688"/>
                  </a:lnTo>
                  <a:lnTo>
                    <a:pt x="622" y="694"/>
                  </a:lnTo>
                  <a:lnTo>
                    <a:pt x="630" y="698"/>
                  </a:lnTo>
                  <a:lnTo>
                    <a:pt x="640" y="700"/>
                  </a:lnTo>
                  <a:lnTo>
                    <a:pt x="648" y="702"/>
                  </a:lnTo>
                  <a:lnTo>
                    <a:pt x="648" y="702"/>
                  </a:lnTo>
                  <a:lnTo>
                    <a:pt x="656" y="700"/>
                  </a:lnTo>
                  <a:lnTo>
                    <a:pt x="664" y="700"/>
                  </a:lnTo>
                  <a:lnTo>
                    <a:pt x="678" y="692"/>
                  </a:lnTo>
                  <a:lnTo>
                    <a:pt x="692" y="682"/>
                  </a:lnTo>
                  <a:lnTo>
                    <a:pt x="702" y="668"/>
                  </a:lnTo>
                  <a:lnTo>
                    <a:pt x="710" y="652"/>
                  </a:lnTo>
                  <a:lnTo>
                    <a:pt x="714" y="636"/>
                  </a:lnTo>
                  <a:lnTo>
                    <a:pt x="716" y="620"/>
                  </a:lnTo>
                  <a:lnTo>
                    <a:pt x="714" y="610"/>
                  </a:lnTo>
                  <a:lnTo>
                    <a:pt x="712" y="602"/>
                  </a:lnTo>
                  <a:lnTo>
                    <a:pt x="712" y="602"/>
                  </a:lnTo>
                  <a:lnTo>
                    <a:pt x="710" y="596"/>
                  </a:lnTo>
                  <a:lnTo>
                    <a:pt x="708" y="586"/>
                  </a:lnTo>
                  <a:lnTo>
                    <a:pt x="706" y="564"/>
                  </a:lnTo>
                  <a:lnTo>
                    <a:pt x="706" y="544"/>
                  </a:lnTo>
                  <a:lnTo>
                    <a:pt x="704" y="538"/>
                  </a:lnTo>
                  <a:lnTo>
                    <a:pt x="700" y="536"/>
                  </a:lnTo>
                  <a:close/>
                  <a:moveTo>
                    <a:pt x="740" y="212"/>
                  </a:moveTo>
                  <a:lnTo>
                    <a:pt x="740" y="212"/>
                  </a:lnTo>
                  <a:lnTo>
                    <a:pt x="728" y="214"/>
                  </a:lnTo>
                  <a:lnTo>
                    <a:pt x="722" y="218"/>
                  </a:lnTo>
                  <a:lnTo>
                    <a:pt x="718" y="220"/>
                  </a:lnTo>
                  <a:lnTo>
                    <a:pt x="714" y="226"/>
                  </a:lnTo>
                  <a:lnTo>
                    <a:pt x="712" y="230"/>
                  </a:lnTo>
                  <a:lnTo>
                    <a:pt x="710" y="238"/>
                  </a:lnTo>
                  <a:lnTo>
                    <a:pt x="710" y="246"/>
                  </a:lnTo>
                  <a:lnTo>
                    <a:pt x="710" y="246"/>
                  </a:lnTo>
                  <a:lnTo>
                    <a:pt x="714" y="246"/>
                  </a:lnTo>
                  <a:lnTo>
                    <a:pt x="714" y="246"/>
                  </a:lnTo>
                  <a:lnTo>
                    <a:pt x="724" y="246"/>
                  </a:lnTo>
                  <a:lnTo>
                    <a:pt x="732" y="248"/>
                  </a:lnTo>
                  <a:lnTo>
                    <a:pt x="740" y="252"/>
                  </a:lnTo>
                  <a:lnTo>
                    <a:pt x="746" y="256"/>
                  </a:lnTo>
                  <a:lnTo>
                    <a:pt x="758" y="266"/>
                  </a:lnTo>
                  <a:lnTo>
                    <a:pt x="768" y="280"/>
                  </a:lnTo>
                  <a:lnTo>
                    <a:pt x="774" y="296"/>
                  </a:lnTo>
                  <a:lnTo>
                    <a:pt x="778" y="312"/>
                  </a:lnTo>
                  <a:lnTo>
                    <a:pt x="780" y="330"/>
                  </a:lnTo>
                  <a:lnTo>
                    <a:pt x="780" y="346"/>
                  </a:lnTo>
                  <a:lnTo>
                    <a:pt x="780" y="346"/>
                  </a:lnTo>
                  <a:lnTo>
                    <a:pt x="774" y="358"/>
                  </a:lnTo>
                  <a:lnTo>
                    <a:pt x="772" y="370"/>
                  </a:lnTo>
                  <a:lnTo>
                    <a:pt x="774" y="380"/>
                  </a:lnTo>
                  <a:lnTo>
                    <a:pt x="778" y="390"/>
                  </a:lnTo>
                  <a:lnTo>
                    <a:pt x="784" y="398"/>
                  </a:lnTo>
                  <a:lnTo>
                    <a:pt x="792" y="404"/>
                  </a:lnTo>
                  <a:lnTo>
                    <a:pt x="800" y="408"/>
                  </a:lnTo>
                  <a:lnTo>
                    <a:pt x="810" y="410"/>
                  </a:lnTo>
                  <a:lnTo>
                    <a:pt x="810" y="410"/>
                  </a:lnTo>
                  <a:lnTo>
                    <a:pt x="820" y="408"/>
                  </a:lnTo>
                  <a:lnTo>
                    <a:pt x="828" y="404"/>
                  </a:lnTo>
                  <a:lnTo>
                    <a:pt x="836" y="398"/>
                  </a:lnTo>
                  <a:lnTo>
                    <a:pt x="844" y="388"/>
                  </a:lnTo>
                  <a:lnTo>
                    <a:pt x="844" y="388"/>
                  </a:lnTo>
                  <a:lnTo>
                    <a:pt x="850" y="378"/>
                  </a:lnTo>
                  <a:lnTo>
                    <a:pt x="852" y="366"/>
                  </a:lnTo>
                  <a:lnTo>
                    <a:pt x="854" y="354"/>
                  </a:lnTo>
                  <a:lnTo>
                    <a:pt x="854" y="342"/>
                  </a:lnTo>
                  <a:lnTo>
                    <a:pt x="852" y="330"/>
                  </a:lnTo>
                  <a:lnTo>
                    <a:pt x="850" y="320"/>
                  </a:lnTo>
                  <a:lnTo>
                    <a:pt x="840" y="296"/>
                  </a:lnTo>
                  <a:lnTo>
                    <a:pt x="826" y="274"/>
                  </a:lnTo>
                  <a:lnTo>
                    <a:pt x="810" y="256"/>
                  </a:lnTo>
                  <a:lnTo>
                    <a:pt x="792" y="238"/>
                  </a:lnTo>
                  <a:lnTo>
                    <a:pt x="772" y="224"/>
                  </a:lnTo>
                  <a:lnTo>
                    <a:pt x="772" y="224"/>
                  </a:lnTo>
                  <a:lnTo>
                    <a:pt x="766" y="220"/>
                  </a:lnTo>
                  <a:lnTo>
                    <a:pt x="758" y="216"/>
                  </a:lnTo>
                  <a:lnTo>
                    <a:pt x="748" y="214"/>
                  </a:lnTo>
                  <a:lnTo>
                    <a:pt x="740" y="212"/>
                  </a:lnTo>
                  <a:close/>
                  <a:moveTo>
                    <a:pt x="128" y="146"/>
                  </a:moveTo>
                  <a:lnTo>
                    <a:pt x="128" y="146"/>
                  </a:lnTo>
                  <a:lnTo>
                    <a:pt x="110" y="148"/>
                  </a:lnTo>
                  <a:lnTo>
                    <a:pt x="94" y="154"/>
                  </a:lnTo>
                  <a:lnTo>
                    <a:pt x="80" y="164"/>
                  </a:lnTo>
                  <a:lnTo>
                    <a:pt x="66" y="174"/>
                  </a:lnTo>
                  <a:lnTo>
                    <a:pt x="54" y="188"/>
                  </a:lnTo>
                  <a:lnTo>
                    <a:pt x="44" y="204"/>
                  </a:lnTo>
                  <a:lnTo>
                    <a:pt x="36" y="220"/>
                  </a:lnTo>
                  <a:lnTo>
                    <a:pt x="28" y="234"/>
                  </a:lnTo>
                  <a:lnTo>
                    <a:pt x="28" y="234"/>
                  </a:lnTo>
                  <a:lnTo>
                    <a:pt x="16" y="260"/>
                  </a:lnTo>
                  <a:lnTo>
                    <a:pt x="8" y="286"/>
                  </a:lnTo>
                  <a:lnTo>
                    <a:pt x="4" y="314"/>
                  </a:lnTo>
                  <a:lnTo>
                    <a:pt x="2" y="340"/>
                  </a:lnTo>
                  <a:lnTo>
                    <a:pt x="0" y="368"/>
                  </a:lnTo>
                  <a:lnTo>
                    <a:pt x="2" y="396"/>
                  </a:lnTo>
                  <a:lnTo>
                    <a:pt x="2" y="452"/>
                  </a:lnTo>
                  <a:lnTo>
                    <a:pt x="2" y="452"/>
                  </a:lnTo>
                  <a:lnTo>
                    <a:pt x="0" y="466"/>
                  </a:lnTo>
                  <a:lnTo>
                    <a:pt x="0" y="480"/>
                  </a:lnTo>
                  <a:lnTo>
                    <a:pt x="4" y="490"/>
                  </a:lnTo>
                  <a:lnTo>
                    <a:pt x="10" y="502"/>
                  </a:lnTo>
                  <a:lnTo>
                    <a:pt x="18" y="510"/>
                  </a:lnTo>
                  <a:lnTo>
                    <a:pt x="30" y="516"/>
                  </a:lnTo>
                  <a:lnTo>
                    <a:pt x="40" y="520"/>
                  </a:lnTo>
                  <a:lnTo>
                    <a:pt x="52" y="520"/>
                  </a:lnTo>
                  <a:lnTo>
                    <a:pt x="52" y="520"/>
                  </a:lnTo>
                  <a:lnTo>
                    <a:pt x="66" y="520"/>
                  </a:lnTo>
                  <a:lnTo>
                    <a:pt x="78" y="514"/>
                  </a:lnTo>
                  <a:lnTo>
                    <a:pt x="88" y="504"/>
                  </a:lnTo>
                  <a:lnTo>
                    <a:pt x="98" y="490"/>
                  </a:lnTo>
                  <a:lnTo>
                    <a:pt x="98" y="490"/>
                  </a:lnTo>
                  <a:lnTo>
                    <a:pt x="104" y="482"/>
                  </a:lnTo>
                  <a:lnTo>
                    <a:pt x="110" y="474"/>
                  </a:lnTo>
                  <a:lnTo>
                    <a:pt x="114" y="466"/>
                  </a:lnTo>
                  <a:lnTo>
                    <a:pt x="116" y="458"/>
                  </a:lnTo>
                  <a:lnTo>
                    <a:pt x="118" y="440"/>
                  </a:lnTo>
                  <a:lnTo>
                    <a:pt x="116" y="424"/>
                  </a:lnTo>
                  <a:lnTo>
                    <a:pt x="110" y="406"/>
                  </a:lnTo>
                  <a:lnTo>
                    <a:pt x="104" y="388"/>
                  </a:lnTo>
                  <a:lnTo>
                    <a:pt x="96" y="370"/>
                  </a:lnTo>
                  <a:lnTo>
                    <a:pt x="90" y="352"/>
                  </a:lnTo>
                  <a:lnTo>
                    <a:pt x="90" y="352"/>
                  </a:lnTo>
                  <a:lnTo>
                    <a:pt x="104" y="302"/>
                  </a:lnTo>
                  <a:lnTo>
                    <a:pt x="110" y="276"/>
                  </a:lnTo>
                  <a:lnTo>
                    <a:pt x="120" y="252"/>
                  </a:lnTo>
                  <a:lnTo>
                    <a:pt x="130" y="228"/>
                  </a:lnTo>
                  <a:lnTo>
                    <a:pt x="142" y="206"/>
                  </a:lnTo>
                  <a:lnTo>
                    <a:pt x="156" y="184"/>
                  </a:lnTo>
                  <a:lnTo>
                    <a:pt x="174" y="164"/>
                  </a:lnTo>
                  <a:lnTo>
                    <a:pt x="174" y="164"/>
                  </a:lnTo>
                  <a:lnTo>
                    <a:pt x="156" y="154"/>
                  </a:lnTo>
                  <a:lnTo>
                    <a:pt x="146" y="148"/>
                  </a:lnTo>
                  <a:lnTo>
                    <a:pt x="136" y="146"/>
                  </a:lnTo>
                  <a:lnTo>
                    <a:pt x="136" y="146"/>
                  </a:lnTo>
                  <a:lnTo>
                    <a:pt x="128" y="146"/>
                  </a:lnTo>
                  <a:close/>
                  <a:moveTo>
                    <a:pt x="460" y="0"/>
                  </a:moveTo>
                  <a:lnTo>
                    <a:pt x="460" y="0"/>
                  </a:lnTo>
                  <a:lnTo>
                    <a:pt x="432" y="2"/>
                  </a:lnTo>
                  <a:lnTo>
                    <a:pt x="406" y="6"/>
                  </a:lnTo>
                  <a:lnTo>
                    <a:pt x="356" y="14"/>
                  </a:lnTo>
                  <a:lnTo>
                    <a:pt x="356" y="14"/>
                  </a:lnTo>
                  <a:lnTo>
                    <a:pt x="328" y="20"/>
                  </a:lnTo>
                  <a:lnTo>
                    <a:pt x="306" y="28"/>
                  </a:lnTo>
                  <a:lnTo>
                    <a:pt x="290" y="36"/>
                  </a:lnTo>
                  <a:lnTo>
                    <a:pt x="280" y="46"/>
                  </a:lnTo>
                  <a:lnTo>
                    <a:pt x="270" y="60"/>
                  </a:lnTo>
                  <a:lnTo>
                    <a:pt x="262" y="74"/>
                  </a:lnTo>
                  <a:lnTo>
                    <a:pt x="242" y="108"/>
                  </a:lnTo>
                  <a:lnTo>
                    <a:pt x="242" y="108"/>
                  </a:lnTo>
                  <a:lnTo>
                    <a:pt x="236" y="120"/>
                  </a:lnTo>
                  <a:lnTo>
                    <a:pt x="234" y="130"/>
                  </a:lnTo>
                  <a:lnTo>
                    <a:pt x="236" y="138"/>
                  </a:lnTo>
                  <a:lnTo>
                    <a:pt x="240" y="146"/>
                  </a:lnTo>
                  <a:lnTo>
                    <a:pt x="246" y="150"/>
                  </a:lnTo>
                  <a:lnTo>
                    <a:pt x="254" y="156"/>
                  </a:lnTo>
                  <a:lnTo>
                    <a:pt x="272" y="162"/>
                  </a:lnTo>
                  <a:lnTo>
                    <a:pt x="292" y="170"/>
                  </a:lnTo>
                  <a:lnTo>
                    <a:pt x="310" y="178"/>
                  </a:lnTo>
                  <a:lnTo>
                    <a:pt x="318" y="184"/>
                  </a:lnTo>
                  <a:lnTo>
                    <a:pt x="324" y="190"/>
                  </a:lnTo>
                  <a:lnTo>
                    <a:pt x="330" y="198"/>
                  </a:lnTo>
                  <a:lnTo>
                    <a:pt x="330" y="208"/>
                  </a:lnTo>
                  <a:lnTo>
                    <a:pt x="330" y="208"/>
                  </a:lnTo>
                  <a:lnTo>
                    <a:pt x="332" y="220"/>
                  </a:lnTo>
                  <a:lnTo>
                    <a:pt x="332" y="232"/>
                  </a:lnTo>
                  <a:lnTo>
                    <a:pt x="332" y="240"/>
                  </a:lnTo>
                  <a:lnTo>
                    <a:pt x="330" y="248"/>
                  </a:lnTo>
                  <a:lnTo>
                    <a:pt x="322" y="262"/>
                  </a:lnTo>
                  <a:lnTo>
                    <a:pt x="312" y="274"/>
                  </a:lnTo>
                  <a:lnTo>
                    <a:pt x="302" y="286"/>
                  </a:lnTo>
                  <a:lnTo>
                    <a:pt x="292" y="298"/>
                  </a:lnTo>
                  <a:lnTo>
                    <a:pt x="290" y="304"/>
                  </a:lnTo>
                  <a:lnTo>
                    <a:pt x="286" y="312"/>
                  </a:lnTo>
                  <a:lnTo>
                    <a:pt x="286" y="322"/>
                  </a:lnTo>
                  <a:lnTo>
                    <a:pt x="286" y="332"/>
                  </a:lnTo>
                  <a:lnTo>
                    <a:pt x="286" y="332"/>
                  </a:lnTo>
                  <a:lnTo>
                    <a:pt x="290" y="366"/>
                  </a:lnTo>
                  <a:lnTo>
                    <a:pt x="292" y="382"/>
                  </a:lnTo>
                  <a:lnTo>
                    <a:pt x="298" y="394"/>
                  </a:lnTo>
                  <a:lnTo>
                    <a:pt x="302" y="404"/>
                  </a:lnTo>
                  <a:lnTo>
                    <a:pt x="308" y="412"/>
                  </a:lnTo>
                  <a:lnTo>
                    <a:pt x="322" y="430"/>
                  </a:lnTo>
                  <a:lnTo>
                    <a:pt x="322" y="430"/>
                  </a:lnTo>
                  <a:lnTo>
                    <a:pt x="352" y="454"/>
                  </a:lnTo>
                  <a:lnTo>
                    <a:pt x="380" y="480"/>
                  </a:lnTo>
                  <a:lnTo>
                    <a:pt x="396" y="492"/>
                  </a:lnTo>
                  <a:lnTo>
                    <a:pt x="412" y="502"/>
                  </a:lnTo>
                  <a:lnTo>
                    <a:pt x="430" y="508"/>
                  </a:lnTo>
                  <a:lnTo>
                    <a:pt x="448" y="510"/>
                  </a:lnTo>
                  <a:lnTo>
                    <a:pt x="448" y="510"/>
                  </a:lnTo>
                  <a:lnTo>
                    <a:pt x="458" y="510"/>
                  </a:lnTo>
                  <a:lnTo>
                    <a:pt x="468" y="508"/>
                  </a:lnTo>
                  <a:lnTo>
                    <a:pt x="468" y="508"/>
                  </a:lnTo>
                  <a:lnTo>
                    <a:pt x="476" y="498"/>
                  </a:lnTo>
                  <a:lnTo>
                    <a:pt x="482" y="490"/>
                  </a:lnTo>
                  <a:lnTo>
                    <a:pt x="484" y="484"/>
                  </a:lnTo>
                  <a:lnTo>
                    <a:pt x="482" y="478"/>
                  </a:lnTo>
                  <a:lnTo>
                    <a:pt x="478" y="474"/>
                  </a:lnTo>
                  <a:lnTo>
                    <a:pt x="472" y="472"/>
                  </a:lnTo>
                  <a:lnTo>
                    <a:pt x="454" y="468"/>
                  </a:lnTo>
                  <a:lnTo>
                    <a:pt x="434" y="464"/>
                  </a:lnTo>
                  <a:lnTo>
                    <a:pt x="414" y="460"/>
                  </a:lnTo>
                  <a:lnTo>
                    <a:pt x="406" y="456"/>
                  </a:lnTo>
                  <a:lnTo>
                    <a:pt x="398" y="452"/>
                  </a:lnTo>
                  <a:lnTo>
                    <a:pt x="392" y="446"/>
                  </a:lnTo>
                  <a:lnTo>
                    <a:pt x="390" y="438"/>
                  </a:lnTo>
                  <a:lnTo>
                    <a:pt x="390" y="438"/>
                  </a:lnTo>
                  <a:lnTo>
                    <a:pt x="394" y="398"/>
                  </a:lnTo>
                  <a:lnTo>
                    <a:pt x="396" y="378"/>
                  </a:lnTo>
                  <a:lnTo>
                    <a:pt x="400" y="358"/>
                  </a:lnTo>
                  <a:lnTo>
                    <a:pt x="406" y="338"/>
                  </a:lnTo>
                  <a:lnTo>
                    <a:pt x="414" y="320"/>
                  </a:lnTo>
                  <a:lnTo>
                    <a:pt x="426" y="304"/>
                  </a:lnTo>
                  <a:lnTo>
                    <a:pt x="434" y="298"/>
                  </a:lnTo>
                  <a:lnTo>
                    <a:pt x="442" y="292"/>
                  </a:lnTo>
                  <a:lnTo>
                    <a:pt x="442" y="292"/>
                  </a:lnTo>
                  <a:lnTo>
                    <a:pt x="452" y="286"/>
                  </a:lnTo>
                  <a:lnTo>
                    <a:pt x="460" y="282"/>
                  </a:lnTo>
                  <a:lnTo>
                    <a:pt x="468" y="274"/>
                  </a:lnTo>
                  <a:lnTo>
                    <a:pt x="472" y="266"/>
                  </a:lnTo>
                  <a:lnTo>
                    <a:pt x="482" y="246"/>
                  </a:lnTo>
                  <a:lnTo>
                    <a:pt x="488" y="224"/>
                  </a:lnTo>
                  <a:lnTo>
                    <a:pt x="494" y="202"/>
                  </a:lnTo>
                  <a:lnTo>
                    <a:pt x="500" y="180"/>
                  </a:lnTo>
                  <a:lnTo>
                    <a:pt x="506" y="170"/>
                  </a:lnTo>
                  <a:lnTo>
                    <a:pt x="510" y="160"/>
                  </a:lnTo>
                  <a:lnTo>
                    <a:pt x="518" y="150"/>
                  </a:lnTo>
                  <a:lnTo>
                    <a:pt x="526" y="142"/>
                  </a:lnTo>
                  <a:lnTo>
                    <a:pt x="526" y="142"/>
                  </a:lnTo>
                  <a:lnTo>
                    <a:pt x="532" y="136"/>
                  </a:lnTo>
                  <a:lnTo>
                    <a:pt x="544" y="134"/>
                  </a:lnTo>
                  <a:lnTo>
                    <a:pt x="556" y="132"/>
                  </a:lnTo>
                  <a:lnTo>
                    <a:pt x="572" y="130"/>
                  </a:lnTo>
                  <a:lnTo>
                    <a:pt x="572" y="130"/>
                  </a:lnTo>
                  <a:lnTo>
                    <a:pt x="598" y="132"/>
                  </a:lnTo>
                  <a:lnTo>
                    <a:pt x="628" y="134"/>
                  </a:lnTo>
                  <a:lnTo>
                    <a:pt x="628" y="134"/>
                  </a:lnTo>
                  <a:lnTo>
                    <a:pt x="656" y="136"/>
                  </a:lnTo>
                  <a:lnTo>
                    <a:pt x="680" y="138"/>
                  </a:lnTo>
                  <a:lnTo>
                    <a:pt x="680" y="138"/>
                  </a:lnTo>
                  <a:lnTo>
                    <a:pt x="692" y="136"/>
                  </a:lnTo>
                  <a:lnTo>
                    <a:pt x="702" y="134"/>
                  </a:lnTo>
                  <a:lnTo>
                    <a:pt x="710" y="132"/>
                  </a:lnTo>
                  <a:lnTo>
                    <a:pt x="712" y="126"/>
                  </a:lnTo>
                  <a:lnTo>
                    <a:pt x="710" y="120"/>
                  </a:lnTo>
                  <a:lnTo>
                    <a:pt x="702" y="110"/>
                  </a:lnTo>
                  <a:lnTo>
                    <a:pt x="690" y="98"/>
                  </a:lnTo>
                  <a:lnTo>
                    <a:pt x="672" y="82"/>
                  </a:lnTo>
                  <a:lnTo>
                    <a:pt x="672" y="82"/>
                  </a:lnTo>
                  <a:lnTo>
                    <a:pt x="640" y="60"/>
                  </a:lnTo>
                  <a:lnTo>
                    <a:pt x="610" y="42"/>
                  </a:lnTo>
                  <a:lnTo>
                    <a:pt x="582" y="28"/>
                  </a:lnTo>
                  <a:lnTo>
                    <a:pt x="554" y="18"/>
                  </a:lnTo>
                  <a:lnTo>
                    <a:pt x="530" y="10"/>
                  </a:lnTo>
                  <a:lnTo>
                    <a:pt x="506" y="4"/>
                  </a:lnTo>
                  <a:lnTo>
                    <a:pt x="482" y="2"/>
                  </a:lnTo>
                  <a:lnTo>
                    <a:pt x="460" y="0"/>
                  </a:lnTo>
                  <a:close/>
                </a:path>
              </a:pathLst>
            </a:custGeom>
            <a:solidFill>
              <a:srgbClr val="2B8948"/>
            </a:solid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520" name="Freeform 519"/>
            <p:cNvSpPr>
              <a:spLocks/>
            </p:cNvSpPr>
            <p:nvPr/>
          </p:nvSpPr>
          <p:spPr bwMode="auto">
            <a:xfrm>
              <a:off x="13307291" y="4567521"/>
              <a:ext cx="469900" cy="180975"/>
            </a:xfrm>
            <a:custGeom>
              <a:avLst/>
              <a:gdLst>
                <a:gd name="T0" fmla="*/ 138 w 296"/>
                <a:gd name="T1" fmla="*/ 0 h 114"/>
                <a:gd name="T2" fmla="*/ 138 w 296"/>
                <a:gd name="T3" fmla="*/ 0 h 114"/>
                <a:gd name="T4" fmla="*/ 104 w 296"/>
                <a:gd name="T5" fmla="*/ 0 h 114"/>
                <a:gd name="T6" fmla="*/ 70 w 296"/>
                <a:gd name="T7" fmla="*/ 4 h 114"/>
                <a:gd name="T8" fmla="*/ 36 w 296"/>
                <a:gd name="T9" fmla="*/ 6 h 114"/>
                <a:gd name="T10" fmla="*/ 2 w 296"/>
                <a:gd name="T11" fmla="*/ 8 h 114"/>
                <a:gd name="T12" fmla="*/ 2 w 296"/>
                <a:gd name="T13" fmla="*/ 8 h 114"/>
                <a:gd name="T14" fmla="*/ 0 w 296"/>
                <a:gd name="T15" fmla="*/ 14 h 114"/>
                <a:gd name="T16" fmla="*/ 0 w 296"/>
                <a:gd name="T17" fmla="*/ 22 h 114"/>
                <a:gd name="T18" fmla="*/ 4 w 296"/>
                <a:gd name="T19" fmla="*/ 36 h 114"/>
                <a:gd name="T20" fmla="*/ 4 w 296"/>
                <a:gd name="T21" fmla="*/ 36 h 114"/>
                <a:gd name="T22" fmla="*/ 8 w 296"/>
                <a:gd name="T23" fmla="*/ 44 h 114"/>
                <a:gd name="T24" fmla="*/ 14 w 296"/>
                <a:gd name="T25" fmla="*/ 52 h 114"/>
                <a:gd name="T26" fmla="*/ 20 w 296"/>
                <a:gd name="T27" fmla="*/ 58 h 114"/>
                <a:gd name="T28" fmla="*/ 26 w 296"/>
                <a:gd name="T29" fmla="*/ 62 h 114"/>
                <a:gd name="T30" fmla="*/ 42 w 296"/>
                <a:gd name="T31" fmla="*/ 70 h 114"/>
                <a:gd name="T32" fmla="*/ 58 w 296"/>
                <a:gd name="T33" fmla="*/ 74 h 114"/>
                <a:gd name="T34" fmla="*/ 94 w 296"/>
                <a:gd name="T35" fmla="*/ 80 h 114"/>
                <a:gd name="T36" fmla="*/ 110 w 296"/>
                <a:gd name="T37" fmla="*/ 84 h 114"/>
                <a:gd name="T38" fmla="*/ 128 w 296"/>
                <a:gd name="T39" fmla="*/ 88 h 114"/>
                <a:gd name="T40" fmla="*/ 128 w 296"/>
                <a:gd name="T41" fmla="*/ 88 h 114"/>
                <a:gd name="T42" fmla="*/ 184 w 296"/>
                <a:gd name="T43" fmla="*/ 104 h 114"/>
                <a:gd name="T44" fmla="*/ 214 w 296"/>
                <a:gd name="T45" fmla="*/ 112 h 114"/>
                <a:gd name="T46" fmla="*/ 228 w 296"/>
                <a:gd name="T47" fmla="*/ 114 h 114"/>
                <a:gd name="T48" fmla="*/ 244 w 296"/>
                <a:gd name="T49" fmla="*/ 114 h 114"/>
                <a:gd name="T50" fmla="*/ 244 w 296"/>
                <a:gd name="T51" fmla="*/ 114 h 114"/>
                <a:gd name="T52" fmla="*/ 258 w 296"/>
                <a:gd name="T53" fmla="*/ 114 h 114"/>
                <a:gd name="T54" fmla="*/ 270 w 296"/>
                <a:gd name="T55" fmla="*/ 112 h 114"/>
                <a:gd name="T56" fmla="*/ 284 w 296"/>
                <a:gd name="T57" fmla="*/ 106 h 114"/>
                <a:gd name="T58" fmla="*/ 296 w 296"/>
                <a:gd name="T59" fmla="*/ 100 h 114"/>
                <a:gd name="T60" fmla="*/ 296 w 296"/>
                <a:gd name="T61" fmla="*/ 100 h 114"/>
                <a:gd name="T62" fmla="*/ 296 w 296"/>
                <a:gd name="T63" fmla="*/ 92 h 114"/>
                <a:gd name="T64" fmla="*/ 292 w 296"/>
                <a:gd name="T65" fmla="*/ 86 h 114"/>
                <a:gd name="T66" fmla="*/ 284 w 296"/>
                <a:gd name="T67" fmla="*/ 74 h 114"/>
                <a:gd name="T68" fmla="*/ 272 w 296"/>
                <a:gd name="T69" fmla="*/ 62 h 114"/>
                <a:gd name="T70" fmla="*/ 256 w 296"/>
                <a:gd name="T71" fmla="*/ 52 h 114"/>
                <a:gd name="T72" fmla="*/ 224 w 296"/>
                <a:gd name="T73" fmla="*/ 30 h 114"/>
                <a:gd name="T74" fmla="*/ 210 w 296"/>
                <a:gd name="T75" fmla="*/ 18 h 114"/>
                <a:gd name="T76" fmla="*/ 198 w 296"/>
                <a:gd name="T77" fmla="*/ 6 h 114"/>
                <a:gd name="T78" fmla="*/ 198 w 296"/>
                <a:gd name="T79" fmla="*/ 6 h 114"/>
                <a:gd name="T80" fmla="*/ 168 w 296"/>
                <a:gd name="T81" fmla="*/ 0 h 114"/>
                <a:gd name="T82" fmla="*/ 138 w 296"/>
                <a:gd name="T8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14">
                  <a:moveTo>
                    <a:pt x="138" y="0"/>
                  </a:moveTo>
                  <a:lnTo>
                    <a:pt x="138" y="0"/>
                  </a:lnTo>
                  <a:lnTo>
                    <a:pt x="104" y="0"/>
                  </a:lnTo>
                  <a:lnTo>
                    <a:pt x="70" y="4"/>
                  </a:lnTo>
                  <a:lnTo>
                    <a:pt x="36" y="6"/>
                  </a:lnTo>
                  <a:lnTo>
                    <a:pt x="2" y="8"/>
                  </a:lnTo>
                  <a:lnTo>
                    <a:pt x="2" y="8"/>
                  </a:lnTo>
                  <a:lnTo>
                    <a:pt x="0" y="14"/>
                  </a:lnTo>
                  <a:lnTo>
                    <a:pt x="0" y="22"/>
                  </a:lnTo>
                  <a:lnTo>
                    <a:pt x="4" y="36"/>
                  </a:lnTo>
                  <a:lnTo>
                    <a:pt x="4" y="36"/>
                  </a:lnTo>
                  <a:lnTo>
                    <a:pt x="8" y="44"/>
                  </a:lnTo>
                  <a:lnTo>
                    <a:pt x="14" y="52"/>
                  </a:lnTo>
                  <a:lnTo>
                    <a:pt x="20" y="58"/>
                  </a:lnTo>
                  <a:lnTo>
                    <a:pt x="26" y="62"/>
                  </a:lnTo>
                  <a:lnTo>
                    <a:pt x="42" y="70"/>
                  </a:lnTo>
                  <a:lnTo>
                    <a:pt x="58" y="74"/>
                  </a:lnTo>
                  <a:lnTo>
                    <a:pt x="94" y="80"/>
                  </a:lnTo>
                  <a:lnTo>
                    <a:pt x="110" y="84"/>
                  </a:lnTo>
                  <a:lnTo>
                    <a:pt x="128" y="88"/>
                  </a:lnTo>
                  <a:lnTo>
                    <a:pt x="128" y="88"/>
                  </a:lnTo>
                  <a:lnTo>
                    <a:pt x="184" y="104"/>
                  </a:lnTo>
                  <a:lnTo>
                    <a:pt x="214" y="112"/>
                  </a:lnTo>
                  <a:lnTo>
                    <a:pt x="228" y="114"/>
                  </a:lnTo>
                  <a:lnTo>
                    <a:pt x="244" y="114"/>
                  </a:lnTo>
                  <a:lnTo>
                    <a:pt x="244" y="114"/>
                  </a:lnTo>
                  <a:lnTo>
                    <a:pt x="258" y="114"/>
                  </a:lnTo>
                  <a:lnTo>
                    <a:pt x="270" y="112"/>
                  </a:lnTo>
                  <a:lnTo>
                    <a:pt x="284" y="106"/>
                  </a:lnTo>
                  <a:lnTo>
                    <a:pt x="296" y="100"/>
                  </a:lnTo>
                  <a:lnTo>
                    <a:pt x="296" y="100"/>
                  </a:lnTo>
                  <a:lnTo>
                    <a:pt x="296" y="92"/>
                  </a:lnTo>
                  <a:lnTo>
                    <a:pt x="292" y="86"/>
                  </a:lnTo>
                  <a:lnTo>
                    <a:pt x="284" y="74"/>
                  </a:lnTo>
                  <a:lnTo>
                    <a:pt x="272" y="62"/>
                  </a:lnTo>
                  <a:lnTo>
                    <a:pt x="256" y="52"/>
                  </a:lnTo>
                  <a:lnTo>
                    <a:pt x="224" y="30"/>
                  </a:lnTo>
                  <a:lnTo>
                    <a:pt x="210" y="18"/>
                  </a:lnTo>
                  <a:lnTo>
                    <a:pt x="198" y="6"/>
                  </a:lnTo>
                  <a:lnTo>
                    <a:pt x="198" y="6"/>
                  </a:lnTo>
                  <a:lnTo>
                    <a:pt x="168" y="0"/>
                  </a:lnTo>
                  <a:lnTo>
                    <a:pt x="138" y="0"/>
                  </a:lnTo>
                </a:path>
              </a:pathLst>
            </a:custGeom>
            <a:noFill/>
            <a:ln>
              <a:noFill/>
            </a:ln>
            <a:extLst>
              <a:ext uri="{909E8E84-426E-40dd-AFC4-6F175D3DCCD1}">
                <a14:hiddenFill xmlns:lc="http://schemas.openxmlformats.org/drawingml/2006/lockedCanvas" xmlns="" xmlns:a14="http://schemas.microsoft.com/office/drawing/2010/main">
                  <a:solidFill>
                    <a:srgbClr val="FFFFFF"/>
                  </a:solidFill>
                </a14:hiddenFill>
              </a:ex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21" name="Freeform 520"/>
            <p:cNvSpPr>
              <a:spLocks/>
            </p:cNvSpPr>
            <p:nvPr/>
          </p:nvSpPr>
          <p:spPr bwMode="auto">
            <a:xfrm>
              <a:off x="14012141" y="4545296"/>
              <a:ext cx="44450" cy="53975"/>
            </a:xfrm>
            <a:custGeom>
              <a:avLst/>
              <a:gdLst>
                <a:gd name="T0" fmla="*/ 18 w 28"/>
                <a:gd name="T1" fmla="*/ 0 h 34"/>
                <a:gd name="T2" fmla="*/ 18 w 28"/>
                <a:gd name="T3" fmla="*/ 0 h 34"/>
                <a:gd name="T4" fmla="*/ 12 w 28"/>
                <a:gd name="T5" fmla="*/ 0 h 34"/>
                <a:gd name="T6" fmla="*/ 6 w 28"/>
                <a:gd name="T7" fmla="*/ 4 h 34"/>
                <a:gd name="T8" fmla="*/ 2 w 28"/>
                <a:gd name="T9" fmla="*/ 8 h 34"/>
                <a:gd name="T10" fmla="*/ 0 w 28"/>
                <a:gd name="T11" fmla="*/ 14 h 34"/>
                <a:gd name="T12" fmla="*/ 0 w 28"/>
                <a:gd name="T13" fmla="*/ 14 h 34"/>
                <a:gd name="T14" fmla="*/ 2 w 28"/>
                <a:gd name="T15" fmla="*/ 22 h 34"/>
                <a:gd name="T16" fmla="*/ 4 w 28"/>
                <a:gd name="T17" fmla="*/ 28 h 34"/>
                <a:gd name="T18" fmla="*/ 8 w 28"/>
                <a:gd name="T19" fmla="*/ 32 h 34"/>
                <a:gd name="T20" fmla="*/ 12 w 28"/>
                <a:gd name="T21" fmla="*/ 34 h 34"/>
                <a:gd name="T22" fmla="*/ 12 w 28"/>
                <a:gd name="T23" fmla="*/ 34 h 34"/>
                <a:gd name="T24" fmla="*/ 16 w 28"/>
                <a:gd name="T25" fmla="*/ 32 h 34"/>
                <a:gd name="T26" fmla="*/ 20 w 28"/>
                <a:gd name="T27" fmla="*/ 28 h 34"/>
                <a:gd name="T28" fmla="*/ 22 w 28"/>
                <a:gd name="T29" fmla="*/ 24 h 34"/>
                <a:gd name="T30" fmla="*/ 26 w 28"/>
                <a:gd name="T31" fmla="*/ 16 h 34"/>
                <a:gd name="T32" fmla="*/ 26 w 28"/>
                <a:gd name="T33" fmla="*/ 16 h 34"/>
                <a:gd name="T34" fmla="*/ 28 w 28"/>
                <a:gd name="T35" fmla="*/ 8 h 34"/>
                <a:gd name="T36" fmla="*/ 26 w 28"/>
                <a:gd name="T37" fmla="*/ 4 h 34"/>
                <a:gd name="T38" fmla="*/ 22 w 28"/>
                <a:gd name="T39" fmla="*/ 0 h 34"/>
                <a:gd name="T40" fmla="*/ 18 w 28"/>
                <a:gd name="T4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34">
                  <a:moveTo>
                    <a:pt x="18" y="0"/>
                  </a:moveTo>
                  <a:lnTo>
                    <a:pt x="18" y="0"/>
                  </a:lnTo>
                  <a:lnTo>
                    <a:pt x="12" y="0"/>
                  </a:lnTo>
                  <a:lnTo>
                    <a:pt x="6" y="4"/>
                  </a:lnTo>
                  <a:lnTo>
                    <a:pt x="2" y="8"/>
                  </a:lnTo>
                  <a:lnTo>
                    <a:pt x="0" y="14"/>
                  </a:lnTo>
                  <a:lnTo>
                    <a:pt x="0" y="14"/>
                  </a:lnTo>
                  <a:lnTo>
                    <a:pt x="2" y="22"/>
                  </a:lnTo>
                  <a:lnTo>
                    <a:pt x="4" y="28"/>
                  </a:lnTo>
                  <a:lnTo>
                    <a:pt x="8" y="32"/>
                  </a:lnTo>
                  <a:lnTo>
                    <a:pt x="12" y="34"/>
                  </a:lnTo>
                  <a:lnTo>
                    <a:pt x="12" y="34"/>
                  </a:lnTo>
                  <a:lnTo>
                    <a:pt x="16" y="32"/>
                  </a:lnTo>
                  <a:lnTo>
                    <a:pt x="20" y="28"/>
                  </a:lnTo>
                  <a:lnTo>
                    <a:pt x="22" y="24"/>
                  </a:lnTo>
                  <a:lnTo>
                    <a:pt x="26" y="16"/>
                  </a:lnTo>
                  <a:lnTo>
                    <a:pt x="26" y="16"/>
                  </a:lnTo>
                  <a:lnTo>
                    <a:pt x="28" y="8"/>
                  </a:lnTo>
                  <a:lnTo>
                    <a:pt x="26" y="4"/>
                  </a:lnTo>
                  <a:lnTo>
                    <a:pt x="22" y="0"/>
                  </a:lnTo>
                  <a:lnTo>
                    <a:pt x="18" y="0"/>
                  </a:lnTo>
                </a:path>
              </a:pathLst>
            </a:custGeom>
            <a:noFill/>
            <a:ln>
              <a:noFill/>
            </a:ln>
            <a:extLst>
              <a:ext uri="{909E8E84-426E-40dd-AFC4-6F175D3DCCD1}">
                <a14:hiddenFill xmlns:lc="http://schemas.openxmlformats.org/drawingml/2006/lockedCanvas" xmlns="" xmlns:a14="http://schemas.microsoft.com/office/drawing/2010/main">
                  <a:solidFill>
                    <a:srgbClr val="FFFFFF"/>
                  </a:solidFill>
                </a14:hiddenFill>
              </a:ex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22" name="Freeform 521"/>
            <p:cNvSpPr>
              <a:spLocks/>
            </p:cNvSpPr>
            <p:nvPr/>
          </p:nvSpPr>
          <p:spPr bwMode="auto">
            <a:xfrm>
              <a:off x="13732741" y="4246846"/>
              <a:ext cx="403225" cy="263525"/>
            </a:xfrm>
            <a:custGeom>
              <a:avLst/>
              <a:gdLst>
                <a:gd name="T0" fmla="*/ 238 w 254"/>
                <a:gd name="T1" fmla="*/ 0 h 166"/>
                <a:gd name="T2" fmla="*/ 228 w 254"/>
                <a:gd name="T3" fmla="*/ 12 h 166"/>
                <a:gd name="T4" fmla="*/ 224 w 254"/>
                <a:gd name="T5" fmla="*/ 22 h 166"/>
                <a:gd name="T6" fmla="*/ 210 w 254"/>
                <a:gd name="T7" fmla="*/ 40 h 166"/>
                <a:gd name="T8" fmla="*/ 194 w 254"/>
                <a:gd name="T9" fmla="*/ 52 h 166"/>
                <a:gd name="T10" fmla="*/ 176 w 254"/>
                <a:gd name="T11" fmla="*/ 58 h 166"/>
                <a:gd name="T12" fmla="*/ 166 w 254"/>
                <a:gd name="T13" fmla="*/ 58 h 166"/>
                <a:gd name="T14" fmla="*/ 154 w 254"/>
                <a:gd name="T15" fmla="*/ 56 h 166"/>
                <a:gd name="T16" fmla="*/ 142 w 254"/>
                <a:gd name="T17" fmla="*/ 48 h 166"/>
                <a:gd name="T18" fmla="*/ 138 w 254"/>
                <a:gd name="T19" fmla="*/ 34 h 166"/>
                <a:gd name="T20" fmla="*/ 140 w 254"/>
                <a:gd name="T21" fmla="*/ 12 h 166"/>
                <a:gd name="T22" fmla="*/ 134 w 254"/>
                <a:gd name="T23" fmla="*/ 6 h 166"/>
                <a:gd name="T24" fmla="*/ 128 w 254"/>
                <a:gd name="T25" fmla="*/ 4 h 166"/>
                <a:gd name="T26" fmla="*/ 114 w 254"/>
                <a:gd name="T27" fmla="*/ 10 h 166"/>
                <a:gd name="T28" fmla="*/ 96 w 254"/>
                <a:gd name="T29" fmla="*/ 26 h 166"/>
                <a:gd name="T30" fmla="*/ 78 w 254"/>
                <a:gd name="T31" fmla="*/ 42 h 166"/>
                <a:gd name="T32" fmla="*/ 58 w 254"/>
                <a:gd name="T33" fmla="*/ 48 h 166"/>
                <a:gd name="T34" fmla="*/ 52 w 254"/>
                <a:gd name="T35" fmla="*/ 48 h 166"/>
                <a:gd name="T36" fmla="*/ 46 w 254"/>
                <a:gd name="T37" fmla="*/ 46 h 166"/>
                <a:gd name="T38" fmla="*/ 26 w 254"/>
                <a:gd name="T39" fmla="*/ 52 h 166"/>
                <a:gd name="T40" fmla="*/ 12 w 254"/>
                <a:gd name="T41" fmla="*/ 66 h 166"/>
                <a:gd name="T42" fmla="*/ 4 w 254"/>
                <a:gd name="T43" fmla="*/ 86 h 166"/>
                <a:gd name="T44" fmla="*/ 0 w 254"/>
                <a:gd name="T45" fmla="*/ 106 h 166"/>
                <a:gd name="T46" fmla="*/ 4 w 254"/>
                <a:gd name="T47" fmla="*/ 126 h 166"/>
                <a:gd name="T48" fmla="*/ 12 w 254"/>
                <a:gd name="T49" fmla="*/ 144 h 166"/>
                <a:gd name="T50" fmla="*/ 26 w 254"/>
                <a:gd name="T51" fmla="*/ 158 h 166"/>
                <a:gd name="T52" fmla="*/ 46 w 254"/>
                <a:gd name="T53" fmla="*/ 164 h 166"/>
                <a:gd name="T54" fmla="*/ 66 w 254"/>
                <a:gd name="T55" fmla="*/ 158 h 166"/>
                <a:gd name="T56" fmla="*/ 102 w 254"/>
                <a:gd name="T57" fmla="*/ 140 h 166"/>
                <a:gd name="T58" fmla="*/ 120 w 254"/>
                <a:gd name="T59" fmla="*/ 138 h 166"/>
                <a:gd name="T60" fmla="*/ 128 w 254"/>
                <a:gd name="T61" fmla="*/ 138 h 166"/>
                <a:gd name="T62" fmla="*/ 144 w 254"/>
                <a:gd name="T63" fmla="*/ 146 h 166"/>
                <a:gd name="T64" fmla="*/ 152 w 254"/>
                <a:gd name="T65" fmla="*/ 152 h 166"/>
                <a:gd name="T66" fmla="*/ 168 w 254"/>
                <a:gd name="T67" fmla="*/ 162 h 166"/>
                <a:gd name="T68" fmla="*/ 186 w 254"/>
                <a:gd name="T69" fmla="*/ 166 h 166"/>
                <a:gd name="T70" fmla="*/ 194 w 254"/>
                <a:gd name="T71" fmla="*/ 164 h 166"/>
                <a:gd name="T72" fmla="*/ 216 w 254"/>
                <a:gd name="T73" fmla="*/ 156 h 166"/>
                <a:gd name="T74" fmla="*/ 240 w 254"/>
                <a:gd name="T75" fmla="*/ 132 h 166"/>
                <a:gd name="T76" fmla="*/ 252 w 254"/>
                <a:gd name="T77" fmla="*/ 100 h 166"/>
                <a:gd name="T78" fmla="*/ 252 w 254"/>
                <a:gd name="T79" fmla="*/ 74 h 166"/>
                <a:gd name="T80" fmla="*/ 250 w 254"/>
                <a:gd name="T81" fmla="*/ 66 h 166"/>
                <a:gd name="T82" fmla="*/ 246 w 254"/>
                <a:gd name="T83" fmla="*/ 50 h 166"/>
                <a:gd name="T84" fmla="*/ 244 w 254"/>
                <a:gd name="T85" fmla="*/ 8 h 166"/>
                <a:gd name="T86" fmla="*/ 238 w 254"/>
                <a:gd name="T8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4" h="166">
                  <a:moveTo>
                    <a:pt x="238" y="0"/>
                  </a:moveTo>
                  <a:lnTo>
                    <a:pt x="238" y="0"/>
                  </a:lnTo>
                  <a:lnTo>
                    <a:pt x="234" y="4"/>
                  </a:lnTo>
                  <a:lnTo>
                    <a:pt x="228" y="12"/>
                  </a:lnTo>
                  <a:lnTo>
                    <a:pt x="228" y="12"/>
                  </a:lnTo>
                  <a:lnTo>
                    <a:pt x="224" y="22"/>
                  </a:lnTo>
                  <a:lnTo>
                    <a:pt x="218" y="32"/>
                  </a:lnTo>
                  <a:lnTo>
                    <a:pt x="210" y="40"/>
                  </a:lnTo>
                  <a:lnTo>
                    <a:pt x="202" y="46"/>
                  </a:lnTo>
                  <a:lnTo>
                    <a:pt x="194" y="52"/>
                  </a:lnTo>
                  <a:lnTo>
                    <a:pt x="184" y="56"/>
                  </a:lnTo>
                  <a:lnTo>
                    <a:pt x="176" y="58"/>
                  </a:lnTo>
                  <a:lnTo>
                    <a:pt x="166" y="58"/>
                  </a:lnTo>
                  <a:lnTo>
                    <a:pt x="166" y="58"/>
                  </a:lnTo>
                  <a:lnTo>
                    <a:pt x="160" y="58"/>
                  </a:lnTo>
                  <a:lnTo>
                    <a:pt x="154" y="56"/>
                  </a:lnTo>
                  <a:lnTo>
                    <a:pt x="148" y="52"/>
                  </a:lnTo>
                  <a:lnTo>
                    <a:pt x="142" y="48"/>
                  </a:lnTo>
                  <a:lnTo>
                    <a:pt x="140" y="42"/>
                  </a:lnTo>
                  <a:lnTo>
                    <a:pt x="138" y="34"/>
                  </a:lnTo>
                  <a:lnTo>
                    <a:pt x="138" y="24"/>
                  </a:lnTo>
                  <a:lnTo>
                    <a:pt x="140" y="12"/>
                  </a:lnTo>
                  <a:lnTo>
                    <a:pt x="140" y="12"/>
                  </a:lnTo>
                  <a:lnTo>
                    <a:pt x="134" y="6"/>
                  </a:lnTo>
                  <a:lnTo>
                    <a:pt x="128" y="4"/>
                  </a:lnTo>
                  <a:lnTo>
                    <a:pt x="128" y="4"/>
                  </a:lnTo>
                  <a:lnTo>
                    <a:pt x="120" y="6"/>
                  </a:lnTo>
                  <a:lnTo>
                    <a:pt x="114" y="10"/>
                  </a:lnTo>
                  <a:lnTo>
                    <a:pt x="96" y="26"/>
                  </a:lnTo>
                  <a:lnTo>
                    <a:pt x="96" y="26"/>
                  </a:lnTo>
                  <a:lnTo>
                    <a:pt x="88" y="34"/>
                  </a:lnTo>
                  <a:lnTo>
                    <a:pt x="78" y="42"/>
                  </a:lnTo>
                  <a:lnTo>
                    <a:pt x="68" y="48"/>
                  </a:lnTo>
                  <a:lnTo>
                    <a:pt x="58" y="48"/>
                  </a:lnTo>
                  <a:lnTo>
                    <a:pt x="58" y="48"/>
                  </a:lnTo>
                  <a:lnTo>
                    <a:pt x="52" y="48"/>
                  </a:lnTo>
                  <a:lnTo>
                    <a:pt x="46" y="46"/>
                  </a:lnTo>
                  <a:lnTo>
                    <a:pt x="46" y="46"/>
                  </a:lnTo>
                  <a:lnTo>
                    <a:pt x="36" y="48"/>
                  </a:lnTo>
                  <a:lnTo>
                    <a:pt x="26" y="52"/>
                  </a:lnTo>
                  <a:lnTo>
                    <a:pt x="18" y="60"/>
                  </a:lnTo>
                  <a:lnTo>
                    <a:pt x="12" y="66"/>
                  </a:lnTo>
                  <a:lnTo>
                    <a:pt x="6" y="76"/>
                  </a:lnTo>
                  <a:lnTo>
                    <a:pt x="4" y="86"/>
                  </a:lnTo>
                  <a:lnTo>
                    <a:pt x="2" y="96"/>
                  </a:lnTo>
                  <a:lnTo>
                    <a:pt x="0" y="106"/>
                  </a:lnTo>
                  <a:lnTo>
                    <a:pt x="2" y="116"/>
                  </a:lnTo>
                  <a:lnTo>
                    <a:pt x="4" y="126"/>
                  </a:lnTo>
                  <a:lnTo>
                    <a:pt x="8" y="136"/>
                  </a:lnTo>
                  <a:lnTo>
                    <a:pt x="12" y="144"/>
                  </a:lnTo>
                  <a:lnTo>
                    <a:pt x="18" y="152"/>
                  </a:lnTo>
                  <a:lnTo>
                    <a:pt x="26" y="158"/>
                  </a:lnTo>
                  <a:lnTo>
                    <a:pt x="36" y="162"/>
                  </a:lnTo>
                  <a:lnTo>
                    <a:pt x="46" y="164"/>
                  </a:lnTo>
                  <a:lnTo>
                    <a:pt x="46" y="164"/>
                  </a:lnTo>
                  <a:lnTo>
                    <a:pt x="66" y="158"/>
                  </a:lnTo>
                  <a:lnTo>
                    <a:pt x="84" y="148"/>
                  </a:lnTo>
                  <a:lnTo>
                    <a:pt x="102" y="140"/>
                  </a:lnTo>
                  <a:lnTo>
                    <a:pt x="110" y="138"/>
                  </a:lnTo>
                  <a:lnTo>
                    <a:pt x="120" y="138"/>
                  </a:lnTo>
                  <a:lnTo>
                    <a:pt x="120" y="138"/>
                  </a:lnTo>
                  <a:lnTo>
                    <a:pt x="128" y="138"/>
                  </a:lnTo>
                  <a:lnTo>
                    <a:pt x="136" y="140"/>
                  </a:lnTo>
                  <a:lnTo>
                    <a:pt x="144" y="146"/>
                  </a:lnTo>
                  <a:lnTo>
                    <a:pt x="152" y="152"/>
                  </a:lnTo>
                  <a:lnTo>
                    <a:pt x="152" y="152"/>
                  </a:lnTo>
                  <a:lnTo>
                    <a:pt x="160" y="158"/>
                  </a:lnTo>
                  <a:lnTo>
                    <a:pt x="168" y="162"/>
                  </a:lnTo>
                  <a:lnTo>
                    <a:pt x="178" y="164"/>
                  </a:lnTo>
                  <a:lnTo>
                    <a:pt x="186" y="166"/>
                  </a:lnTo>
                  <a:lnTo>
                    <a:pt x="186" y="166"/>
                  </a:lnTo>
                  <a:lnTo>
                    <a:pt x="194" y="164"/>
                  </a:lnTo>
                  <a:lnTo>
                    <a:pt x="202" y="164"/>
                  </a:lnTo>
                  <a:lnTo>
                    <a:pt x="216" y="156"/>
                  </a:lnTo>
                  <a:lnTo>
                    <a:pt x="230" y="146"/>
                  </a:lnTo>
                  <a:lnTo>
                    <a:pt x="240" y="132"/>
                  </a:lnTo>
                  <a:lnTo>
                    <a:pt x="248" y="116"/>
                  </a:lnTo>
                  <a:lnTo>
                    <a:pt x="252" y="100"/>
                  </a:lnTo>
                  <a:lnTo>
                    <a:pt x="254" y="84"/>
                  </a:lnTo>
                  <a:lnTo>
                    <a:pt x="252" y="74"/>
                  </a:lnTo>
                  <a:lnTo>
                    <a:pt x="250" y="66"/>
                  </a:lnTo>
                  <a:lnTo>
                    <a:pt x="250" y="66"/>
                  </a:lnTo>
                  <a:lnTo>
                    <a:pt x="248" y="60"/>
                  </a:lnTo>
                  <a:lnTo>
                    <a:pt x="246" y="50"/>
                  </a:lnTo>
                  <a:lnTo>
                    <a:pt x="244" y="28"/>
                  </a:lnTo>
                  <a:lnTo>
                    <a:pt x="244" y="8"/>
                  </a:lnTo>
                  <a:lnTo>
                    <a:pt x="242" y="2"/>
                  </a:lnTo>
                  <a:lnTo>
                    <a:pt x="238" y="0"/>
                  </a:lnTo>
                </a:path>
              </a:pathLst>
            </a:custGeom>
            <a:noFill/>
            <a:ln>
              <a:noFill/>
            </a:ln>
            <a:extLst>
              <a:ext uri="{909E8E84-426E-40dd-AFC4-6F175D3DCCD1}">
                <a14:hiddenFill xmlns:lc="http://schemas.openxmlformats.org/drawingml/2006/lockedCanvas" xmlns="" xmlns:a14="http://schemas.microsoft.com/office/drawing/2010/main">
                  <a:solidFill>
                    <a:srgbClr val="FFFFFF"/>
                  </a:solidFill>
                </a14:hiddenFill>
              </a:ex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23" name="Freeform 522"/>
            <p:cNvSpPr>
              <a:spLocks/>
            </p:cNvSpPr>
            <p:nvPr/>
          </p:nvSpPr>
          <p:spPr bwMode="auto">
            <a:xfrm>
              <a:off x="14126441" y="3732496"/>
              <a:ext cx="228600" cy="314325"/>
            </a:xfrm>
            <a:custGeom>
              <a:avLst/>
              <a:gdLst>
                <a:gd name="T0" fmla="*/ 30 w 144"/>
                <a:gd name="T1" fmla="*/ 0 h 198"/>
                <a:gd name="T2" fmla="*/ 30 w 144"/>
                <a:gd name="T3" fmla="*/ 0 h 198"/>
                <a:gd name="T4" fmla="*/ 18 w 144"/>
                <a:gd name="T5" fmla="*/ 2 h 198"/>
                <a:gd name="T6" fmla="*/ 12 w 144"/>
                <a:gd name="T7" fmla="*/ 6 h 198"/>
                <a:gd name="T8" fmla="*/ 8 w 144"/>
                <a:gd name="T9" fmla="*/ 8 h 198"/>
                <a:gd name="T10" fmla="*/ 4 w 144"/>
                <a:gd name="T11" fmla="*/ 14 h 198"/>
                <a:gd name="T12" fmla="*/ 2 w 144"/>
                <a:gd name="T13" fmla="*/ 18 h 198"/>
                <a:gd name="T14" fmla="*/ 0 w 144"/>
                <a:gd name="T15" fmla="*/ 26 h 198"/>
                <a:gd name="T16" fmla="*/ 0 w 144"/>
                <a:gd name="T17" fmla="*/ 34 h 198"/>
                <a:gd name="T18" fmla="*/ 0 w 144"/>
                <a:gd name="T19" fmla="*/ 34 h 198"/>
                <a:gd name="T20" fmla="*/ 4 w 144"/>
                <a:gd name="T21" fmla="*/ 34 h 198"/>
                <a:gd name="T22" fmla="*/ 4 w 144"/>
                <a:gd name="T23" fmla="*/ 34 h 198"/>
                <a:gd name="T24" fmla="*/ 14 w 144"/>
                <a:gd name="T25" fmla="*/ 34 h 198"/>
                <a:gd name="T26" fmla="*/ 22 w 144"/>
                <a:gd name="T27" fmla="*/ 36 h 198"/>
                <a:gd name="T28" fmla="*/ 30 w 144"/>
                <a:gd name="T29" fmla="*/ 40 h 198"/>
                <a:gd name="T30" fmla="*/ 36 w 144"/>
                <a:gd name="T31" fmla="*/ 44 h 198"/>
                <a:gd name="T32" fmla="*/ 48 w 144"/>
                <a:gd name="T33" fmla="*/ 54 h 198"/>
                <a:gd name="T34" fmla="*/ 58 w 144"/>
                <a:gd name="T35" fmla="*/ 68 h 198"/>
                <a:gd name="T36" fmla="*/ 64 w 144"/>
                <a:gd name="T37" fmla="*/ 84 h 198"/>
                <a:gd name="T38" fmla="*/ 68 w 144"/>
                <a:gd name="T39" fmla="*/ 100 h 198"/>
                <a:gd name="T40" fmla="*/ 70 w 144"/>
                <a:gd name="T41" fmla="*/ 118 h 198"/>
                <a:gd name="T42" fmla="*/ 70 w 144"/>
                <a:gd name="T43" fmla="*/ 134 h 198"/>
                <a:gd name="T44" fmla="*/ 70 w 144"/>
                <a:gd name="T45" fmla="*/ 134 h 198"/>
                <a:gd name="T46" fmla="*/ 64 w 144"/>
                <a:gd name="T47" fmla="*/ 146 h 198"/>
                <a:gd name="T48" fmla="*/ 62 w 144"/>
                <a:gd name="T49" fmla="*/ 158 h 198"/>
                <a:gd name="T50" fmla="*/ 64 w 144"/>
                <a:gd name="T51" fmla="*/ 168 h 198"/>
                <a:gd name="T52" fmla="*/ 68 w 144"/>
                <a:gd name="T53" fmla="*/ 178 h 198"/>
                <a:gd name="T54" fmla="*/ 74 w 144"/>
                <a:gd name="T55" fmla="*/ 186 h 198"/>
                <a:gd name="T56" fmla="*/ 82 w 144"/>
                <a:gd name="T57" fmla="*/ 192 h 198"/>
                <a:gd name="T58" fmla="*/ 90 w 144"/>
                <a:gd name="T59" fmla="*/ 196 h 198"/>
                <a:gd name="T60" fmla="*/ 100 w 144"/>
                <a:gd name="T61" fmla="*/ 198 h 198"/>
                <a:gd name="T62" fmla="*/ 100 w 144"/>
                <a:gd name="T63" fmla="*/ 198 h 198"/>
                <a:gd name="T64" fmla="*/ 110 w 144"/>
                <a:gd name="T65" fmla="*/ 196 h 198"/>
                <a:gd name="T66" fmla="*/ 118 w 144"/>
                <a:gd name="T67" fmla="*/ 192 h 198"/>
                <a:gd name="T68" fmla="*/ 126 w 144"/>
                <a:gd name="T69" fmla="*/ 186 h 198"/>
                <a:gd name="T70" fmla="*/ 134 w 144"/>
                <a:gd name="T71" fmla="*/ 176 h 198"/>
                <a:gd name="T72" fmla="*/ 134 w 144"/>
                <a:gd name="T73" fmla="*/ 176 h 198"/>
                <a:gd name="T74" fmla="*/ 140 w 144"/>
                <a:gd name="T75" fmla="*/ 166 h 198"/>
                <a:gd name="T76" fmla="*/ 142 w 144"/>
                <a:gd name="T77" fmla="*/ 154 h 198"/>
                <a:gd name="T78" fmla="*/ 144 w 144"/>
                <a:gd name="T79" fmla="*/ 142 h 198"/>
                <a:gd name="T80" fmla="*/ 144 w 144"/>
                <a:gd name="T81" fmla="*/ 130 h 198"/>
                <a:gd name="T82" fmla="*/ 142 w 144"/>
                <a:gd name="T83" fmla="*/ 118 h 198"/>
                <a:gd name="T84" fmla="*/ 140 w 144"/>
                <a:gd name="T85" fmla="*/ 108 h 198"/>
                <a:gd name="T86" fmla="*/ 130 w 144"/>
                <a:gd name="T87" fmla="*/ 84 h 198"/>
                <a:gd name="T88" fmla="*/ 116 w 144"/>
                <a:gd name="T89" fmla="*/ 62 h 198"/>
                <a:gd name="T90" fmla="*/ 100 w 144"/>
                <a:gd name="T91" fmla="*/ 44 h 198"/>
                <a:gd name="T92" fmla="*/ 82 w 144"/>
                <a:gd name="T93" fmla="*/ 26 h 198"/>
                <a:gd name="T94" fmla="*/ 62 w 144"/>
                <a:gd name="T95" fmla="*/ 12 h 198"/>
                <a:gd name="T96" fmla="*/ 62 w 144"/>
                <a:gd name="T97" fmla="*/ 12 h 198"/>
                <a:gd name="T98" fmla="*/ 56 w 144"/>
                <a:gd name="T99" fmla="*/ 8 h 198"/>
                <a:gd name="T100" fmla="*/ 48 w 144"/>
                <a:gd name="T101" fmla="*/ 4 h 198"/>
                <a:gd name="T102" fmla="*/ 38 w 144"/>
                <a:gd name="T103" fmla="*/ 2 h 198"/>
                <a:gd name="T104" fmla="*/ 30 w 144"/>
                <a:gd name="T10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 h="198">
                  <a:moveTo>
                    <a:pt x="30" y="0"/>
                  </a:moveTo>
                  <a:lnTo>
                    <a:pt x="30" y="0"/>
                  </a:lnTo>
                  <a:lnTo>
                    <a:pt x="18" y="2"/>
                  </a:lnTo>
                  <a:lnTo>
                    <a:pt x="12" y="6"/>
                  </a:lnTo>
                  <a:lnTo>
                    <a:pt x="8" y="8"/>
                  </a:lnTo>
                  <a:lnTo>
                    <a:pt x="4" y="14"/>
                  </a:lnTo>
                  <a:lnTo>
                    <a:pt x="2" y="18"/>
                  </a:lnTo>
                  <a:lnTo>
                    <a:pt x="0" y="26"/>
                  </a:lnTo>
                  <a:lnTo>
                    <a:pt x="0" y="34"/>
                  </a:lnTo>
                  <a:lnTo>
                    <a:pt x="0" y="34"/>
                  </a:lnTo>
                  <a:lnTo>
                    <a:pt x="4" y="34"/>
                  </a:lnTo>
                  <a:lnTo>
                    <a:pt x="4" y="34"/>
                  </a:lnTo>
                  <a:lnTo>
                    <a:pt x="14" y="34"/>
                  </a:lnTo>
                  <a:lnTo>
                    <a:pt x="22" y="36"/>
                  </a:lnTo>
                  <a:lnTo>
                    <a:pt x="30" y="40"/>
                  </a:lnTo>
                  <a:lnTo>
                    <a:pt x="36" y="44"/>
                  </a:lnTo>
                  <a:lnTo>
                    <a:pt x="48" y="54"/>
                  </a:lnTo>
                  <a:lnTo>
                    <a:pt x="58" y="68"/>
                  </a:lnTo>
                  <a:lnTo>
                    <a:pt x="64" y="84"/>
                  </a:lnTo>
                  <a:lnTo>
                    <a:pt x="68" y="100"/>
                  </a:lnTo>
                  <a:lnTo>
                    <a:pt x="70" y="118"/>
                  </a:lnTo>
                  <a:lnTo>
                    <a:pt x="70" y="134"/>
                  </a:lnTo>
                  <a:lnTo>
                    <a:pt x="70" y="134"/>
                  </a:lnTo>
                  <a:lnTo>
                    <a:pt x="64" y="146"/>
                  </a:lnTo>
                  <a:lnTo>
                    <a:pt x="62" y="158"/>
                  </a:lnTo>
                  <a:lnTo>
                    <a:pt x="64" y="168"/>
                  </a:lnTo>
                  <a:lnTo>
                    <a:pt x="68" y="178"/>
                  </a:lnTo>
                  <a:lnTo>
                    <a:pt x="74" y="186"/>
                  </a:lnTo>
                  <a:lnTo>
                    <a:pt x="82" y="192"/>
                  </a:lnTo>
                  <a:lnTo>
                    <a:pt x="90" y="196"/>
                  </a:lnTo>
                  <a:lnTo>
                    <a:pt x="100" y="198"/>
                  </a:lnTo>
                  <a:lnTo>
                    <a:pt x="100" y="198"/>
                  </a:lnTo>
                  <a:lnTo>
                    <a:pt x="110" y="196"/>
                  </a:lnTo>
                  <a:lnTo>
                    <a:pt x="118" y="192"/>
                  </a:lnTo>
                  <a:lnTo>
                    <a:pt x="126" y="186"/>
                  </a:lnTo>
                  <a:lnTo>
                    <a:pt x="134" y="176"/>
                  </a:lnTo>
                  <a:lnTo>
                    <a:pt x="134" y="176"/>
                  </a:lnTo>
                  <a:lnTo>
                    <a:pt x="140" y="166"/>
                  </a:lnTo>
                  <a:lnTo>
                    <a:pt x="142" y="154"/>
                  </a:lnTo>
                  <a:lnTo>
                    <a:pt x="144" y="142"/>
                  </a:lnTo>
                  <a:lnTo>
                    <a:pt x="144" y="130"/>
                  </a:lnTo>
                  <a:lnTo>
                    <a:pt x="142" y="118"/>
                  </a:lnTo>
                  <a:lnTo>
                    <a:pt x="140" y="108"/>
                  </a:lnTo>
                  <a:lnTo>
                    <a:pt x="130" y="84"/>
                  </a:lnTo>
                  <a:lnTo>
                    <a:pt x="116" y="62"/>
                  </a:lnTo>
                  <a:lnTo>
                    <a:pt x="100" y="44"/>
                  </a:lnTo>
                  <a:lnTo>
                    <a:pt x="82" y="26"/>
                  </a:lnTo>
                  <a:lnTo>
                    <a:pt x="62" y="12"/>
                  </a:lnTo>
                  <a:lnTo>
                    <a:pt x="62" y="12"/>
                  </a:lnTo>
                  <a:lnTo>
                    <a:pt x="56" y="8"/>
                  </a:lnTo>
                  <a:lnTo>
                    <a:pt x="48" y="4"/>
                  </a:lnTo>
                  <a:lnTo>
                    <a:pt x="38" y="2"/>
                  </a:lnTo>
                  <a:lnTo>
                    <a:pt x="30" y="0"/>
                  </a:lnTo>
                </a:path>
              </a:pathLst>
            </a:custGeom>
            <a:noFill/>
            <a:ln>
              <a:noFill/>
            </a:ln>
            <a:extLst>
              <a:ext uri="{909E8E84-426E-40dd-AFC4-6F175D3DCCD1}">
                <a14:hiddenFill xmlns:lc="http://schemas.openxmlformats.org/drawingml/2006/lockedCanvas" xmlns="" xmlns:a14="http://schemas.microsoft.com/office/drawing/2010/main">
                  <a:solidFill>
                    <a:srgbClr val="FFFFFF"/>
                  </a:solidFill>
                </a14:hiddenFill>
              </a:ex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24" name="Freeform 523"/>
            <p:cNvSpPr>
              <a:spLocks/>
            </p:cNvSpPr>
            <p:nvPr/>
          </p:nvSpPr>
          <p:spPr bwMode="auto">
            <a:xfrm>
              <a:off x="12999316" y="3627721"/>
              <a:ext cx="276225" cy="593725"/>
            </a:xfrm>
            <a:custGeom>
              <a:avLst/>
              <a:gdLst>
                <a:gd name="T0" fmla="*/ 128 w 174"/>
                <a:gd name="T1" fmla="*/ 0 h 374"/>
                <a:gd name="T2" fmla="*/ 128 w 174"/>
                <a:gd name="T3" fmla="*/ 0 h 374"/>
                <a:gd name="T4" fmla="*/ 110 w 174"/>
                <a:gd name="T5" fmla="*/ 2 h 374"/>
                <a:gd name="T6" fmla="*/ 94 w 174"/>
                <a:gd name="T7" fmla="*/ 8 h 374"/>
                <a:gd name="T8" fmla="*/ 80 w 174"/>
                <a:gd name="T9" fmla="*/ 18 h 374"/>
                <a:gd name="T10" fmla="*/ 66 w 174"/>
                <a:gd name="T11" fmla="*/ 28 h 374"/>
                <a:gd name="T12" fmla="*/ 54 w 174"/>
                <a:gd name="T13" fmla="*/ 42 h 374"/>
                <a:gd name="T14" fmla="*/ 44 w 174"/>
                <a:gd name="T15" fmla="*/ 58 h 374"/>
                <a:gd name="T16" fmla="*/ 36 w 174"/>
                <a:gd name="T17" fmla="*/ 74 h 374"/>
                <a:gd name="T18" fmla="*/ 28 w 174"/>
                <a:gd name="T19" fmla="*/ 88 h 374"/>
                <a:gd name="T20" fmla="*/ 28 w 174"/>
                <a:gd name="T21" fmla="*/ 88 h 374"/>
                <a:gd name="T22" fmla="*/ 16 w 174"/>
                <a:gd name="T23" fmla="*/ 114 h 374"/>
                <a:gd name="T24" fmla="*/ 8 w 174"/>
                <a:gd name="T25" fmla="*/ 140 h 374"/>
                <a:gd name="T26" fmla="*/ 4 w 174"/>
                <a:gd name="T27" fmla="*/ 168 h 374"/>
                <a:gd name="T28" fmla="*/ 2 w 174"/>
                <a:gd name="T29" fmla="*/ 194 h 374"/>
                <a:gd name="T30" fmla="*/ 0 w 174"/>
                <a:gd name="T31" fmla="*/ 222 h 374"/>
                <a:gd name="T32" fmla="*/ 2 w 174"/>
                <a:gd name="T33" fmla="*/ 250 h 374"/>
                <a:gd name="T34" fmla="*/ 2 w 174"/>
                <a:gd name="T35" fmla="*/ 306 h 374"/>
                <a:gd name="T36" fmla="*/ 2 w 174"/>
                <a:gd name="T37" fmla="*/ 306 h 374"/>
                <a:gd name="T38" fmla="*/ 0 w 174"/>
                <a:gd name="T39" fmla="*/ 320 h 374"/>
                <a:gd name="T40" fmla="*/ 0 w 174"/>
                <a:gd name="T41" fmla="*/ 334 h 374"/>
                <a:gd name="T42" fmla="*/ 4 w 174"/>
                <a:gd name="T43" fmla="*/ 344 h 374"/>
                <a:gd name="T44" fmla="*/ 10 w 174"/>
                <a:gd name="T45" fmla="*/ 356 h 374"/>
                <a:gd name="T46" fmla="*/ 18 w 174"/>
                <a:gd name="T47" fmla="*/ 364 h 374"/>
                <a:gd name="T48" fmla="*/ 30 w 174"/>
                <a:gd name="T49" fmla="*/ 370 h 374"/>
                <a:gd name="T50" fmla="*/ 40 w 174"/>
                <a:gd name="T51" fmla="*/ 374 h 374"/>
                <a:gd name="T52" fmla="*/ 52 w 174"/>
                <a:gd name="T53" fmla="*/ 374 h 374"/>
                <a:gd name="T54" fmla="*/ 52 w 174"/>
                <a:gd name="T55" fmla="*/ 374 h 374"/>
                <a:gd name="T56" fmla="*/ 66 w 174"/>
                <a:gd name="T57" fmla="*/ 374 h 374"/>
                <a:gd name="T58" fmla="*/ 78 w 174"/>
                <a:gd name="T59" fmla="*/ 368 h 374"/>
                <a:gd name="T60" fmla="*/ 88 w 174"/>
                <a:gd name="T61" fmla="*/ 358 h 374"/>
                <a:gd name="T62" fmla="*/ 98 w 174"/>
                <a:gd name="T63" fmla="*/ 344 h 374"/>
                <a:gd name="T64" fmla="*/ 98 w 174"/>
                <a:gd name="T65" fmla="*/ 344 h 374"/>
                <a:gd name="T66" fmla="*/ 104 w 174"/>
                <a:gd name="T67" fmla="*/ 336 h 374"/>
                <a:gd name="T68" fmla="*/ 110 w 174"/>
                <a:gd name="T69" fmla="*/ 328 h 374"/>
                <a:gd name="T70" fmla="*/ 114 w 174"/>
                <a:gd name="T71" fmla="*/ 320 h 374"/>
                <a:gd name="T72" fmla="*/ 116 w 174"/>
                <a:gd name="T73" fmla="*/ 312 h 374"/>
                <a:gd name="T74" fmla="*/ 118 w 174"/>
                <a:gd name="T75" fmla="*/ 294 h 374"/>
                <a:gd name="T76" fmla="*/ 116 w 174"/>
                <a:gd name="T77" fmla="*/ 278 h 374"/>
                <a:gd name="T78" fmla="*/ 110 w 174"/>
                <a:gd name="T79" fmla="*/ 260 h 374"/>
                <a:gd name="T80" fmla="*/ 104 w 174"/>
                <a:gd name="T81" fmla="*/ 242 h 374"/>
                <a:gd name="T82" fmla="*/ 96 w 174"/>
                <a:gd name="T83" fmla="*/ 224 h 374"/>
                <a:gd name="T84" fmla="*/ 90 w 174"/>
                <a:gd name="T85" fmla="*/ 206 h 374"/>
                <a:gd name="T86" fmla="*/ 90 w 174"/>
                <a:gd name="T87" fmla="*/ 206 h 374"/>
                <a:gd name="T88" fmla="*/ 104 w 174"/>
                <a:gd name="T89" fmla="*/ 156 h 374"/>
                <a:gd name="T90" fmla="*/ 110 w 174"/>
                <a:gd name="T91" fmla="*/ 130 h 374"/>
                <a:gd name="T92" fmla="*/ 120 w 174"/>
                <a:gd name="T93" fmla="*/ 106 h 374"/>
                <a:gd name="T94" fmla="*/ 130 w 174"/>
                <a:gd name="T95" fmla="*/ 82 h 374"/>
                <a:gd name="T96" fmla="*/ 142 w 174"/>
                <a:gd name="T97" fmla="*/ 60 h 374"/>
                <a:gd name="T98" fmla="*/ 156 w 174"/>
                <a:gd name="T99" fmla="*/ 38 h 374"/>
                <a:gd name="T100" fmla="*/ 174 w 174"/>
                <a:gd name="T101" fmla="*/ 18 h 374"/>
                <a:gd name="T102" fmla="*/ 174 w 174"/>
                <a:gd name="T103" fmla="*/ 18 h 374"/>
                <a:gd name="T104" fmla="*/ 156 w 174"/>
                <a:gd name="T105" fmla="*/ 8 h 374"/>
                <a:gd name="T106" fmla="*/ 146 w 174"/>
                <a:gd name="T107" fmla="*/ 2 h 374"/>
                <a:gd name="T108" fmla="*/ 136 w 174"/>
                <a:gd name="T109" fmla="*/ 0 h 374"/>
                <a:gd name="T110" fmla="*/ 136 w 174"/>
                <a:gd name="T111" fmla="*/ 0 h 374"/>
                <a:gd name="T112" fmla="*/ 128 w 174"/>
                <a:gd name="T11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374">
                  <a:moveTo>
                    <a:pt x="128" y="0"/>
                  </a:moveTo>
                  <a:lnTo>
                    <a:pt x="128" y="0"/>
                  </a:lnTo>
                  <a:lnTo>
                    <a:pt x="110" y="2"/>
                  </a:lnTo>
                  <a:lnTo>
                    <a:pt x="94" y="8"/>
                  </a:lnTo>
                  <a:lnTo>
                    <a:pt x="80" y="18"/>
                  </a:lnTo>
                  <a:lnTo>
                    <a:pt x="66" y="28"/>
                  </a:lnTo>
                  <a:lnTo>
                    <a:pt x="54" y="42"/>
                  </a:lnTo>
                  <a:lnTo>
                    <a:pt x="44" y="58"/>
                  </a:lnTo>
                  <a:lnTo>
                    <a:pt x="36" y="74"/>
                  </a:lnTo>
                  <a:lnTo>
                    <a:pt x="28" y="88"/>
                  </a:lnTo>
                  <a:lnTo>
                    <a:pt x="28" y="88"/>
                  </a:lnTo>
                  <a:lnTo>
                    <a:pt x="16" y="114"/>
                  </a:lnTo>
                  <a:lnTo>
                    <a:pt x="8" y="140"/>
                  </a:lnTo>
                  <a:lnTo>
                    <a:pt x="4" y="168"/>
                  </a:lnTo>
                  <a:lnTo>
                    <a:pt x="2" y="194"/>
                  </a:lnTo>
                  <a:lnTo>
                    <a:pt x="0" y="222"/>
                  </a:lnTo>
                  <a:lnTo>
                    <a:pt x="2" y="250"/>
                  </a:lnTo>
                  <a:lnTo>
                    <a:pt x="2" y="306"/>
                  </a:lnTo>
                  <a:lnTo>
                    <a:pt x="2" y="306"/>
                  </a:lnTo>
                  <a:lnTo>
                    <a:pt x="0" y="320"/>
                  </a:lnTo>
                  <a:lnTo>
                    <a:pt x="0" y="334"/>
                  </a:lnTo>
                  <a:lnTo>
                    <a:pt x="4" y="344"/>
                  </a:lnTo>
                  <a:lnTo>
                    <a:pt x="10" y="356"/>
                  </a:lnTo>
                  <a:lnTo>
                    <a:pt x="18" y="364"/>
                  </a:lnTo>
                  <a:lnTo>
                    <a:pt x="30" y="370"/>
                  </a:lnTo>
                  <a:lnTo>
                    <a:pt x="40" y="374"/>
                  </a:lnTo>
                  <a:lnTo>
                    <a:pt x="52" y="374"/>
                  </a:lnTo>
                  <a:lnTo>
                    <a:pt x="52" y="374"/>
                  </a:lnTo>
                  <a:lnTo>
                    <a:pt x="66" y="374"/>
                  </a:lnTo>
                  <a:lnTo>
                    <a:pt x="78" y="368"/>
                  </a:lnTo>
                  <a:lnTo>
                    <a:pt x="88" y="358"/>
                  </a:lnTo>
                  <a:lnTo>
                    <a:pt x="98" y="344"/>
                  </a:lnTo>
                  <a:lnTo>
                    <a:pt x="98" y="344"/>
                  </a:lnTo>
                  <a:lnTo>
                    <a:pt x="104" y="336"/>
                  </a:lnTo>
                  <a:lnTo>
                    <a:pt x="110" y="328"/>
                  </a:lnTo>
                  <a:lnTo>
                    <a:pt x="114" y="320"/>
                  </a:lnTo>
                  <a:lnTo>
                    <a:pt x="116" y="312"/>
                  </a:lnTo>
                  <a:lnTo>
                    <a:pt x="118" y="294"/>
                  </a:lnTo>
                  <a:lnTo>
                    <a:pt x="116" y="278"/>
                  </a:lnTo>
                  <a:lnTo>
                    <a:pt x="110" y="260"/>
                  </a:lnTo>
                  <a:lnTo>
                    <a:pt x="104" y="242"/>
                  </a:lnTo>
                  <a:lnTo>
                    <a:pt x="96" y="224"/>
                  </a:lnTo>
                  <a:lnTo>
                    <a:pt x="90" y="206"/>
                  </a:lnTo>
                  <a:lnTo>
                    <a:pt x="90" y="206"/>
                  </a:lnTo>
                  <a:lnTo>
                    <a:pt x="104" y="156"/>
                  </a:lnTo>
                  <a:lnTo>
                    <a:pt x="110" y="130"/>
                  </a:lnTo>
                  <a:lnTo>
                    <a:pt x="120" y="106"/>
                  </a:lnTo>
                  <a:lnTo>
                    <a:pt x="130" y="82"/>
                  </a:lnTo>
                  <a:lnTo>
                    <a:pt x="142" y="60"/>
                  </a:lnTo>
                  <a:lnTo>
                    <a:pt x="156" y="38"/>
                  </a:lnTo>
                  <a:lnTo>
                    <a:pt x="174" y="18"/>
                  </a:lnTo>
                  <a:lnTo>
                    <a:pt x="174" y="18"/>
                  </a:lnTo>
                  <a:lnTo>
                    <a:pt x="156" y="8"/>
                  </a:lnTo>
                  <a:lnTo>
                    <a:pt x="146" y="2"/>
                  </a:lnTo>
                  <a:lnTo>
                    <a:pt x="136" y="0"/>
                  </a:lnTo>
                  <a:lnTo>
                    <a:pt x="136" y="0"/>
                  </a:lnTo>
                  <a:lnTo>
                    <a:pt x="128" y="0"/>
                  </a:lnTo>
                </a:path>
              </a:pathLst>
            </a:custGeom>
            <a:noFill/>
            <a:ln>
              <a:noFill/>
            </a:ln>
            <a:extLst>
              <a:ext uri="{909E8E84-426E-40dd-AFC4-6F175D3DCCD1}">
                <a14:hiddenFill xmlns:lc="http://schemas.openxmlformats.org/drawingml/2006/lockedCanvas" xmlns="" xmlns:a14="http://schemas.microsoft.com/office/drawing/2010/main">
                  <a:solidFill>
                    <a:srgbClr val="FFFFFF"/>
                  </a:solidFill>
                </a14:hiddenFill>
              </a:ex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525" name="Freeform 524"/>
            <p:cNvSpPr>
              <a:spLocks/>
            </p:cNvSpPr>
            <p:nvPr/>
          </p:nvSpPr>
          <p:spPr bwMode="auto">
            <a:xfrm>
              <a:off x="13370791" y="3395946"/>
              <a:ext cx="758825" cy="809625"/>
            </a:xfrm>
            <a:custGeom>
              <a:avLst/>
              <a:gdLst>
                <a:gd name="T0" fmla="*/ 226 w 478"/>
                <a:gd name="T1" fmla="*/ 0 h 510"/>
                <a:gd name="T2" fmla="*/ 172 w 478"/>
                <a:gd name="T3" fmla="*/ 6 h 510"/>
                <a:gd name="T4" fmla="*/ 122 w 478"/>
                <a:gd name="T5" fmla="*/ 14 h 510"/>
                <a:gd name="T6" fmla="*/ 72 w 478"/>
                <a:gd name="T7" fmla="*/ 28 h 510"/>
                <a:gd name="T8" fmla="*/ 46 w 478"/>
                <a:gd name="T9" fmla="*/ 46 h 510"/>
                <a:gd name="T10" fmla="*/ 28 w 478"/>
                <a:gd name="T11" fmla="*/ 74 h 510"/>
                <a:gd name="T12" fmla="*/ 8 w 478"/>
                <a:gd name="T13" fmla="*/ 108 h 510"/>
                <a:gd name="T14" fmla="*/ 0 w 478"/>
                <a:gd name="T15" fmla="*/ 130 h 510"/>
                <a:gd name="T16" fmla="*/ 6 w 478"/>
                <a:gd name="T17" fmla="*/ 146 h 510"/>
                <a:gd name="T18" fmla="*/ 20 w 478"/>
                <a:gd name="T19" fmla="*/ 156 h 510"/>
                <a:gd name="T20" fmla="*/ 58 w 478"/>
                <a:gd name="T21" fmla="*/ 170 h 510"/>
                <a:gd name="T22" fmla="*/ 84 w 478"/>
                <a:gd name="T23" fmla="*/ 184 h 510"/>
                <a:gd name="T24" fmla="*/ 96 w 478"/>
                <a:gd name="T25" fmla="*/ 198 h 510"/>
                <a:gd name="T26" fmla="*/ 96 w 478"/>
                <a:gd name="T27" fmla="*/ 208 h 510"/>
                <a:gd name="T28" fmla="*/ 98 w 478"/>
                <a:gd name="T29" fmla="*/ 232 h 510"/>
                <a:gd name="T30" fmla="*/ 96 w 478"/>
                <a:gd name="T31" fmla="*/ 248 h 510"/>
                <a:gd name="T32" fmla="*/ 78 w 478"/>
                <a:gd name="T33" fmla="*/ 274 h 510"/>
                <a:gd name="T34" fmla="*/ 58 w 478"/>
                <a:gd name="T35" fmla="*/ 298 h 510"/>
                <a:gd name="T36" fmla="*/ 52 w 478"/>
                <a:gd name="T37" fmla="*/ 312 h 510"/>
                <a:gd name="T38" fmla="*/ 52 w 478"/>
                <a:gd name="T39" fmla="*/ 332 h 510"/>
                <a:gd name="T40" fmla="*/ 56 w 478"/>
                <a:gd name="T41" fmla="*/ 366 h 510"/>
                <a:gd name="T42" fmla="*/ 64 w 478"/>
                <a:gd name="T43" fmla="*/ 394 h 510"/>
                <a:gd name="T44" fmla="*/ 74 w 478"/>
                <a:gd name="T45" fmla="*/ 412 h 510"/>
                <a:gd name="T46" fmla="*/ 88 w 478"/>
                <a:gd name="T47" fmla="*/ 430 h 510"/>
                <a:gd name="T48" fmla="*/ 146 w 478"/>
                <a:gd name="T49" fmla="*/ 480 h 510"/>
                <a:gd name="T50" fmla="*/ 178 w 478"/>
                <a:gd name="T51" fmla="*/ 502 h 510"/>
                <a:gd name="T52" fmla="*/ 214 w 478"/>
                <a:gd name="T53" fmla="*/ 510 h 510"/>
                <a:gd name="T54" fmla="*/ 224 w 478"/>
                <a:gd name="T55" fmla="*/ 510 h 510"/>
                <a:gd name="T56" fmla="*/ 234 w 478"/>
                <a:gd name="T57" fmla="*/ 508 h 510"/>
                <a:gd name="T58" fmla="*/ 248 w 478"/>
                <a:gd name="T59" fmla="*/ 490 h 510"/>
                <a:gd name="T60" fmla="*/ 248 w 478"/>
                <a:gd name="T61" fmla="*/ 478 h 510"/>
                <a:gd name="T62" fmla="*/ 238 w 478"/>
                <a:gd name="T63" fmla="*/ 472 h 510"/>
                <a:gd name="T64" fmla="*/ 200 w 478"/>
                <a:gd name="T65" fmla="*/ 464 h 510"/>
                <a:gd name="T66" fmla="*/ 172 w 478"/>
                <a:gd name="T67" fmla="*/ 456 h 510"/>
                <a:gd name="T68" fmla="*/ 158 w 478"/>
                <a:gd name="T69" fmla="*/ 446 h 510"/>
                <a:gd name="T70" fmla="*/ 156 w 478"/>
                <a:gd name="T71" fmla="*/ 438 h 510"/>
                <a:gd name="T72" fmla="*/ 162 w 478"/>
                <a:gd name="T73" fmla="*/ 378 h 510"/>
                <a:gd name="T74" fmla="*/ 172 w 478"/>
                <a:gd name="T75" fmla="*/ 338 h 510"/>
                <a:gd name="T76" fmla="*/ 192 w 478"/>
                <a:gd name="T77" fmla="*/ 304 h 510"/>
                <a:gd name="T78" fmla="*/ 208 w 478"/>
                <a:gd name="T79" fmla="*/ 292 h 510"/>
                <a:gd name="T80" fmla="*/ 218 w 478"/>
                <a:gd name="T81" fmla="*/ 286 h 510"/>
                <a:gd name="T82" fmla="*/ 234 w 478"/>
                <a:gd name="T83" fmla="*/ 274 h 510"/>
                <a:gd name="T84" fmla="*/ 248 w 478"/>
                <a:gd name="T85" fmla="*/ 246 h 510"/>
                <a:gd name="T86" fmla="*/ 260 w 478"/>
                <a:gd name="T87" fmla="*/ 202 h 510"/>
                <a:gd name="T88" fmla="*/ 272 w 478"/>
                <a:gd name="T89" fmla="*/ 170 h 510"/>
                <a:gd name="T90" fmla="*/ 284 w 478"/>
                <a:gd name="T91" fmla="*/ 150 h 510"/>
                <a:gd name="T92" fmla="*/ 292 w 478"/>
                <a:gd name="T93" fmla="*/ 142 h 510"/>
                <a:gd name="T94" fmla="*/ 310 w 478"/>
                <a:gd name="T95" fmla="*/ 134 h 510"/>
                <a:gd name="T96" fmla="*/ 338 w 478"/>
                <a:gd name="T97" fmla="*/ 130 h 510"/>
                <a:gd name="T98" fmla="*/ 364 w 478"/>
                <a:gd name="T99" fmla="*/ 132 h 510"/>
                <a:gd name="T100" fmla="*/ 394 w 478"/>
                <a:gd name="T101" fmla="*/ 134 h 510"/>
                <a:gd name="T102" fmla="*/ 446 w 478"/>
                <a:gd name="T103" fmla="*/ 138 h 510"/>
                <a:gd name="T104" fmla="*/ 458 w 478"/>
                <a:gd name="T105" fmla="*/ 136 h 510"/>
                <a:gd name="T106" fmla="*/ 476 w 478"/>
                <a:gd name="T107" fmla="*/ 132 h 510"/>
                <a:gd name="T108" fmla="*/ 476 w 478"/>
                <a:gd name="T109" fmla="*/ 120 h 510"/>
                <a:gd name="T110" fmla="*/ 456 w 478"/>
                <a:gd name="T111" fmla="*/ 98 h 510"/>
                <a:gd name="T112" fmla="*/ 438 w 478"/>
                <a:gd name="T113" fmla="*/ 82 h 510"/>
                <a:gd name="T114" fmla="*/ 376 w 478"/>
                <a:gd name="T115" fmla="*/ 42 h 510"/>
                <a:gd name="T116" fmla="*/ 320 w 478"/>
                <a:gd name="T117" fmla="*/ 18 h 510"/>
                <a:gd name="T118" fmla="*/ 272 w 478"/>
                <a:gd name="T119" fmla="*/ 4 h 510"/>
                <a:gd name="T120" fmla="*/ 226 w 478"/>
                <a:gd name="T121"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8" h="510">
                  <a:moveTo>
                    <a:pt x="226" y="0"/>
                  </a:moveTo>
                  <a:lnTo>
                    <a:pt x="226" y="0"/>
                  </a:lnTo>
                  <a:lnTo>
                    <a:pt x="198" y="2"/>
                  </a:lnTo>
                  <a:lnTo>
                    <a:pt x="172" y="6"/>
                  </a:lnTo>
                  <a:lnTo>
                    <a:pt x="122" y="14"/>
                  </a:lnTo>
                  <a:lnTo>
                    <a:pt x="122" y="14"/>
                  </a:lnTo>
                  <a:lnTo>
                    <a:pt x="94" y="20"/>
                  </a:lnTo>
                  <a:lnTo>
                    <a:pt x="72" y="28"/>
                  </a:lnTo>
                  <a:lnTo>
                    <a:pt x="56" y="36"/>
                  </a:lnTo>
                  <a:lnTo>
                    <a:pt x="46" y="46"/>
                  </a:lnTo>
                  <a:lnTo>
                    <a:pt x="36" y="60"/>
                  </a:lnTo>
                  <a:lnTo>
                    <a:pt x="28" y="74"/>
                  </a:lnTo>
                  <a:lnTo>
                    <a:pt x="8" y="108"/>
                  </a:lnTo>
                  <a:lnTo>
                    <a:pt x="8" y="108"/>
                  </a:lnTo>
                  <a:lnTo>
                    <a:pt x="2" y="120"/>
                  </a:lnTo>
                  <a:lnTo>
                    <a:pt x="0" y="130"/>
                  </a:lnTo>
                  <a:lnTo>
                    <a:pt x="2" y="138"/>
                  </a:lnTo>
                  <a:lnTo>
                    <a:pt x="6" y="146"/>
                  </a:lnTo>
                  <a:lnTo>
                    <a:pt x="12" y="150"/>
                  </a:lnTo>
                  <a:lnTo>
                    <a:pt x="20" y="156"/>
                  </a:lnTo>
                  <a:lnTo>
                    <a:pt x="38" y="162"/>
                  </a:lnTo>
                  <a:lnTo>
                    <a:pt x="58" y="170"/>
                  </a:lnTo>
                  <a:lnTo>
                    <a:pt x="76" y="178"/>
                  </a:lnTo>
                  <a:lnTo>
                    <a:pt x="84" y="184"/>
                  </a:lnTo>
                  <a:lnTo>
                    <a:pt x="90" y="190"/>
                  </a:lnTo>
                  <a:lnTo>
                    <a:pt x="96" y="198"/>
                  </a:lnTo>
                  <a:lnTo>
                    <a:pt x="96" y="208"/>
                  </a:lnTo>
                  <a:lnTo>
                    <a:pt x="96" y="208"/>
                  </a:lnTo>
                  <a:lnTo>
                    <a:pt x="98" y="220"/>
                  </a:lnTo>
                  <a:lnTo>
                    <a:pt x="98" y="232"/>
                  </a:lnTo>
                  <a:lnTo>
                    <a:pt x="98" y="240"/>
                  </a:lnTo>
                  <a:lnTo>
                    <a:pt x="96" y="248"/>
                  </a:lnTo>
                  <a:lnTo>
                    <a:pt x="88" y="262"/>
                  </a:lnTo>
                  <a:lnTo>
                    <a:pt x="78" y="274"/>
                  </a:lnTo>
                  <a:lnTo>
                    <a:pt x="68" y="286"/>
                  </a:lnTo>
                  <a:lnTo>
                    <a:pt x="58" y="298"/>
                  </a:lnTo>
                  <a:lnTo>
                    <a:pt x="56" y="304"/>
                  </a:lnTo>
                  <a:lnTo>
                    <a:pt x="52" y="312"/>
                  </a:lnTo>
                  <a:lnTo>
                    <a:pt x="52" y="322"/>
                  </a:lnTo>
                  <a:lnTo>
                    <a:pt x="52" y="332"/>
                  </a:lnTo>
                  <a:lnTo>
                    <a:pt x="52" y="332"/>
                  </a:lnTo>
                  <a:lnTo>
                    <a:pt x="56" y="366"/>
                  </a:lnTo>
                  <a:lnTo>
                    <a:pt x="58" y="382"/>
                  </a:lnTo>
                  <a:lnTo>
                    <a:pt x="64" y="394"/>
                  </a:lnTo>
                  <a:lnTo>
                    <a:pt x="68" y="404"/>
                  </a:lnTo>
                  <a:lnTo>
                    <a:pt x="74" y="412"/>
                  </a:lnTo>
                  <a:lnTo>
                    <a:pt x="88" y="430"/>
                  </a:lnTo>
                  <a:lnTo>
                    <a:pt x="88" y="430"/>
                  </a:lnTo>
                  <a:lnTo>
                    <a:pt x="118" y="454"/>
                  </a:lnTo>
                  <a:lnTo>
                    <a:pt x="146" y="480"/>
                  </a:lnTo>
                  <a:lnTo>
                    <a:pt x="162" y="492"/>
                  </a:lnTo>
                  <a:lnTo>
                    <a:pt x="178" y="502"/>
                  </a:lnTo>
                  <a:lnTo>
                    <a:pt x="196" y="508"/>
                  </a:lnTo>
                  <a:lnTo>
                    <a:pt x="214" y="510"/>
                  </a:lnTo>
                  <a:lnTo>
                    <a:pt x="214" y="510"/>
                  </a:lnTo>
                  <a:lnTo>
                    <a:pt x="224" y="510"/>
                  </a:lnTo>
                  <a:lnTo>
                    <a:pt x="234" y="508"/>
                  </a:lnTo>
                  <a:lnTo>
                    <a:pt x="234" y="508"/>
                  </a:lnTo>
                  <a:lnTo>
                    <a:pt x="242" y="498"/>
                  </a:lnTo>
                  <a:lnTo>
                    <a:pt x="248" y="490"/>
                  </a:lnTo>
                  <a:lnTo>
                    <a:pt x="250" y="484"/>
                  </a:lnTo>
                  <a:lnTo>
                    <a:pt x="248" y="478"/>
                  </a:lnTo>
                  <a:lnTo>
                    <a:pt x="244" y="474"/>
                  </a:lnTo>
                  <a:lnTo>
                    <a:pt x="238" y="472"/>
                  </a:lnTo>
                  <a:lnTo>
                    <a:pt x="220" y="468"/>
                  </a:lnTo>
                  <a:lnTo>
                    <a:pt x="200" y="464"/>
                  </a:lnTo>
                  <a:lnTo>
                    <a:pt x="180" y="460"/>
                  </a:lnTo>
                  <a:lnTo>
                    <a:pt x="172" y="456"/>
                  </a:lnTo>
                  <a:lnTo>
                    <a:pt x="164" y="452"/>
                  </a:lnTo>
                  <a:lnTo>
                    <a:pt x="158" y="446"/>
                  </a:lnTo>
                  <a:lnTo>
                    <a:pt x="156" y="438"/>
                  </a:lnTo>
                  <a:lnTo>
                    <a:pt x="156" y="438"/>
                  </a:lnTo>
                  <a:lnTo>
                    <a:pt x="160" y="398"/>
                  </a:lnTo>
                  <a:lnTo>
                    <a:pt x="162" y="378"/>
                  </a:lnTo>
                  <a:lnTo>
                    <a:pt x="166" y="358"/>
                  </a:lnTo>
                  <a:lnTo>
                    <a:pt x="172" y="338"/>
                  </a:lnTo>
                  <a:lnTo>
                    <a:pt x="180" y="320"/>
                  </a:lnTo>
                  <a:lnTo>
                    <a:pt x="192" y="304"/>
                  </a:lnTo>
                  <a:lnTo>
                    <a:pt x="200" y="298"/>
                  </a:lnTo>
                  <a:lnTo>
                    <a:pt x="208" y="292"/>
                  </a:lnTo>
                  <a:lnTo>
                    <a:pt x="208" y="292"/>
                  </a:lnTo>
                  <a:lnTo>
                    <a:pt x="218" y="286"/>
                  </a:lnTo>
                  <a:lnTo>
                    <a:pt x="226" y="282"/>
                  </a:lnTo>
                  <a:lnTo>
                    <a:pt x="234" y="274"/>
                  </a:lnTo>
                  <a:lnTo>
                    <a:pt x="238" y="266"/>
                  </a:lnTo>
                  <a:lnTo>
                    <a:pt x="248" y="246"/>
                  </a:lnTo>
                  <a:lnTo>
                    <a:pt x="254" y="224"/>
                  </a:lnTo>
                  <a:lnTo>
                    <a:pt x="260" y="202"/>
                  </a:lnTo>
                  <a:lnTo>
                    <a:pt x="266" y="180"/>
                  </a:lnTo>
                  <a:lnTo>
                    <a:pt x="272" y="170"/>
                  </a:lnTo>
                  <a:lnTo>
                    <a:pt x="276" y="160"/>
                  </a:lnTo>
                  <a:lnTo>
                    <a:pt x="284" y="150"/>
                  </a:lnTo>
                  <a:lnTo>
                    <a:pt x="292" y="142"/>
                  </a:lnTo>
                  <a:lnTo>
                    <a:pt x="292" y="142"/>
                  </a:lnTo>
                  <a:lnTo>
                    <a:pt x="298" y="136"/>
                  </a:lnTo>
                  <a:lnTo>
                    <a:pt x="310" y="134"/>
                  </a:lnTo>
                  <a:lnTo>
                    <a:pt x="322" y="132"/>
                  </a:lnTo>
                  <a:lnTo>
                    <a:pt x="338" y="130"/>
                  </a:lnTo>
                  <a:lnTo>
                    <a:pt x="338" y="130"/>
                  </a:lnTo>
                  <a:lnTo>
                    <a:pt x="364" y="132"/>
                  </a:lnTo>
                  <a:lnTo>
                    <a:pt x="394" y="134"/>
                  </a:lnTo>
                  <a:lnTo>
                    <a:pt x="394" y="134"/>
                  </a:lnTo>
                  <a:lnTo>
                    <a:pt x="422" y="136"/>
                  </a:lnTo>
                  <a:lnTo>
                    <a:pt x="446" y="138"/>
                  </a:lnTo>
                  <a:lnTo>
                    <a:pt x="446" y="138"/>
                  </a:lnTo>
                  <a:lnTo>
                    <a:pt x="458" y="136"/>
                  </a:lnTo>
                  <a:lnTo>
                    <a:pt x="468" y="134"/>
                  </a:lnTo>
                  <a:lnTo>
                    <a:pt x="476" y="132"/>
                  </a:lnTo>
                  <a:lnTo>
                    <a:pt x="478" y="126"/>
                  </a:lnTo>
                  <a:lnTo>
                    <a:pt x="476" y="120"/>
                  </a:lnTo>
                  <a:lnTo>
                    <a:pt x="468" y="110"/>
                  </a:lnTo>
                  <a:lnTo>
                    <a:pt x="456" y="98"/>
                  </a:lnTo>
                  <a:lnTo>
                    <a:pt x="438" y="82"/>
                  </a:lnTo>
                  <a:lnTo>
                    <a:pt x="438" y="82"/>
                  </a:lnTo>
                  <a:lnTo>
                    <a:pt x="406" y="60"/>
                  </a:lnTo>
                  <a:lnTo>
                    <a:pt x="376" y="42"/>
                  </a:lnTo>
                  <a:lnTo>
                    <a:pt x="348" y="28"/>
                  </a:lnTo>
                  <a:lnTo>
                    <a:pt x="320" y="18"/>
                  </a:lnTo>
                  <a:lnTo>
                    <a:pt x="296" y="10"/>
                  </a:lnTo>
                  <a:lnTo>
                    <a:pt x="272" y="4"/>
                  </a:lnTo>
                  <a:lnTo>
                    <a:pt x="248" y="2"/>
                  </a:lnTo>
                  <a:lnTo>
                    <a:pt x="226" y="0"/>
                  </a:lnTo>
                </a:path>
              </a:pathLst>
            </a:custGeom>
            <a:noFill/>
            <a:ln>
              <a:noFill/>
            </a:ln>
            <a:extLst>
              <a:ext uri="{909E8E84-426E-40dd-AFC4-6F175D3DCCD1}">
                <a14:hiddenFill xmlns:lc="http://schemas.openxmlformats.org/drawingml/2006/lockedCanvas" xmlns="" xmlns:a14="http://schemas.microsoft.com/office/drawing/2010/main">
                  <a:solidFill>
                    <a:srgbClr val="FFFFFF"/>
                  </a:solidFill>
                </a14:hiddenFill>
              </a:ex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sp>
        <p:nvSpPr>
          <p:cNvPr id="23" name="Rectangle 22"/>
          <p:cNvSpPr/>
          <p:nvPr/>
        </p:nvSpPr>
        <p:spPr bwMode="auto">
          <a:xfrm>
            <a:off x="220480" y="1444601"/>
            <a:ext cx="6905807" cy="4604176"/>
          </a:xfrm>
          <a:prstGeom prst="rect">
            <a:avLst/>
          </a:prstGeom>
          <a:solidFill>
            <a:schemeClr val="bg1">
              <a:lumMod val="50000"/>
            </a:schemeClr>
          </a:soli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24" name="Group 23"/>
          <p:cNvGrpSpPr/>
          <p:nvPr/>
        </p:nvGrpSpPr>
        <p:grpSpPr>
          <a:xfrm>
            <a:off x="251470" y="1546448"/>
            <a:ext cx="6851363" cy="2058320"/>
            <a:chOff x="2096035" y="1976142"/>
            <a:chExt cx="7656758" cy="2058904"/>
          </a:xfrm>
        </p:grpSpPr>
        <p:grpSp>
          <p:nvGrpSpPr>
            <p:cNvPr id="513" name="Group 512"/>
            <p:cNvGrpSpPr/>
            <p:nvPr/>
          </p:nvGrpSpPr>
          <p:grpSpPr>
            <a:xfrm>
              <a:off x="3067555" y="1976142"/>
              <a:ext cx="6685238" cy="1688475"/>
              <a:chOff x="1659120" y="1103085"/>
              <a:chExt cx="7199767" cy="1688475"/>
            </a:xfrm>
          </p:grpSpPr>
          <p:sp>
            <p:nvSpPr>
              <p:cNvPr id="515" name="Rectangle 514"/>
              <p:cNvSpPr/>
              <p:nvPr/>
            </p:nvSpPr>
            <p:spPr bwMode="auto">
              <a:xfrm>
                <a:off x="1659120" y="1103085"/>
                <a:ext cx="6142003" cy="1232911"/>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16" name="Rectangle 590"/>
              <p:cNvSpPr/>
              <p:nvPr/>
            </p:nvSpPr>
            <p:spPr bwMode="auto">
              <a:xfrm>
                <a:off x="7827122" y="1103086"/>
                <a:ext cx="1031765" cy="1688474"/>
              </a:xfrm>
              <a:custGeom>
                <a:avLst/>
                <a:gdLst>
                  <a:gd name="connsiteX0" fmla="*/ 0 w 960706"/>
                  <a:gd name="connsiteY0" fmla="*/ 0 h 1232911"/>
                  <a:gd name="connsiteX1" fmla="*/ 960706 w 960706"/>
                  <a:gd name="connsiteY1" fmla="*/ 0 h 1232911"/>
                  <a:gd name="connsiteX2" fmla="*/ 960706 w 960706"/>
                  <a:gd name="connsiteY2" fmla="*/ 1232911 h 1232911"/>
                  <a:gd name="connsiteX3" fmla="*/ 0 w 960706"/>
                  <a:gd name="connsiteY3" fmla="*/ 1232911 h 1232911"/>
                  <a:gd name="connsiteX4" fmla="*/ 0 w 960706"/>
                  <a:gd name="connsiteY4" fmla="*/ 0 h 1232911"/>
                  <a:gd name="connsiteX0" fmla="*/ 0 w 970231"/>
                  <a:gd name="connsiteY0" fmla="*/ 0 h 1699636"/>
                  <a:gd name="connsiteX1" fmla="*/ 960706 w 970231"/>
                  <a:gd name="connsiteY1" fmla="*/ 0 h 1699636"/>
                  <a:gd name="connsiteX2" fmla="*/ 970231 w 970231"/>
                  <a:gd name="connsiteY2" fmla="*/ 1699636 h 1699636"/>
                  <a:gd name="connsiteX3" fmla="*/ 0 w 970231"/>
                  <a:gd name="connsiteY3" fmla="*/ 1232911 h 1699636"/>
                  <a:gd name="connsiteX4" fmla="*/ 0 w 970231"/>
                  <a:gd name="connsiteY4" fmla="*/ 0 h 1699636"/>
                  <a:gd name="connsiteX0" fmla="*/ 0 w 970231"/>
                  <a:gd name="connsiteY0" fmla="*/ 0 h 1652011"/>
                  <a:gd name="connsiteX1" fmla="*/ 960706 w 970231"/>
                  <a:gd name="connsiteY1" fmla="*/ 0 h 1652011"/>
                  <a:gd name="connsiteX2" fmla="*/ 970231 w 970231"/>
                  <a:gd name="connsiteY2" fmla="*/ 1652011 h 1652011"/>
                  <a:gd name="connsiteX3" fmla="*/ 0 w 970231"/>
                  <a:gd name="connsiteY3" fmla="*/ 1232911 h 1652011"/>
                  <a:gd name="connsiteX4" fmla="*/ 0 w 970231"/>
                  <a:gd name="connsiteY4" fmla="*/ 0 h 1652011"/>
                  <a:gd name="connsiteX0" fmla="*/ 0 w 975455"/>
                  <a:gd name="connsiteY0" fmla="*/ 0 h 1688474"/>
                  <a:gd name="connsiteX1" fmla="*/ 960706 w 975455"/>
                  <a:gd name="connsiteY1" fmla="*/ 0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0 w 975455"/>
                  <a:gd name="connsiteY3" fmla="*/ 1232911 h 1688474"/>
                  <a:gd name="connsiteX4" fmla="*/ 0 w 975455"/>
                  <a:gd name="connsiteY4" fmla="*/ 0 h 168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5" h="1688474">
                    <a:moveTo>
                      <a:pt x="0" y="0"/>
                    </a:moveTo>
                    <a:lnTo>
                      <a:pt x="968542" y="2805"/>
                    </a:lnTo>
                    <a:cubicBezTo>
                      <a:pt x="970846" y="564695"/>
                      <a:pt x="973151" y="1126584"/>
                      <a:pt x="975455" y="1688474"/>
                    </a:cubicBezTo>
                    <a:lnTo>
                      <a:pt x="0" y="1232911"/>
                    </a:lnTo>
                    <a:lnTo>
                      <a:pt x="0" y="0"/>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514" name="Rectangle 590"/>
            <p:cNvSpPr/>
            <p:nvPr/>
          </p:nvSpPr>
          <p:spPr bwMode="auto">
            <a:xfrm flipH="1">
              <a:off x="2096035" y="1976142"/>
              <a:ext cx="942333" cy="2058904"/>
            </a:xfrm>
            <a:custGeom>
              <a:avLst/>
              <a:gdLst>
                <a:gd name="connsiteX0" fmla="*/ 0 w 960706"/>
                <a:gd name="connsiteY0" fmla="*/ 0 h 1232911"/>
                <a:gd name="connsiteX1" fmla="*/ 960706 w 960706"/>
                <a:gd name="connsiteY1" fmla="*/ 0 h 1232911"/>
                <a:gd name="connsiteX2" fmla="*/ 960706 w 960706"/>
                <a:gd name="connsiteY2" fmla="*/ 1232911 h 1232911"/>
                <a:gd name="connsiteX3" fmla="*/ 0 w 960706"/>
                <a:gd name="connsiteY3" fmla="*/ 1232911 h 1232911"/>
                <a:gd name="connsiteX4" fmla="*/ 0 w 960706"/>
                <a:gd name="connsiteY4" fmla="*/ 0 h 1232911"/>
                <a:gd name="connsiteX0" fmla="*/ 0 w 970231"/>
                <a:gd name="connsiteY0" fmla="*/ 0 h 1699636"/>
                <a:gd name="connsiteX1" fmla="*/ 960706 w 970231"/>
                <a:gd name="connsiteY1" fmla="*/ 0 h 1699636"/>
                <a:gd name="connsiteX2" fmla="*/ 970231 w 970231"/>
                <a:gd name="connsiteY2" fmla="*/ 1699636 h 1699636"/>
                <a:gd name="connsiteX3" fmla="*/ 0 w 970231"/>
                <a:gd name="connsiteY3" fmla="*/ 1232911 h 1699636"/>
                <a:gd name="connsiteX4" fmla="*/ 0 w 970231"/>
                <a:gd name="connsiteY4" fmla="*/ 0 h 1699636"/>
                <a:gd name="connsiteX0" fmla="*/ 0 w 970231"/>
                <a:gd name="connsiteY0" fmla="*/ 0 h 1652011"/>
                <a:gd name="connsiteX1" fmla="*/ 960706 w 970231"/>
                <a:gd name="connsiteY1" fmla="*/ 0 h 1652011"/>
                <a:gd name="connsiteX2" fmla="*/ 970231 w 970231"/>
                <a:gd name="connsiteY2" fmla="*/ 1652011 h 1652011"/>
                <a:gd name="connsiteX3" fmla="*/ 0 w 970231"/>
                <a:gd name="connsiteY3" fmla="*/ 1232911 h 1652011"/>
                <a:gd name="connsiteX4" fmla="*/ 0 w 970231"/>
                <a:gd name="connsiteY4" fmla="*/ 0 h 1652011"/>
                <a:gd name="connsiteX0" fmla="*/ 0 w 975455"/>
                <a:gd name="connsiteY0" fmla="*/ 0 h 1688474"/>
                <a:gd name="connsiteX1" fmla="*/ 960706 w 975455"/>
                <a:gd name="connsiteY1" fmla="*/ 0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11474 w 975455"/>
                <a:gd name="connsiteY3" fmla="*/ 1087479 h 1688474"/>
                <a:gd name="connsiteX4" fmla="*/ 0 w 975455"/>
                <a:gd name="connsiteY4" fmla="*/ 0 h 168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5" h="1688474">
                  <a:moveTo>
                    <a:pt x="0" y="0"/>
                  </a:moveTo>
                  <a:lnTo>
                    <a:pt x="968542" y="2805"/>
                  </a:lnTo>
                  <a:cubicBezTo>
                    <a:pt x="970846" y="564695"/>
                    <a:pt x="973151" y="1126584"/>
                    <a:pt x="975455" y="1688474"/>
                  </a:cubicBezTo>
                  <a:lnTo>
                    <a:pt x="11474" y="1087479"/>
                  </a:lnTo>
                  <a:lnTo>
                    <a:pt x="0" y="0"/>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cxnSp>
        <p:nvCxnSpPr>
          <p:cNvPr id="25" name="Elbow Connector 24"/>
          <p:cNvCxnSpPr>
            <a:stCxn id="40" idx="1"/>
            <a:endCxn id="417" idx="1"/>
          </p:cNvCxnSpPr>
          <p:nvPr/>
        </p:nvCxnSpPr>
        <p:spPr>
          <a:xfrm rot="10800000">
            <a:off x="2504548" y="2056470"/>
            <a:ext cx="648652" cy="396479"/>
          </a:xfrm>
          <a:prstGeom prst="bentConnector3">
            <a:avLst>
              <a:gd name="adj1" fmla="val 50000"/>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6" name="Group 25"/>
          <p:cNvGrpSpPr/>
          <p:nvPr/>
        </p:nvGrpSpPr>
        <p:grpSpPr>
          <a:xfrm>
            <a:off x="7647527" y="2794044"/>
            <a:ext cx="662863" cy="1083005"/>
            <a:chOff x="9350678" y="2935671"/>
            <a:chExt cx="802290" cy="1310807"/>
          </a:xfrm>
        </p:grpSpPr>
        <p:sp>
          <p:nvSpPr>
            <p:cNvPr id="506" name="Rectangle 505"/>
            <p:cNvSpPr/>
            <p:nvPr/>
          </p:nvSpPr>
          <p:spPr bwMode="auto">
            <a:xfrm>
              <a:off x="9358876" y="3527663"/>
              <a:ext cx="794092" cy="643345"/>
            </a:xfrm>
            <a:prstGeom prst="rect">
              <a:avLst/>
            </a:prstGeom>
            <a:solidFill>
              <a:srgbClr val="0081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07" name="Oval 506"/>
            <p:cNvSpPr/>
            <p:nvPr/>
          </p:nvSpPr>
          <p:spPr bwMode="auto">
            <a:xfrm>
              <a:off x="9365786" y="3445990"/>
              <a:ext cx="785459" cy="18171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08" name="Rounded Rectangle 507"/>
            <p:cNvSpPr/>
            <p:nvPr/>
          </p:nvSpPr>
          <p:spPr bwMode="auto">
            <a:xfrm>
              <a:off x="9713918" y="3079881"/>
              <a:ext cx="79493" cy="467307"/>
            </a:xfrm>
            <a:prstGeom prst="roundRect">
              <a:avLst>
                <a:gd name="adj" fmla="val 31237"/>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09" name="Oval 766"/>
            <p:cNvSpPr/>
            <p:nvPr/>
          </p:nvSpPr>
          <p:spPr bwMode="auto">
            <a:xfrm>
              <a:off x="9355904" y="3026528"/>
              <a:ext cx="786599" cy="1219950"/>
            </a:xfrm>
            <a:custGeom>
              <a:avLst/>
              <a:gdLst/>
              <a:ahLst/>
              <a:cxnLst/>
              <a:rect l="l" t="t" r="r" b="b"/>
              <a:pathLst>
                <a:path w="908384" h="1395535">
                  <a:moveTo>
                    <a:pt x="0" y="0"/>
                  </a:moveTo>
                  <a:lnTo>
                    <a:pt x="908384" y="0"/>
                  </a:lnTo>
                  <a:lnTo>
                    <a:pt x="908384" y="1296173"/>
                  </a:lnTo>
                  <a:lnTo>
                    <a:pt x="901456" y="1296173"/>
                  </a:lnTo>
                  <a:cubicBezTo>
                    <a:pt x="891964" y="1351613"/>
                    <a:pt x="695250" y="1395535"/>
                    <a:pt x="454193" y="1395535"/>
                  </a:cubicBezTo>
                  <a:cubicBezTo>
                    <a:pt x="213136" y="1395535"/>
                    <a:pt x="16422" y="1351613"/>
                    <a:pt x="6930" y="1296173"/>
                  </a:cubicBezTo>
                  <a:lnTo>
                    <a:pt x="0" y="1296173"/>
                  </a:lnTo>
                  <a:close/>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10" name="Rectangle 509"/>
            <p:cNvSpPr/>
            <p:nvPr/>
          </p:nvSpPr>
          <p:spPr bwMode="auto">
            <a:xfrm>
              <a:off x="9713796" y="3636322"/>
              <a:ext cx="84639" cy="239805"/>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11" name="Oval 510"/>
            <p:cNvSpPr/>
            <p:nvPr/>
          </p:nvSpPr>
          <p:spPr bwMode="auto">
            <a:xfrm>
              <a:off x="9371157" y="4056260"/>
              <a:ext cx="758503" cy="181713"/>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12" name="Oval 511"/>
            <p:cNvSpPr/>
            <p:nvPr/>
          </p:nvSpPr>
          <p:spPr bwMode="auto">
            <a:xfrm>
              <a:off x="9350678" y="2935671"/>
              <a:ext cx="795544" cy="181713"/>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27" name="Rectangle 26"/>
          <p:cNvSpPr/>
          <p:nvPr/>
        </p:nvSpPr>
        <p:spPr bwMode="auto">
          <a:xfrm>
            <a:off x="6505521" y="2498028"/>
            <a:ext cx="294178" cy="513926"/>
          </a:xfrm>
          <a:prstGeom prst="rect">
            <a:avLst/>
          </a:prstGeom>
          <a:solidFill>
            <a:srgbClr val="1B3B41"/>
          </a:solidFill>
          <a:ln>
            <a:noFill/>
            <a:headEnd type="none" w="med" len="med"/>
            <a:tailEnd type="none" w="med" len="med"/>
          </a:ln>
          <a:effectLst/>
          <a:scene3d>
            <a:camera prst="isometricOffAxis1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28" name="Flowchart: Data 687"/>
          <p:cNvSpPr/>
          <p:nvPr/>
        </p:nvSpPr>
        <p:spPr bwMode="auto">
          <a:xfrm flipH="1">
            <a:off x="3130550" y="3562056"/>
            <a:ext cx="1051536" cy="17811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1725"/>
              <a:gd name="connsiteX1" fmla="*/ 2000 w 10000"/>
              <a:gd name="connsiteY1" fmla="*/ 0 h 11725"/>
              <a:gd name="connsiteX2" fmla="*/ 10000 w 10000"/>
              <a:gd name="connsiteY2" fmla="*/ 0 h 11725"/>
              <a:gd name="connsiteX3" fmla="*/ 9771 w 10000"/>
              <a:gd name="connsiteY3" fmla="*/ 11725 h 11725"/>
              <a:gd name="connsiteX4" fmla="*/ 0 w 10000"/>
              <a:gd name="connsiteY4" fmla="*/ 10000 h 11725"/>
              <a:gd name="connsiteX0" fmla="*/ 0 w 10000"/>
              <a:gd name="connsiteY0" fmla="*/ 10000 h 10000"/>
              <a:gd name="connsiteX1" fmla="*/ 2000 w 10000"/>
              <a:gd name="connsiteY1" fmla="*/ 0 h 10000"/>
              <a:gd name="connsiteX2" fmla="*/ 10000 w 10000"/>
              <a:gd name="connsiteY2" fmla="*/ 0 h 10000"/>
              <a:gd name="connsiteX3" fmla="*/ 9860 w 10000"/>
              <a:gd name="connsiteY3" fmla="*/ 10000 h 10000"/>
              <a:gd name="connsiteX4" fmla="*/ 0 w 10000"/>
              <a:gd name="connsiteY4" fmla="*/ 10000 h 10000"/>
              <a:gd name="connsiteX0" fmla="*/ 0 w 10000"/>
              <a:gd name="connsiteY0" fmla="*/ 10000 h 10000"/>
              <a:gd name="connsiteX1" fmla="*/ 672 w 10000"/>
              <a:gd name="connsiteY1" fmla="*/ 0 h 10000"/>
              <a:gd name="connsiteX2" fmla="*/ 10000 w 10000"/>
              <a:gd name="connsiteY2" fmla="*/ 0 h 10000"/>
              <a:gd name="connsiteX3" fmla="*/ 9860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672" y="0"/>
                </a:lnTo>
                <a:lnTo>
                  <a:pt x="10000" y="0"/>
                </a:lnTo>
                <a:cubicBezTo>
                  <a:pt x="9924" y="3908"/>
                  <a:pt x="9936" y="6092"/>
                  <a:pt x="9860" y="10000"/>
                </a:cubicBezTo>
                <a:lnTo>
                  <a:pt x="0" y="10000"/>
                </a:lnTo>
                <a:close/>
              </a:path>
            </a:pathLst>
          </a:cu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29" name="Rectangle 28"/>
          <p:cNvSpPr/>
          <p:nvPr/>
        </p:nvSpPr>
        <p:spPr bwMode="auto">
          <a:xfrm>
            <a:off x="1184942" y="2692680"/>
            <a:ext cx="75612" cy="758798"/>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0" name="Flowchart: Data 775"/>
          <p:cNvSpPr/>
          <p:nvPr/>
        </p:nvSpPr>
        <p:spPr bwMode="auto">
          <a:xfrm flipH="1">
            <a:off x="4214325" y="5215306"/>
            <a:ext cx="1952752" cy="62046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254"/>
              <a:gd name="connsiteX1" fmla="*/ 2000 w 10000"/>
              <a:gd name="connsiteY1" fmla="*/ 0 h 10254"/>
              <a:gd name="connsiteX2" fmla="*/ 10000 w 10000"/>
              <a:gd name="connsiteY2" fmla="*/ 0 h 10254"/>
              <a:gd name="connsiteX3" fmla="*/ 9274 w 10000"/>
              <a:gd name="connsiteY3" fmla="*/ 10254 h 10254"/>
              <a:gd name="connsiteX4" fmla="*/ 0 w 10000"/>
              <a:gd name="connsiteY4" fmla="*/ 10000 h 10254"/>
              <a:gd name="connsiteX0" fmla="*/ 0 w 10033"/>
              <a:gd name="connsiteY0" fmla="*/ 10127 h 10254"/>
              <a:gd name="connsiteX1" fmla="*/ 2033 w 10033"/>
              <a:gd name="connsiteY1" fmla="*/ 0 h 10254"/>
              <a:gd name="connsiteX2" fmla="*/ 10033 w 10033"/>
              <a:gd name="connsiteY2" fmla="*/ 0 h 10254"/>
              <a:gd name="connsiteX3" fmla="*/ 9307 w 10033"/>
              <a:gd name="connsiteY3" fmla="*/ 10254 h 10254"/>
              <a:gd name="connsiteX4" fmla="*/ 0 w 10033"/>
              <a:gd name="connsiteY4" fmla="*/ 10127 h 10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 h="10254">
                <a:moveTo>
                  <a:pt x="0" y="10127"/>
                </a:moveTo>
                <a:lnTo>
                  <a:pt x="2033" y="0"/>
                </a:lnTo>
                <a:lnTo>
                  <a:pt x="10033" y="0"/>
                </a:lnTo>
                <a:lnTo>
                  <a:pt x="9307" y="10254"/>
                </a:lnTo>
                <a:lnTo>
                  <a:pt x="0" y="10127"/>
                </a:lnTo>
                <a:close/>
              </a:path>
            </a:pathLst>
          </a:cu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31" name="Group 30"/>
          <p:cNvGrpSpPr/>
          <p:nvPr/>
        </p:nvGrpSpPr>
        <p:grpSpPr>
          <a:xfrm>
            <a:off x="238797" y="1828732"/>
            <a:ext cx="432300" cy="558410"/>
            <a:chOff x="6178987" y="1083053"/>
            <a:chExt cx="2106470" cy="2151434"/>
          </a:xfrm>
          <a:solidFill>
            <a:schemeClr val="bg1">
              <a:alpha val="20000"/>
            </a:schemeClr>
          </a:solidFill>
          <a:scene3d>
            <a:camera prst="isometricOffAxis2Right"/>
            <a:lightRig rig="threePt" dir="t"/>
          </a:scene3d>
        </p:grpSpPr>
        <p:sp>
          <p:nvSpPr>
            <p:cNvPr id="502" name="Rectangle 501"/>
            <p:cNvSpPr/>
            <p:nvPr/>
          </p:nvSpPr>
          <p:spPr bwMode="auto">
            <a:xfrm>
              <a:off x="6178987"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03" name="Rectangle 502"/>
            <p:cNvSpPr/>
            <p:nvPr/>
          </p:nvSpPr>
          <p:spPr bwMode="auto">
            <a:xfrm>
              <a:off x="7297638"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04" name="Rectangle 503"/>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05" name="Rectangle 504"/>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32" name="Rectangle 31"/>
          <p:cNvSpPr/>
          <p:nvPr/>
        </p:nvSpPr>
        <p:spPr bwMode="auto">
          <a:xfrm>
            <a:off x="834702" y="3281504"/>
            <a:ext cx="3487470" cy="200124"/>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33" name="Rounded Rectangle 32"/>
          <p:cNvSpPr/>
          <p:nvPr/>
        </p:nvSpPr>
        <p:spPr bwMode="auto">
          <a:xfrm>
            <a:off x="757024" y="3224696"/>
            <a:ext cx="3565148" cy="86346"/>
          </a:xfrm>
          <a:prstGeom prst="roundRect">
            <a:avLst>
              <a:gd name="adj" fmla="val 50000"/>
            </a:avLst>
          </a:prstGeom>
          <a:solidFill>
            <a:srgbClr val="0048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34" name="Oval 5"/>
          <p:cNvSpPr/>
          <p:nvPr/>
        </p:nvSpPr>
        <p:spPr bwMode="auto">
          <a:xfrm>
            <a:off x="3130245" y="4013164"/>
            <a:ext cx="311728" cy="277612"/>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5" name="Oval 5"/>
          <p:cNvSpPr/>
          <p:nvPr/>
        </p:nvSpPr>
        <p:spPr bwMode="auto">
          <a:xfrm>
            <a:off x="5051813" y="2674609"/>
            <a:ext cx="193169" cy="172028"/>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6" name="Rectangle 35"/>
          <p:cNvSpPr/>
          <p:nvPr/>
        </p:nvSpPr>
        <p:spPr>
          <a:xfrm>
            <a:off x="1219249" y="1056816"/>
            <a:ext cx="2318381" cy="30777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entury Gothic" panose="020F0302020204030204"/>
                <a:ea typeface="+mn-ea"/>
                <a:cs typeface="+mn-cs"/>
              </a:rPr>
              <a:t>MANUFACTURING PLANT</a:t>
            </a:r>
          </a:p>
        </p:txBody>
      </p:sp>
      <p:sp>
        <p:nvSpPr>
          <p:cNvPr id="37" name="Trapezoid 36"/>
          <p:cNvSpPr/>
          <p:nvPr/>
        </p:nvSpPr>
        <p:spPr bwMode="auto">
          <a:xfrm>
            <a:off x="784694" y="3089731"/>
            <a:ext cx="3800480" cy="131249"/>
          </a:xfrm>
          <a:prstGeom prst="trapezoid">
            <a:avLst>
              <a:gd name="adj" fmla="val 165124"/>
            </a:avLst>
          </a:pr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38" name="Oval 5"/>
          <p:cNvSpPr/>
          <p:nvPr/>
        </p:nvSpPr>
        <p:spPr bwMode="auto">
          <a:xfrm>
            <a:off x="3530586" y="4010471"/>
            <a:ext cx="288889" cy="283000"/>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nvGrpSpPr>
          <p:cNvPr id="39" name="Group 38"/>
          <p:cNvGrpSpPr/>
          <p:nvPr/>
        </p:nvGrpSpPr>
        <p:grpSpPr>
          <a:xfrm>
            <a:off x="771303" y="3231750"/>
            <a:ext cx="3442068" cy="67554"/>
            <a:chOff x="2542423" y="3659019"/>
            <a:chExt cx="3443046" cy="67574"/>
          </a:xfrm>
        </p:grpSpPr>
        <p:sp>
          <p:nvSpPr>
            <p:cNvPr id="471" name="Oval 470"/>
            <p:cNvSpPr/>
            <p:nvPr/>
          </p:nvSpPr>
          <p:spPr bwMode="auto">
            <a:xfrm>
              <a:off x="254242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72" name="Oval 471"/>
            <p:cNvSpPr/>
            <p:nvPr/>
          </p:nvSpPr>
          <p:spPr bwMode="auto">
            <a:xfrm>
              <a:off x="276773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73" name="Oval 472"/>
            <p:cNvSpPr/>
            <p:nvPr/>
          </p:nvSpPr>
          <p:spPr bwMode="auto">
            <a:xfrm>
              <a:off x="299303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74" name="Oval 473"/>
            <p:cNvSpPr/>
            <p:nvPr/>
          </p:nvSpPr>
          <p:spPr bwMode="auto">
            <a:xfrm>
              <a:off x="321834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75" name="Oval 474"/>
            <p:cNvSpPr/>
            <p:nvPr/>
          </p:nvSpPr>
          <p:spPr bwMode="auto">
            <a:xfrm>
              <a:off x="344365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76" name="Oval 475"/>
            <p:cNvSpPr/>
            <p:nvPr/>
          </p:nvSpPr>
          <p:spPr bwMode="auto">
            <a:xfrm>
              <a:off x="366896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77" name="Oval 476"/>
            <p:cNvSpPr/>
            <p:nvPr/>
          </p:nvSpPr>
          <p:spPr bwMode="auto">
            <a:xfrm>
              <a:off x="389427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78" name="Oval 477"/>
            <p:cNvSpPr/>
            <p:nvPr/>
          </p:nvSpPr>
          <p:spPr bwMode="auto">
            <a:xfrm>
              <a:off x="411957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79" name="Oval 478"/>
            <p:cNvSpPr/>
            <p:nvPr/>
          </p:nvSpPr>
          <p:spPr bwMode="auto">
            <a:xfrm>
              <a:off x="434488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80" name="Oval 479"/>
            <p:cNvSpPr/>
            <p:nvPr/>
          </p:nvSpPr>
          <p:spPr bwMode="auto">
            <a:xfrm>
              <a:off x="457019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81" name="Oval 480"/>
            <p:cNvSpPr/>
            <p:nvPr/>
          </p:nvSpPr>
          <p:spPr bwMode="auto">
            <a:xfrm>
              <a:off x="479550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82" name="Oval 481"/>
            <p:cNvSpPr/>
            <p:nvPr/>
          </p:nvSpPr>
          <p:spPr bwMode="auto">
            <a:xfrm>
              <a:off x="502081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83" name="Oval 482"/>
            <p:cNvSpPr/>
            <p:nvPr/>
          </p:nvSpPr>
          <p:spPr bwMode="auto">
            <a:xfrm>
              <a:off x="524611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84" name="Oval 483"/>
            <p:cNvSpPr/>
            <p:nvPr/>
          </p:nvSpPr>
          <p:spPr bwMode="auto">
            <a:xfrm>
              <a:off x="547142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85" name="Oval 484"/>
            <p:cNvSpPr/>
            <p:nvPr/>
          </p:nvSpPr>
          <p:spPr bwMode="auto">
            <a:xfrm>
              <a:off x="569673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86" name="Oval 485"/>
            <p:cNvSpPr/>
            <p:nvPr/>
          </p:nvSpPr>
          <p:spPr bwMode="auto">
            <a:xfrm>
              <a:off x="5922052"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87" name="Oval 486"/>
            <p:cNvSpPr/>
            <p:nvPr/>
          </p:nvSpPr>
          <p:spPr bwMode="auto">
            <a:xfrm>
              <a:off x="265507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88" name="Oval 487"/>
            <p:cNvSpPr/>
            <p:nvPr/>
          </p:nvSpPr>
          <p:spPr bwMode="auto">
            <a:xfrm>
              <a:off x="288038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89" name="Oval 488"/>
            <p:cNvSpPr/>
            <p:nvPr/>
          </p:nvSpPr>
          <p:spPr bwMode="auto">
            <a:xfrm>
              <a:off x="310569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90" name="Oval 489"/>
            <p:cNvSpPr/>
            <p:nvPr/>
          </p:nvSpPr>
          <p:spPr bwMode="auto">
            <a:xfrm>
              <a:off x="333100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91" name="Oval 490"/>
            <p:cNvSpPr/>
            <p:nvPr/>
          </p:nvSpPr>
          <p:spPr bwMode="auto">
            <a:xfrm>
              <a:off x="355630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92" name="Oval 491"/>
            <p:cNvSpPr/>
            <p:nvPr/>
          </p:nvSpPr>
          <p:spPr bwMode="auto">
            <a:xfrm>
              <a:off x="378161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93" name="Oval 492"/>
            <p:cNvSpPr/>
            <p:nvPr/>
          </p:nvSpPr>
          <p:spPr bwMode="auto">
            <a:xfrm>
              <a:off x="400692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94" name="Oval 493"/>
            <p:cNvSpPr/>
            <p:nvPr/>
          </p:nvSpPr>
          <p:spPr bwMode="auto">
            <a:xfrm>
              <a:off x="423223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95" name="Oval 494"/>
            <p:cNvSpPr/>
            <p:nvPr/>
          </p:nvSpPr>
          <p:spPr bwMode="auto">
            <a:xfrm>
              <a:off x="445754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96" name="Oval 495"/>
            <p:cNvSpPr/>
            <p:nvPr/>
          </p:nvSpPr>
          <p:spPr bwMode="auto">
            <a:xfrm>
              <a:off x="468284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97" name="Oval 496"/>
            <p:cNvSpPr/>
            <p:nvPr/>
          </p:nvSpPr>
          <p:spPr bwMode="auto">
            <a:xfrm>
              <a:off x="490815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98" name="Oval 497"/>
            <p:cNvSpPr/>
            <p:nvPr/>
          </p:nvSpPr>
          <p:spPr bwMode="auto">
            <a:xfrm>
              <a:off x="513346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99" name="Oval 498"/>
            <p:cNvSpPr/>
            <p:nvPr/>
          </p:nvSpPr>
          <p:spPr bwMode="auto">
            <a:xfrm>
              <a:off x="535877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00" name="Oval 499"/>
            <p:cNvSpPr/>
            <p:nvPr/>
          </p:nvSpPr>
          <p:spPr bwMode="auto">
            <a:xfrm>
              <a:off x="558408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501" name="Oval 500"/>
            <p:cNvSpPr/>
            <p:nvPr/>
          </p:nvSpPr>
          <p:spPr bwMode="auto">
            <a:xfrm>
              <a:off x="580938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40" name="Rectangle 39"/>
          <p:cNvSpPr/>
          <p:nvPr/>
        </p:nvSpPr>
        <p:spPr bwMode="auto">
          <a:xfrm>
            <a:off x="3153200" y="2252181"/>
            <a:ext cx="349237" cy="401534"/>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41" name="Group 40"/>
          <p:cNvGrpSpPr/>
          <p:nvPr/>
        </p:nvGrpSpPr>
        <p:grpSpPr>
          <a:xfrm>
            <a:off x="3488334" y="3141794"/>
            <a:ext cx="272840" cy="516008"/>
            <a:chOff x="2431514" y="2279062"/>
            <a:chExt cx="531840" cy="1005842"/>
          </a:xfrm>
        </p:grpSpPr>
        <p:sp>
          <p:nvSpPr>
            <p:cNvPr id="469" name="Rectangle 468"/>
            <p:cNvSpPr/>
            <p:nvPr/>
          </p:nvSpPr>
          <p:spPr bwMode="auto">
            <a:xfrm>
              <a:off x="2514941" y="2335996"/>
              <a:ext cx="361323" cy="422149"/>
            </a:xfrm>
            <a:prstGeom prst="rect">
              <a:avLst/>
            </a:prstGeom>
            <a:solidFill>
              <a:srgbClr val="29411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70" name="Rounded Rectangle 4"/>
            <p:cNvSpPr>
              <a:spLocks noChangeAspect="1"/>
            </p:cNvSpPr>
            <p:nvPr/>
          </p:nvSpPr>
          <p:spPr bwMode="auto">
            <a:xfrm>
              <a:off x="2431514" y="2279062"/>
              <a:ext cx="531840" cy="1005842"/>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rgbClr val="78AA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42" name="Group 41"/>
          <p:cNvGrpSpPr/>
          <p:nvPr/>
        </p:nvGrpSpPr>
        <p:grpSpPr>
          <a:xfrm>
            <a:off x="3582645" y="3210560"/>
            <a:ext cx="88237" cy="88215"/>
            <a:chOff x="10188397" y="2479330"/>
            <a:chExt cx="302040" cy="301962"/>
          </a:xfrm>
          <a:solidFill>
            <a:srgbClr val="8DC548"/>
          </a:solidFill>
        </p:grpSpPr>
        <p:sp>
          <p:nvSpPr>
            <p:cNvPr id="466" name="Freeform 465"/>
            <p:cNvSpPr>
              <a:spLocks noEditPoints="1"/>
            </p:cNvSpPr>
            <p:nvPr/>
          </p:nvSpPr>
          <p:spPr bwMode="black">
            <a:xfrm>
              <a:off x="10188397" y="2479330"/>
              <a:ext cx="302040" cy="301962"/>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281" tIns="41141" rIns="82281" bIns="4114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467" name="Freeform 466"/>
            <p:cNvSpPr>
              <a:spLocks/>
            </p:cNvSpPr>
            <p:nvPr/>
          </p:nvSpPr>
          <p:spPr bwMode="black">
            <a:xfrm>
              <a:off x="10327738" y="2561646"/>
              <a:ext cx="33648" cy="94586"/>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281" tIns="41141" rIns="82281" bIns="4114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468" name="Rectangle 467"/>
            <p:cNvSpPr>
              <a:spLocks noChangeArrowheads="1"/>
            </p:cNvSpPr>
            <p:nvPr/>
          </p:nvSpPr>
          <p:spPr bwMode="black">
            <a:xfrm>
              <a:off x="10325759" y="2666521"/>
              <a:ext cx="37607" cy="36409"/>
            </a:xfrm>
            <a:prstGeom prst="rect">
              <a:avLst/>
            </a:prstGeom>
            <a:grpFill/>
            <a:ln>
              <a:noFill/>
            </a:ln>
          </p:spPr>
          <p:txBody>
            <a:bodyPr vert="horz" wrap="square" lIns="82281" tIns="41141" rIns="82281" bIns="4114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cxnSp>
        <p:nvCxnSpPr>
          <p:cNvPr id="43" name="Elbow Connector 42"/>
          <p:cNvCxnSpPr>
            <a:endCxn id="40" idx="3"/>
          </p:cNvCxnSpPr>
          <p:nvPr/>
        </p:nvCxnSpPr>
        <p:spPr>
          <a:xfrm rot="16200000" flipV="1">
            <a:off x="3220929" y="2734459"/>
            <a:ext cx="688847" cy="125829"/>
          </a:xfrm>
          <a:prstGeom prst="bentConnector2">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4" name="Group 43"/>
          <p:cNvGrpSpPr/>
          <p:nvPr/>
        </p:nvGrpSpPr>
        <p:grpSpPr>
          <a:xfrm>
            <a:off x="3189483" y="2303841"/>
            <a:ext cx="267401" cy="346560"/>
            <a:chOff x="3552856" y="1167295"/>
            <a:chExt cx="521240" cy="675539"/>
          </a:xfrm>
        </p:grpSpPr>
        <p:sp>
          <p:nvSpPr>
            <p:cNvPr id="455" name="Rectangle 454"/>
            <p:cNvSpPr/>
            <p:nvPr/>
          </p:nvSpPr>
          <p:spPr bwMode="auto">
            <a:xfrm>
              <a:off x="3682167" y="1256658"/>
              <a:ext cx="281359" cy="293535"/>
            </a:xfrm>
            <a:prstGeom prst="rect">
              <a:avLst/>
            </a:prstGeom>
            <a:solidFill>
              <a:srgbClr val="29411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456" name="Group 455"/>
            <p:cNvGrpSpPr/>
            <p:nvPr/>
          </p:nvGrpSpPr>
          <p:grpSpPr>
            <a:xfrm>
              <a:off x="3552856" y="1167295"/>
              <a:ext cx="521240" cy="675539"/>
              <a:chOff x="3581886" y="1135362"/>
              <a:chExt cx="521240" cy="675539"/>
            </a:xfrm>
          </p:grpSpPr>
          <p:sp>
            <p:nvSpPr>
              <p:cNvPr id="457" name="Rectangle 59"/>
              <p:cNvSpPr/>
              <p:nvPr/>
            </p:nvSpPr>
            <p:spPr bwMode="auto">
              <a:xfrm>
                <a:off x="3581886" y="1135362"/>
                <a:ext cx="521240" cy="675539"/>
              </a:xfrm>
              <a:custGeom>
                <a:avLst/>
                <a:gdLst/>
                <a:ahLst/>
                <a:cxnLst/>
                <a:rect l="l" t="t" r="r" b="b"/>
                <a:pathLst>
                  <a:path w="1330900" h="1724876">
                    <a:moveTo>
                      <a:pt x="0" y="1370500"/>
                    </a:moveTo>
                    <a:lnTo>
                      <a:pt x="749813" y="1457869"/>
                    </a:lnTo>
                    <a:cubicBezTo>
                      <a:pt x="750362" y="1484968"/>
                      <a:pt x="751746" y="1531228"/>
                      <a:pt x="752295" y="1558327"/>
                    </a:cubicBezTo>
                    <a:lnTo>
                      <a:pt x="10134" y="1453480"/>
                    </a:lnTo>
                    <a:close/>
                    <a:moveTo>
                      <a:pt x="974149" y="1337212"/>
                    </a:moveTo>
                    <a:cubicBezTo>
                      <a:pt x="974302" y="1371103"/>
                      <a:pt x="974455" y="1404993"/>
                      <a:pt x="974608" y="1438884"/>
                    </a:cubicBezTo>
                    <a:lnTo>
                      <a:pt x="761535" y="1554426"/>
                    </a:lnTo>
                    <a:cubicBezTo>
                      <a:pt x="762084" y="1527327"/>
                      <a:pt x="759538" y="1484949"/>
                      <a:pt x="760087" y="1457849"/>
                    </a:cubicBezTo>
                    <a:close/>
                    <a:moveTo>
                      <a:pt x="232082" y="1272747"/>
                    </a:moveTo>
                    <a:lnTo>
                      <a:pt x="965544" y="1334571"/>
                    </a:lnTo>
                    <a:lnTo>
                      <a:pt x="755406" y="1451661"/>
                    </a:lnTo>
                    <a:lnTo>
                      <a:pt x="7410" y="1362490"/>
                    </a:lnTo>
                    <a:close/>
                    <a:moveTo>
                      <a:pt x="1051563" y="289402"/>
                    </a:moveTo>
                    <a:lnTo>
                      <a:pt x="438156" y="341569"/>
                    </a:lnTo>
                    <a:lnTo>
                      <a:pt x="354664" y="900264"/>
                    </a:lnTo>
                    <a:lnTo>
                      <a:pt x="968072" y="888484"/>
                    </a:lnTo>
                    <a:close/>
                    <a:moveTo>
                      <a:pt x="1249536" y="71477"/>
                    </a:moveTo>
                    <a:lnTo>
                      <a:pt x="1330900" y="134646"/>
                    </a:lnTo>
                    <a:lnTo>
                      <a:pt x="1161901" y="1724876"/>
                    </a:lnTo>
                    <a:lnTo>
                      <a:pt x="1025375" y="1724876"/>
                    </a:lnTo>
                    <a:cubicBezTo>
                      <a:pt x="1076551" y="1182290"/>
                      <a:pt x="1156816" y="636961"/>
                      <a:pt x="1249536" y="71477"/>
                    </a:cubicBezTo>
                    <a:close/>
                    <a:moveTo>
                      <a:pt x="1270517" y="0"/>
                    </a:moveTo>
                    <a:cubicBezTo>
                      <a:pt x="1237712" y="66785"/>
                      <a:pt x="1239219" y="63859"/>
                      <a:pt x="1236639" y="79612"/>
                    </a:cubicBezTo>
                    <a:cubicBezTo>
                      <a:pt x="1177780" y="376370"/>
                      <a:pt x="1074422" y="1035863"/>
                      <a:pt x="1006324" y="1724876"/>
                    </a:cubicBezTo>
                    <a:lnTo>
                      <a:pt x="129779" y="1724876"/>
                    </a:lnTo>
                    <a:cubicBezTo>
                      <a:pt x="134810" y="1642838"/>
                      <a:pt x="143489" y="1561634"/>
                      <a:pt x="152869" y="1480487"/>
                    </a:cubicBezTo>
                    <a:lnTo>
                      <a:pt x="759172" y="1563461"/>
                    </a:lnTo>
                    <a:lnTo>
                      <a:pt x="987167" y="1434545"/>
                    </a:lnTo>
                    <a:lnTo>
                      <a:pt x="990648" y="1326256"/>
                    </a:lnTo>
                    <a:lnTo>
                      <a:pt x="224862" y="1260939"/>
                    </a:lnTo>
                    <a:lnTo>
                      <a:pt x="176915" y="1281656"/>
                    </a:lnTo>
                    <a:cubicBezTo>
                      <a:pt x="220006" y="938614"/>
                      <a:pt x="274383" y="589238"/>
                      <a:pt x="332527" y="195284"/>
                    </a:cubicBezTo>
                    <a:cubicBezTo>
                      <a:pt x="346547" y="136030"/>
                      <a:pt x="348191" y="116502"/>
                      <a:pt x="427187" y="101557"/>
                    </a:cubicBez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nvGrpSpPr>
              <p:cNvPr id="458" name="Group 457"/>
              <p:cNvGrpSpPr/>
              <p:nvPr/>
            </p:nvGrpSpPr>
            <p:grpSpPr>
              <a:xfrm rot="338051">
                <a:off x="3758116" y="1306284"/>
                <a:ext cx="96802" cy="160371"/>
                <a:chOff x="3779688" y="1268549"/>
                <a:chExt cx="172086" cy="189399"/>
              </a:xfrm>
              <a:solidFill>
                <a:srgbClr val="8DC548"/>
              </a:solidFill>
              <a:scene3d>
                <a:camera prst="orthographicFront">
                  <a:rot lat="102490" lon="19204199" rev="281991"/>
                </a:camera>
                <a:lightRig rig="threePt" dir="t"/>
              </a:scene3d>
            </p:grpSpPr>
            <p:sp>
              <p:nvSpPr>
                <p:cNvPr id="463" name="Rectangle 462"/>
                <p:cNvSpPr/>
                <p:nvPr/>
              </p:nvSpPr>
              <p:spPr bwMode="auto">
                <a:xfrm>
                  <a:off x="3779688" y="1330110"/>
                  <a:ext cx="45719" cy="1278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64" name="Rectangle 463"/>
                <p:cNvSpPr/>
                <p:nvPr/>
              </p:nvSpPr>
              <p:spPr bwMode="auto">
                <a:xfrm>
                  <a:off x="3842872" y="1268549"/>
                  <a:ext cx="45719" cy="189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65" name="Rectangle 464"/>
                <p:cNvSpPr/>
                <p:nvPr/>
              </p:nvSpPr>
              <p:spPr bwMode="auto">
                <a:xfrm>
                  <a:off x="3906055" y="1335241"/>
                  <a:ext cx="45719" cy="1227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nvGrpSpPr>
              <p:cNvPr id="459" name="Group 458"/>
              <p:cNvGrpSpPr/>
              <p:nvPr/>
            </p:nvGrpSpPr>
            <p:grpSpPr>
              <a:xfrm rot="338051">
                <a:off x="3847932" y="1385483"/>
                <a:ext cx="96802" cy="80186"/>
                <a:chOff x="3779688" y="1268549"/>
                <a:chExt cx="172086" cy="189399"/>
              </a:xfrm>
              <a:solidFill>
                <a:srgbClr val="8DC548"/>
              </a:solidFill>
              <a:scene3d>
                <a:camera prst="orthographicFront">
                  <a:rot lat="102490" lon="19204199" rev="281991"/>
                </a:camera>
                <a:lightRig rig="threePt" dir="t"/>
              </a:scene3d>
            </p:grpSpPr>
            <p:sp>
              <p:nvSpPr>
                <p:cNvPr id="460" name="Rectangle 459"/>
                <p:cNvSpPr/>
                <p:nvPr/>
              </p:nvSpPr>
              <p:spPr bwMode="auto">
                <a:xfrm>
                  <a:off x="3779688" y="1330110"/>
                  <a:ext cx="45719" cy="1278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61" name="Rectangle 460"/>
                <p:cNvSpPr/>
                <p:nvPr/>
              </p:nvSpPr>
              <p:spPr bwMode="auto">
                <a:xfrm>
                  <a:off x="3842872" y="1268549"/>
                  <a:ext cx="45719" cy="189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62" name="Rectangle 461"/>
                <p:cNvSpPr/>
                <p:nvPr/>
              </p:nvSpPr>
              <p:spPr bwMode="auto">
                <a:xfrm>
                  <a:off x="3906055" y="1335241"/>
                  <a:ext cx="45719" cy="1227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grpSp>
      <p:sp>
        <p:nvSpPr>
          <p:cNvPr id="45" name="Rectangle 44"/>
          <p:cNvSpPr/>
          <p:nvPr/>
        </p:nvSpPr>
        <p:spPr bwMode="auto">
          <a:xfrm rot="5400000">
            <a:off x="5226468" y="5104870"/>
            <a:ext cx="335758" cy="787415"/>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6" name="Parallelogram 24"/>
          <p:cNvSpPr/>
          <p:nvPr/>
        </p:nvSpPr>
        <p:spPr bwMode="auto">
          <a:xfrm flipH="1">
            <a:off x="4144619" y="3403943"/>
            <a:ext cx="1608311" cy="2262516"/>
          </a:xfrm>
          <a:custGeom>
            <a:avLst/>
            <a:gdLst>
              <a:gd name="connsiteX0" fmla="*/ 0 w 2348094"/>
              <a:gd name="connsiteY0" fmla="*/ 2085822 h 2085822"/>
              <a:gd name="connsiteX1" fmla="*/ 1846641 w 2348094"/>
              <a:gd name="connsiteY1" fmla="*/ 0 h 2085822"/>
              <a:gd name="connsiteX2" fmla="*/ 2348094 w 2348094"/>
              <a:gd name="connsiteY2" fmla="*/ 0 h 2085822"/>
              <a:gd name="connsiteX3" fmla="*/ 501453 w 2348094"/>
              <a:gd name="connsiteY3" fmla="*/ 2085822 h 2085822"/>
              <a:gd name="connsiteX4" fmla="*/ 0 w 2348094"/>
              <a:gd name="connsiteY4" fmla="*/ 2085822 h 2085822"/>
              <a:gd name="connsiteX0" fmla="*/ 0 w 2348094"/>
              <a:gd name="connsiteY0" fmla="*/ 2085822 h 2103752"/>
              <a:gd name="connsiteX1" fmla="*/ 1846641 w 2348094"/>
              <a:gd name="connsiteY1" fmla="*/ 0 h 2103752"/>
              <a:gd name="connsiteX2" fmla="*/ 2348094 w 2348094"/>
              <a:gd name="connsiteY2" fmla="*/ 0 h 2103752"/>
              <a:gd name="connsiteX3" fmla="*/ 1218629 w 2348094"/>
              <a:gd name="connsiteY3" fmla="*/ 2103752 h 2103752"/>
              <a:gd name="connsiteX4" fmla="*/ 0 w 2348094"/>
              <a:gd name="connsiteY4" fmla="*/ 2085822 h 2103752"/>
              <a:gd name="connsiteX0" fmla="*/ 0 w 2202919"/>
              <a:gd name="connsiteY0" fmla="*/ 2094896 h 2103752"/>
              <a:gd name="connsiteX1" fmla="*/ 1701466 w 2202919"/>
              <a:gd name="connsiteY1" fmla="*/ 0 h 2103752"/>
              <a:gd name="connsiteX2" fmla="*/ 2202919 w 2202919"/>
              <a:gd name="connsiteY2" fmla="*/ 0 h 2103752"/>
              <a:gd name="connsiteX3" fmla="*/ 1073454 w 2202919"/>
              <a:gd name="connsiteY3" fmla="*/ 2103752 h 2103752"/>
              <a:gd name="connsiteX4" fmla="*/ 0 w 2202919"/>
              <a:gd name="connsiteY4" fmla="*/ 2094896 h 2103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2919" h="2103752">
                <a:moveTo>
                  <a:pt x="0" y="2094896"/>
                </a:moveTo>
                <a:lnTo>
                  <a:pt x="1701466" y="0"/>
                </a:lnTo>
                <a:lnTo>
                  <a:pt x="2202919" y="0"/>
                </a:lnTo>
                <a:lnTo>
                  <a:pt x="1073454" y="2103752"/>
                </a:lnTo>
                <a:lnTo>
                  <a:pt x="0" y="2094896"/>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7" name="Parallelogram 24"/>
          <p:cNvSpPr/>
          <p:nvPr/>
        </p:nvSpPr>
        <p:spPr bwMode="auto">
          <a:xfrm flipH="1">
            <a:off x="4209017" y="3090174"/>
            <a:ext cx="1583249" cy="2247180"/>
          </a:xfrm>
          <a:custGeom>
            <a:avLst/>
            <a:gdLst>
              <a:gd name="connsiteX0" fmla="*/ 0 w 2348094"/>
              <a:gd name="connsiteY0" fmla="*/ 2085822 h 2085822"/>
              <a:gd name="connsiteX1" fmla="*/ 1846641 w 2348094"/>
              <a:gd name="connsiteY1" fmla="*/ 0 h 2085822"/>
              <a:gd name="connsiteX2" fmla="*/ 2348094 w 2348094"/>
              <a:gd name="connsiteY2" fmla="*/ 0 h 2085822"/>
              <a:gd name="connsiteX3" fmla="*/ 501453 w 2348094"/>
              <a:gd name="connsiteY3" fmla="*/ 2085822 h 2085822"/>
              <a:gd name="connsiteX4" fmla="*/ 0 w 2348094"/>
              <a:gd name="connsiteY4" fmla="*/ 2085822 h 2085822"/>
              <a:gd name="connsiteX0" fmla="*/ 0 w 2348094"/>
              <a:gd name="connsiteY0" fmla="*/ 2085822 h 2103752"/>
              <a:gd name="connsiteX1" fmla="*/ 1846641 w 2348094"/>
              <a:gd name="connsiteY1" fmla="*/ 0 h 2103752"/>
              <a:gd name="connsiteX2" fmla="*/ 2348094 w 2348094"/>
              <a:gd name="connsiteY2" fmla="*/ 0 h 2103752"/>
              <a:gd name="connsiteX3" fmla="*/ 1218629 w 2348094"/>
              <a:gd name="connsiteY3" fmla="*/ 2103752 h 2103752"/>
              <a:gd name="connsiteX4" fmla="*/ 0 w 2348094"/>
              <a:gd name="connsiteY4" fmla="*/ 2085822 h 2103752"/>
              <a:gd name="connsiteX0" fmla="*/ 0 w 2348094"/>
              <a:gd name="connsiteY0" fmla="*/ 2085822 h 2103752"/>
              <a:gd name="connsiteX1" fmla="*/ 1846641 w 2348094"/>
              <a:gd name="connsiteY1" fmla="*/ 0 h 2103752"/>
              <a:gd name="connsiteX2" fmla="*/ 2348094 w 2348094"/>
              <a:gd name="connsiteY2" fmla="*/ 0 h 2103752"/>
              <a:gd name="connsiteX3" fmla="*/ 1136967 w 2348094"/>
              <a:gd name="connsiteY3" fmla="*/ 2103752 h 2103752"/>
              <a:gd name="connsiteX4" fmla="*/ 0 w 2348094"/>
              <a:gd name="connsiteY4" fmla="*/ 2085822 h 2103752"/>
              <a:gd name="connsiteX0" fmla="*/ 0 w 2356361"/>
              <a:gd name="connsiteY0" fmla="*/ 2104709 h 2104709"/>
              <a:gd name="connsiteX1" fmla="*/ 1854908 w 2356361"/>
              <a:gd name="connsiteY1" fmla="*/ 0 h 2104709"/>
              <a:gd name="connsiteX2" fmla="*/ 2356361 w 2356361"/>
              <a:gd name="connsiteY2" fmla="*/ 0 h 2104709"/>
              <a:gd name="connsiteX3" fmla="*/ 1145234 w 2356361"/>
              <a:gd name="connsiteY3" fmla="*/ 2103752 h 2104709"/>
              <a:gd name="connsiteX4" fmla="*/ 0 w 2356361"/>
              <a:gd name="connsiteY4" fmla="*/ 2104709 h 210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361" h="2104709">
                <a:moveTo>
                  <a:pt x="0" y="2104709"/>
                </a:moveTo>
                <a:lnTo>
                  <a:pt x="1854908" y="0"/>
                </a:lnTo>
                <a:lnTo>
                  <a:pt x="2356361" y="0"/>
                </a:lnTo>
                <a:lnTo>
                  <a:pt x="1145234" y="2103752"/>
                </a:lnTo>
                <a:lnTo>
                  <a:pt x="0" y="2104709"/>
                </a:lnTo>
                <a:close/>
              </a:path>
            </a:pathLst>
          </a:cu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48" name="Group 47"/>
          <p:cNvGrpSpPr/>
          <p:nvPr/>
        </p:nvGrpSpPr>
        <p:grpSpPr>
          <a:xfrm flipH="1">
            <a:off x="4138444" y="2176573"/>
            <a:ext cx="848186" cy="678484"/>
            <a:chOff x="6159848" y="2649094"/>
            <a:chExt cx="848425" cy="678678"/>
          </a:xfrm>
        </p:grpSpPr>
        <p:grpSp>
          <p:nvGrpSpPr>
            <p:cNvPr id="423" name="Group 422"/>
            <p:cNvGrpSpPr/>
            <p:nvPr/>
          </p:nvGrpSpPr>
          <p:grpSpPr>
            <a:xfrm>
              <a:off x="6159848" y="3067772"/>
              <a:ext cx="255538" cy="260000"/>
              <a:chOff x="8629196" y="2775642"/>
              <a:chExt cx="1130448" cy="1150187"/>
            </a:xfrm>
          </p:grpSpPr>
          <p:sp>
            <p:nvSpPr>
              <p:cNvPr id="452" name="Parallelogram 451"/>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53" name="Parallelogram 452"/>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54" name="Rectangle 453"/>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424" name="Group 423"/>
            <p:cNvGrpSpPr/>
            <p:nvPr/>
          </p:nvGrpSpPr>
          <p:grpSpPr>
            <a:xfrm>
              <a:off x="6358475" y="3067772"/>
              <a:ext cx="255538" cy="260000"/>
              <a:chOff x="8629196" y="2775642"/>
              <a:chExt cx="1130448" cy="1150187"/>
            </a:xfrm>
          </p:grpSpPr>
          <p:sp>
            <p:nvSpPr>
              <p:cNvPr id="449" name="Parallelogram 448"/>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50" name="Parallelogram 449"/>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51" name="Rectangle 450"/>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425" name="Group 424"/>
            <p:cNvGrpSpPr/>
            <p:nvPr/>
          </p:nvGrpSpPr>
          <p:grpSpPr>
            <a:xfrm>
              <a:off x="6554108" y="3067772"/>
              <a:ext cx="255538" cy="260000"/>
              <a:chOff x="8629196" y="2775642"/>
              <a:chExt cx="1130448" cy="1150187"/>
            </a:xfrm>
          </p:grpSpPr>
          <p:sp>
            <p:nvSpPr>
              <p:cNvPr id="446" name="Parallelogram 445"/>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47" name="Parallelogram 446"/>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48" name="Rectangle 447"/>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426" name="Group 425"/>
            <p:cNvGrpSpPr/>
            <p:nvPr/>
          </p:nvGrpSpPr>
          <p:grpSpPr>
            <a:xfrm>
              <a:off x="6752735" y="3067772"/>
              <a:ext cx="255538" cy="260000"/>
              <a:chOff x="8629196" y="2775642"/>
              <a:chExt cx="1130448" cy="1150187"/>
            </a:xfrm>
          </p:grpSpPr>
          <p:sp>
            <p:nvSpPr>
              <p:cNvPr id="443" name="Parallelogram 442"/>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44" name="Parallelogram 443"/>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45" name="Rectangle 444"/>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427" name="Group 426"/>
            <p:cNvGrpSpPr/>
            <p:nvPr/>
          </p:nvGrpSpPr>
          <p:grpSpPr>
            <a:xfrm>
              <a:off x="6261735" y="2858497"/>
              <a:ext cx="255538" cy="260000"/>
              <a:chOff x="8629196" y="2775642"/>
              <a:chExt cx="1130448" cy="1150187"/>
            </a:xfrm>
          </p:grpSpPr>
          <p:sp>
            <p:nvSpPr>
              <p:cNvPr id="440" name="Parallelogram 439"/>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41" name="Parallelogram 440"/>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42" name="Rectangle 441"/>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428" name="Group 427"/>
            <p:cNvGrpSpPr/>
            <p:nvPr/>
          </p:nvGrpSpPr>
          <p:grpSpPr>
            <a:xfrm>
              <a:off x="6453382" y="2858497"/>
              <a:ext cx="255538" cy="260000"/>
              <a:chOff x="8629196" y="2775642"/>
              <a:chExt cx="1130448" cy="1150187"/>
            </a:xfrm>
          </p:grpSpPr>
          <p:sp>
            <p:nvSpPr>
              <p:cNvPr id="437" name="Parallelogram 436"/>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38" name="Parallelogram 437"/>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39" name="Rectangle 438"/>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429" name="Group 428"/>
            <p:cNvGrpSpPr/>
            <p:nvPr/>
          </p:nvGrpSpPr>
          <p:grpSpPr>
            <a:xfrm>
              <a:off x="6651081" y="2858497"/>
              <a:ext cx="255538" cy="260000"/>
              <a:chOff x="8629196" y="2775642"/>
              <a:chExt cx="1130448" cy="1150187"/>
            </a:xfrm>
          </p:grpSpPr>
          <p:sp>
            <p:nvSpPr>
              <p:cNvPr id="434" name="Parallelogram 433"/>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35" name="Parallelogram 434"/>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36" name="Rectangle 435"/>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430" name="Group 429"/>
            <p:cNvGrpSpPr/>
            <p:nvPr/>
          </p:nvGrpSpPr>
          <p:grpSpPr>
            <a:xfrm>
              <a:off x="6341132" y="2649094"/>
              <a:ext cx="255538" cy="260001"/>
              <a:chOff x="8629196" y="2744764"/>
              <a:chExt cx="1130448" cy="1150187"/>
            </a:xfrm>
          </p:grpSpPr>
          <p:sp>
            <p:nvSpPr>
              <p:cNvPr id="431" name="Parallelogram 430"/>
              <p:cNvSpPr/>
              <p:nvPr/>
            </p:nvSpPr>
            <p:spPr bwMode="auto">
              <a:xfrm>
                <a:off x="8629196" y="2744764"/>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32" name="Parallelogram 431"/>
              <p:cNvSpPr/>
              <p:nvPr/>
            </p:nvSpPr>
            <p:spPr bwMode="auto">
              <a:xfrm rot="16200000" flipH="1">
                <a:off x="9096106" y="319051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33" name="Rectangle 432"/>
              <p:cNvSpPr/>
              <p:nvPr/>
            </p:nvSpPr>
            <p:spPr bwMode="auto">
              <a:xfrm>
                <a:off x="8636177" y="2999464"/>
                <a:ext cx="863136" cy="895487"/>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grpSp>
        <p:nvGrpSpPr>
          <p:cNvPr id="49" name="Group 48"/>
          <p:cNvGrpSpPr/>
          <p:nvPr/>
        </p:nvGrpSpPr>
        <p:grpSpPr>
          <a:xfrm>
            <a:off x="2872099" y="4324997"/>
            <a:ext cx="1547257" cy="1194231"/>
            <a:chOff x="8052591" y="4037195"/>
            <a:chExt cx="1126485" cy="1278620"/>
          </a:xfrm>
        </p:grpSpPr>
        <p:sp>
          <p:nvSpPr>
            <p:cNvPr id="421" name="Rectangle 420"/>
            <p:cNvSpPr/>
            <p:nvPr/>
          </p:nvSpPr>
          <p:spPr bwMode="auto">
            <a:xfrm flipH="1">
              <a:off x="8052591" y="4037195"/>
              <a:ext cx="1126485" cy="1208395"/>
            </a:xfrm>
            <a:prstGeom prst="rect">
              <a:avLst/>
            </a:prstGeom>
            <a:solidFill>
              <a:srgbClr val="FFFF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91414" rIns="91414" bIns="9141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entury Gothic" panose="020F0302020204030204"/>
                  <a:ea typeface="+mn-ea"/>
                  <a:cs typeface="+mn-cs"/>
                </a:rPr>
                <a:t>Identify and correct quality issues.  Inventory Management</a:t>
              </a:r>
            </a:p>
          </p:txBody>
        </p:sp>
        <p:cxnSp>
          <p:nvCxnSpPr>
            <p:cNvPr id="422" name="Straight Connector 421"/>
            <p:cNvCxnSpPr/>
            <p:nvPr/>
          </p:nvCxnSpPr>
          <p:spPr>
            <a:xfrm flipH="1" flipV="1">
              <a:off x="9114172" y="4227679"/>
              <a:ext cx="1" cy="1088136"/>
            </a:xfrm>
            <a:prstGeom prst="line">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50" name="Group 49"/>
          <p:cNvGrpSpPr/>
          <p:nvPr/>
        </p:nvGrpSpPr>
        <p:grpSpPr>
          <a:xfrm>
            <a:off x="3294333" y="1570699"/>
            <a:ext cx="2753281" cy="609001"/>
            <a:chOff x="7650497" y="1995042"/>
            <a:chExt cx="1821533" cy="572651"/>
          </a:xfrm>
        </p:grpSpPr>
        <p:sp>
          <p:nvSpPr>
            <p:cNvPr id="419" name="Rectangle 418"/>
            <p:cNvSpPr/>
            <p:nvPr/>
          </p:nvSpPr>
          <p:spPr bwMode="auto">
            <a:xfrm flipH="1">
              <a:off x="7650497" y="1995042"/>
              <a:ext cx="1748259" cy="572651"/>
            </a:xfrm>
            <a:prstGeom prst="rect">
              <a:avLst/>
            </a:prstGeom>
            <a:solidFill>
              <a:srgbClr val="FFFF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91414" rIns="91414" bIns="9141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374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w="3175">
                    <a:noFill/>
                  </a:ln>
                  <a:solidFill>
                    <a:srgbClr val="FFFFFF"/>
                  </a:solidFill>
                  <a:effectLst/>
                  <a:uLnTx/>
                  <a:uFillTx/>
                  <a:latin typeface="Century Gothic" panose="020F0302020204030204"/>
                  <a:ea typeface="+mn-ea"/>
                  <a:cs typeface="Arial" charset="0"/>
                </a:rPr>
                <a:t>Remotely Manage Equipment</a:t>
              </a:r>
              <a:r>
                <a:rPr kumimoji="0" lang="en-US" sz="900" b="0" i="0" u="none" strike="noStrike" kern="1200" cap="none" spc="0" normalizeH="0" baseline="0" noProof="0" dirty="0">
                  <a:ln w="3175">
                    <a:noFill/>
                  </a:ln>
                  <a:solidFill>
                    <a:srgbClr val="FFFFFF"/>
                  </a:solidFill>
                  <a:effectLst/>
                  <a:uLnTx/>
                  <a:uFillTx/>
                  <a:latin typeface="Century Gothic" panose="020F0302020204030204"/>
                  <a:ea typeface="+mn-ea"/>
                  <a:cs typeface="Arial" charset="0"/>
                </a:rPr>
                <a:t>	</a:t>
              </a:r>
            </a:p>
          </p:txBody>
        </p:sp>
        <p:cxnSp>
          <p:nvCxnSpPr>
            <p:cNvPr id="420" name="Straight Connector 419"/>
            <p:cNvCxnSpPr/>
            <p:nvPr/>
          </p:nvCxnSpPr>
          <p:spPr>
            <a:xfrm flipH="1" flipV="1">
              <a:off x="9472029" y="1995526"/>
              <a:ext cx="1" cy="540070"/>
            </a:xfrm>
            <a:prstGeom prst="line">
              <a:avLst/>
            </a:prstGeom>
            <a:solidFill>
              <a:srgbClr val="8DC548">
                <a:alpha val="50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51" name="Group 50"/>
          <p:cNvGrpSpPr/>
          <p:nvPr/>
        </p:nvGrpSpPr>
        <p:grpSpPr>
          <a:xfrm>
            <a:off x="667664" y="1570861"/>
            <a:ext cx="2692029" cy="971217"/>
            <a:chOff x="3212074" y="2540763"/>
            <a:chExt cx="2178025" cy="960620"/>
          </a:xfrm>
        </p:grpSpPr>
        <p:sp>
          <p:nvSpPr>
            <p:cNvPr id="417" name="Rectangle 416"/>
            <p:cNvSpPr/>
            <p:nvPr/>
          </p:nvSpPr>
          <p:spPr bwMode="auto">
            <a:xfrm flipH="1">
              <a:off x="3212074" y="2540763"/>
              <a:ext cx="1486157" cy="960620"/>
            </a:xfrm>
            <a:prstGeom prst="rect">
              <a:avLst/>
            </a:prstGeom>
            <a:solidFill>
              <a:srgbClr val="FFFF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91414" rIns="91414" bIns="9141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374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F0302020204030204"/>
                  <a:ea typeface="+mn-ea"/>
                  <a:cs typeface="+mn-cs"/>
                </a:rPr>
                <a:t>Monitor production flow in near-real time</a:t>
              </a:r>
              <a:endParaRPr kumimoji="0" lang="en-US" sz="1600" b="0" i="0" u="none" strike="noStrike" kern="1200" cap="none" spc="0" normalizeH="0" baseline="0" noProof="0" dirty="0">
                <a:ln w="3175">
                  <a:noFill/>
                </a:ln>
                <a:solidFill>
                  <a:srgbClr val="FFFFFF"/>
                </a:solidFill>
                <a:effectLst/>
                <a:uLnTx/>
                <a:uFillTx/>
                <a:latin typeface="Century Gothic" panose="020F0302020204030204"/>
                <a:ea typeface="+mn-ea"/>
                <a:cs typeface="Arial" charset="0"/>
              </a:endParaRPr>
            </a:p>
          </p:txBody>
        </p:sp>
        <p:cxnSp>
          <p:nvCxnSpPr>
            <p:cNvPr id="418" name="Straight Connector 417"/>
            <p:cNvCxnSpPr/>
            <p:nvPr/>
          </p:nvCxnSpPr>
          <p:spPr>
            <a:xfrm flipV="1">
              <a:off x="5390098" y="2630509"/>
              <a:ext cx="1" cy="568088"/>
            </a:xfrm>
            <a:prstGeom prst="line">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52" name="Group 51"/>
          <p:cNvGrpSpPr>
            <a:grpSpLocks noChangeAspect="1"/>
          </p:cNvGrpSpPr>
          <p:nvPr/>
        </p:nvGrpSpPr>
        <p:grpSpPr>
          <a:xfrm>
            <a:off x="8062464" y="5015843"/>
            <a:ext cx="1647385" cy="861730"/>
            <a:chOff x="10071110" y="5541969"/>
            <a:chExt cx="1993902" cy="1042989"/>
          </a:xfrm>
        </p:grpSpPr>
        <p:sp>
          <p:nvSpPr>
            <p:cNvPr id="408" name="Freeform 407"/>
            <p:cNvSpPr>
              <a:spLocks/>
            </p:cNvSpPr>
            <p:nvPr/>
          </p:nvSpPr>
          <p:spPr bwMode="auto">
            <a:xfrm flipH="1">
              <a:off x="10079049" y="5541969"/>
              <a:ext cx="1327151" cy="615951"/>
            </a:xfrm>
            <a:custGeom>
              <a:avLst/>
              <a:gdLst>
                <a:gd name="T0" fmla="*/ 22 w 3343"/>
                <a:gd name="T1" fmla="*/ 0 h 1552"/>
                <a:gd name="T2" fmla="*/ 22 w 3343"/>
                <a:gd name="T3" fmla="*/ 0 h 1552"/>
                <a:gd name="T4" fmla="*/ 3343 w 3343"/>
                <a:gd name="T5" fmla="*/ 0 h 1552"/>
                <a:gd name="T6" fmla="*/ 3343 w 3343"/>
                <a:gd name="T7" fmla="*/ 1552 h 1552"/>
                <a:gd name="T8" fmla="*/ 3343 w 3343"/>
                <a:gd name="T9" fmla="*/ 1552 h 1552"/>
                <a:gd name="T10" fmla="*/ 0 w 3343"/>
                <a:gd name="T11" fmla="*/ 1552 h 1552"/>
                <a:gd name="T12" fmla="*/ 0 w 3343"/>
                <a:gd name="T13" fmla="*/ 1552 h 1552"/>
                <a:gd name="T14" fmla="*/ 0 w 3343"/>
                <a:gd name="T15" fmla="*/ 31 h 1552"/>
                <a:gd name="T16" fmla="*/ 0 w 3343"/>
                <a:gd name="T17" fmla="*/ 31 h 1552"/>
                <a:gd name="T18" fmla="*/ 0 w 3343"/>
                <a:gd name="T19" fmla="*/ 25 h 1552"/>
                <a:gd name="T20" fmla="*/ 1 w 3343"/>
                <a:gd name="T21" fmla="*/ 19 h 1552"/>
                <a:gd name="T22" fmla="*/ 3 w 3343"/>
                <a:gd name="T23" fmla="*/ 14 h 1552"/>
                <a:gd name="T24" fmla="*/ 6 w 3343"/>
                <a:gd name="T25" fmla="*/ 11 h 1552"/>
                <a:gd name="T26" fmla="*/ 8 w 3343"/>
                <a:gd name="T27" fmla="*/ 7 h 1552"/>
                <a:gd name="T28" fmla="*/ 12 w 3343"/>
                <a:gd name="T29" fmla="*/ 4 h 1552"/>
                <a:gd name="T30" fmla="*/ 22 w 3343"/>
                <a:gd name="T31" fmla="*/ 0 h 1552"/>
                <a:gd name="T32" fmla="*/ 22 w 3343"/>
                <a:gd name="T33"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3" h="1552">
                  <a:moveTo>
                    <a:pt x="22" y="0"/>
                  </a:moveTo>
                  <a:lnTo>
                    <a:pt x="22" y="0"/>
                  </a:lnTo>
                  <a:lnTo>
                    <a:pt x="3343" y="0"/>
                  </a:lnTo>
                  <a:lnTo>
                    <a:pt x="3343" y="1552"/>
                  </a:lnTo>
                  <a:lnTo>
                    <a:pt x="3343" y="1552"/>
                  </a:lnTo>
                  <a:lnTo>
                    <a:pt x="0" y="1552"/>
                  </a:lnTo>
                  <a:lnTo>
                    <a:pt x="0" y="1552"/>
                  </a:lnTo>
                  <a:lnTo>
                    <a:pt x="0" y="31"/>
                  </a:lnTo>
                  <a:lnTo>
                    <a:pt x="0" y="31"/>
                  </a:lnTo>
                  <a:lnTo>
                    <a:pt x="0" y="25"/>
                  </a:lnTo>
                  <a:lnTo>
                    <a:pt x="1" y="19"/>
                  </a:lnTo>
                  <a:lnTo>
                    <a:pt x="3" y="14"/>
                  </a:lnTo>
                  <a:lnTo>
                    <a:pt x="6" y="11"/>
                  </a:lnTo>
                  <a:lnTo>
                    <a:pt x="8" y="7"/>
                  </a:lnTo>
                  <a:lnTo>
                    <a:pt x="12" y="4"/>
                  </a:lnTo>
                  <a:lnTo>
                    <a:pt x="22" y="0"/>
                  </a:lnTo>
                  <a:lnTo>
                    <a:pt x="22" y="0"/>
                  </a:lnTo>
                  <a:close/>
                </a:path>
              </a:pathLst>
            </a:custGeom>
            <a:solidFill>
              <a:schemeClr val="accent1">
                <a:lumMod val="75000"/>
              </a:schemeClr>
            </a:solidFill>
            <a:ln w="9525">
              <a:noFill/>
              <a:round/>
              <a:headEnd/>
              <a:tailEn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09" name="Freeform 408"/>
            <p:cNvSpPr>
              <a:spLocks/>
            </p:cNvSpPr>
            <p:nvPr/>
          </p:nvSpPr>
          <p:spPr bwMode="auto">
            <a:xfrm flipH="1">
              <a:off x="11634800" y="6330958"/>
              <a:ext cx="254000" cy="254000"/>
            </a:xfrm>
            <a:custGeom>
              <a:avLst/>
              <a:gdLst>
                <a:gd name="T0" fmla="*/ 304 w 642"/>
                <a:gd name="T1" fmla="*/ 641 h 641"/>
                <a:gd name="T2" fmla="*/ 257 w 642"/>
                <a:gd name="T3" fmla="*/ 635 h 641"/>
                <a:gd name="T4" fmla="*/ 211 w 642"/>
                <a:gd name="T5" fmla="*/ 622 h 641"/>
                <a:gd name="T6" fmla="*/ 168 w 642"/>
                <a:gd name="T7" fmla="*/ 602 h 641"/>
                <a:gd name="T8" fmla="*/ 129 w 642"/>
                <a:gd name="T9" fmla="*/ 577 h 641"/>
                <a:gd name="T10" fmla="*/ 94 w 642"/>
                <a:gd name="T11" fmla="*/ 547 h 641"/>
                <a:gd name="T12" fmla="*/ 64 w 642"/>
                <a:gd name="T13" fmla="*/ 512 h 641"/>
                <a:gd name="T14" fmla="*/ 39 w 642"/>
                <a:gd name="T15" fmla="*/ 473 h 641"/>
                <a:gd name="T16" fmla="*/ 20 w 642"/>
                <a:gd name="T17" fmla="*/ 431 h 641"/>
                <a:gd name="T18" fmla="*/ 7 w 642"/>
                <a:gd name="T19" fmla="*/ 385 h 641"/>
                <a:gd name="T20" fmla="*/ 1 w 642"/>
                <a:gd name="T21" fmla="*/ 337 h 641"/>
                <a:gd name="T22" fmla="*/ 1 w 642"/>
                <a:gd name="T23" fmla="*/ 304 h 641"/>
                <a:gd name="T24" fmla="*/ 7 w 642"/>
                <a:gd name="T25" fmla="*/ 256 h 641"/>
                <a:gd name="T26" fmla="*/ 20 w 642"/>
                <a:gd name="T27" fmla="*/ 210 h 641"/>
                <a:gd name="T28" fmla="*/ 39 w 642"/>
                <a:gd name="T29" fmla="*/ 168 h 641"/>
                <a:gd name="T30" fmla="*/ 64 w 642"/>
                <a:gd name="T31" fmla="*/ 129 h 641"/>
                <a:gd name="T32" fmla="*/ 94 w 642"/>
                <a:gd name="T33" fmla="*/ 94 h 641"/>
                <a:gd name="T34" fmla="*/ 129 w 642"/>
                <a:gd name="T35" fmla="*/ 64 h 641"/>
                <a:gd name="T36" fmla="*/ 168 w 642"/>
                <a:gd name="T37" fmla="*/ 39 h 641"/>
                <a:gd name="T38" fmla="*/ 211 w 642"/>
                <a:gd name="T39" fmla="*/ 20 h 641"/>
                <a:gd name="T40" fmla="*/ 257 w 642"/>
                <a:gd name="T41" fmla="*/ 6 h 641"/>
                <a:gd name="T42" fmla="*/ 304 w 642"/>
                <a:gd name="T43" fmla="*/ 0 h 641"/>
                <a:gd name="T44" fmla="*/ 338 w 642"/>
                <a:gd name="T45" fmla="*/ 0 h 641"/>
                <a:gd name="T46" fmla="*/ 385 w 642"/>
                <a:gd name="T47" fmla="*/ 6 h 641"/>
                <a:gd name="T48" fmla="*/ 431 w 642"/>
                <a:gd name="T49" fmla="*/ 20 h 641"/>
                <a:gd name="T50" fmla="*/ 474 w 642"/>
                <a:gd name="T51" fmla="*/ 39 h 641"/>
                <a:gd name="T52" fmla="*/ 513 w 642"/>
                <a:gd name="T53" fmla="*/ 64 h 641"/>
                <a:gd name="T54" fmla="*/ 548 w 642"/>
                <a:gd name="T55" fmla="*/ 94 h 641"/>
                <a:gd name="T56" fmla="*/ 578 w 642"/>
                <a:gd name="T57" fmla="*/ 129 h 641"/>
                <a:gd name="T58" fmla="*/ 603 w 642"/>
                <a:gd name="T59" fmla="*/ 168 h 641"/>
                <a:gd name="T60" fmla="*/ 621 w 642"/>
                <a:gd name="T61" fmla="*/ 210 h 641"/>
                <a:gd name="T62" fmla="*/ 635 w 642"/>
                <a:gd name="T63" fmla="*/ 256 h 641"/>
                <a:gd name="T64" fmla="*/ 641 w 642"/>
                <a:gd name="T65" fmla="*/ 304 h 641"/>
                <a:gd name="T66" fmla="*/ 641 w 642"/>
                <a:gd name="T67" fmla="*/ 337 h 641"/>
                <a:gd name="T68" fmla="*/ 635 w 642"/>
                <a:gd name="T69" fmla="*/ 385 h 641"/>
                <a:gd name="T70" fmla="*/ 621 w 642"/>
                <a:gd name="T71" fmla="*/ 431 h 641"/>
                <a:gd name="T72" fmla="*/ 603 w 642"/>
                <a:gd name="T73" fmla="*/ 473 h 641"/>
                <a:gd name="T74" fmla="*/ 578 w 642"/>
                <a:gd name="T75" fmla="*/ 512 h 641"/>
                <a:gd name="T76" fmla="*/ 548 w 642"/>
                <a:gd name="T77" fmla="*/ 547 h 641"/>
                <a:gd name="T78" fmla="*/ 513 w 642"/>
                <a:gd name="T79" fmla="*/ 577 h 641"/>
                <a:gd name="T80" fmla="*/ 474 w 642"/>
                <a:gd name="T81" fmla="*/ 602 h 641"/>
                <a:gd name="T82" fmla="*/ 431 w 642"/>
                <a:gd name="T83" fmla="*/ 622 h 641"/>
                <a:gd name="T84" fmla="*/ 385 w 642"/>
                <a:gd name="T85" fmla="*/ 635 h 641"/>
                <a:gd name="T86" fmla="*/ 338 w 642"/>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2" h="641">
                  <a:moveTo>
                    <a:pt x="321" y="641"/>
                  </a:moveTo>
                  <a:lnTo>
                    <a:pt x="321" y="641"/>
                  </a:lnTo>
                  <a:lnTo>
                    <a:pt x="304" y="641"/>
                  </a:lnTo>
                  <a:lnTo>
                    <a:pt x="288" y="640"/>
                  </a:lnTo>
                  <a:lnTo>
                    <a:pt x="273" y="637"/>
                  </a:lnTo>
                  <a:lnTo>
                    <a:pt x="257" y="635"/>
                  </a:lnTo>
                  <a:lnTo>
                    <a:pt x="241" y="631"/>
                  </a:lnTo>
                  <a:lnTo>
                    <a:pt x="226" y="627"/>
                  </a:lnTo>
                  <a:lnTo>
                    <a:pt x="211" y="622"/>
                  </a:lnTo>
                  <a:lnTo>
                    <a:pt x="197" y="616"/>
                  </a:lnTo>
                  <a:lnTo>
                    <a:pt x="182" y="610"/>
                  </a:lnTo>
                  <a:lnTo>
                    <a:pt x="168" y="602"/>
                  </a:lnTo>
                  <a:lnTo>
                    <a:pt x="154" y="595"/>
                  </a:lnTo>
                  <a:lnTo>
                    <a:pt x="142" y="587"/>
                  </a:lnTo>
                  <a:lnTo>
                    <a:pt x="129" y="577"/>
                  </a:lnTo>
                  <a:lnTo>
                    <a:pt x="117" y="567"/>
                  </a:lnTo>
                  <a:lnTo>
                    <a:pt x="105" y="558"/>
                  </a:lnTo>
                  <a:lnTo>
                    <a:pt x="94" y="547"/>
                  </a:lnTo>
                  <a:lnTo>
                    <a:pt x="83" y="536"/>
                  </a:lnTo>
                  <a:lnTo>
                    <a:pt x="74" y="524"/>
                  </a:lnTo>
                  <a:lnTo>
                    <a:pt x="64" y="512"/>
                  </a:lnTo>
                  <a:lnTo>
                    <a:pt x="55" y="500"/>
                  </a:lnTo>
                  <a:lnTo>
                    <a:pt x="47" y="487"/>
                  </a:lnTo>
                  <a:lnTo>
                    <a:pt x="39" y="473"/>
                  </a:lnTo>
                  <a:lnTo>
                    <a:pt x="32" y="460"/>
                  </a:lnTo>
                  <a:lnTo>
                    <a:pt x="25" y="446"/>
                  </a:lnTo>
                  <a:lnTo>
                    <a:pt x="20" y="431"/>
                  </a:lnTo>
                  <a:lnTo>
                    <a:pt x="14" y="415"/>
                  </a:lnTo>
                  <a:lnTo>
                    <a:pt x="11" y="401"/>
                  </a:lnTo>
                  <a:lnTo>
                    <a:pt x="7" y="385"/>
                  </a:lnTo>
                  <a:lnTo>
                    <a:pt x="4" y="370"/>
                  </a:lnTo>
                  <a:lnTo>
                    <a:pt x="2" y="354"/>
                  </a:lnTo>
                  <a:lnTo>
                    <a:pt x="1" y="337"/>
                  </a:lnTo>
                  <a:lnTo>
                    <a:pt x="0" y="320"/>
                  </a:lnTo>
                  <a:lnTo>
                    <a:pt x="0" y="320"/>
                  </a:lnTo>
                  <a:lnTo>
                    <a:pt x="1" y="304"/>
                  </a:lnTo>
                  <a:lnTo>
                    <a:pt x="2" y="287"/>
                  </a:lnTo>
                  <a:lnTo>
                    <a:pt x="4" y="272"/>
                  </a:lnTo>
                  <a:lnTo>
                    <a:pt x="7" y="256"/>
                  </a:lnTo>
                  <a:lnTo>
                    <a:pt x="11" y="240"/>
                  </a:lnTo>
                  <a:lnTo>
                    <a:pt x="14" y="226"/>
                  </a:lnTo>
                  <a:lnTo>
                    <a:pt x="20" y="210"/>
                  </a:lnTo>
                  <a:lnTo>
                    <a:pt x="25" y="196"/>
                  </a:lnTo>
                  <a:lnTo>
                    <a:pt x="32" y="181"/>
                  </a:lnTo>
                  <a:lnTo>
                    <a:pt x="39" y="168"/>
                  </a:lnTo>
                  <a:lnTo>
                    <a:pt x="47" y="155"/>
                  </a:lnTo>
                  <a:lnTo>
                    <a:pt x="55" y="141"/>
                  </a:lnTo>
                  <a:lnTo>
                    <a:pt x="64" y="129"/>
                  </a:lnTo>
                  <a:lnTo>
                    <a:pt x="74" y="117"/>
                  </a:lnTo>
                  <a:lnTo>
                    <a:pt x="83" y="105"/>
                  </a:lnTo>
                  <a:lnTo>
                    <a:pt x="94" y="94"/>
                  </a:lnTo>
                  <a:lnTo>
                    <a:pt x="105" y="84"/>
                  </a:lnTo>
                  <a:lnTo>
                    <a:pt x="117" y="74"/>
                  </a:lnTo>
                  <a:lnTo>
                    <a:pt x="129" y="64"/>
                  </a:lnTo>
                  <a:lnTo>
                    <a:pt x="142" y="55"/>
                  </a:lnTo>
                  <a:lnTo>
                    <a:pt x="154" y="46"/>
                  </a:lnTo>
                  <a:lnTo>
                    <a:pt x="168" y="39"/>
                  </a:lnTo>
                  <a:lnTo>
                    <a:pt x="182" y="32"/>
                  </a:lnTo>
                  <a:lnTo>
                    <a:pt x="197" y="26"/>
                  </a:lnTo>
                  <a:lnTo>
                    <a:pt x="211" y="20"/>
                  </a:lnTo>
                  <a:lnTo>
                    <a:pt x="226" y="15"/>
                  </a:lnTo>
                  <a:lnTo>
                    <a:pt x="241" y="10"/>
                  </a:lnTo>
                  <a:lnTo>
                    <a:pt x="257" y="6"/>
                  </a:lnTo>
                  <a:lnTo>
                    <a:pt x="273" y="4"/>
                  </a:lnTo>
                  <a:lnTo>
                    <a:pt x="288" y="1"/>
                  </a:lnTo>
                  <a:lnTo>
                    <a:pt x="304" y="0"/>
                  </a:lnTo>
                  <a:lnTo>
                    <a:pt x="321" y="0"/>
                  </a:lnTo>
                  <a:lnTo>
                    <a:pt x="321" y="0"/>
                  </a:lnTo>
                  <a:lnTo>
                    <a:pt x="338" y="0"/>
                  </a:lnTo>
                  <a:lnTo>
                    <a:pt x="354" y="1"/>
                  </a:lnTo>
                  <a:lnTo>
                    <a:pt x="369" y="4"/>
                  </a:lnTo>
                  <a:lnTo>
                    <a:pt x="385" y="6"/>
                  </a:lnTo>
                  <a:lnTo>
                    <a:pt x="401" y="10"/>
                  </a:lnTo>
                  <a:lnTo>
                    <a:pt x="416" y="15"/>
                  </a:lnTo>
                  <a:lnTo>
                    <a:pt x="431" y="20"/>
                  </a:lnTo>
                  <a:lnTo>
                    <a:pt x="445" y="26"/>
                  </a:lnTo>
                  <a:lnTo>
                    <a:pt x="460" y="32"/>
                  </a:lnTo>
                  <a:lnTo>
                    <a:pt x="474" y="39"/>
                  </a:lnTo>
                  <a:lnTo>
                    <a:pt x="487" y="46"/>
                  </a:lnTo>
                  <a:lnTo>
                    <a:pt x="500" y="55"/>
                  </a:lnTo>
                  <a:lnTo>
                    <a:pt x="513" y="64"/>
                  </a:lnTo>
                  <a:lnTo>
                    <a:pt x="525" y="74"/>
                  </a:lnTo>
                  <a:lnTo>
                    <a:pt x="537" y="84"/>
                  </a:lnTo>
                  <a:lnTo>
                    <a:pt x="548" y="94"/>
                  </a:lnTo>
                  <a:lnTo>
                    <a:pt x="559" y="105"/>
                  </a:lnTo>
                  <a:lnTo>
                    <a:pt x="568" y="117"/>
                  </a:lnTo>
                  <a:lnTo>
                    <a:pt x="578" y="129"/>
                  </a:lnTo>
                  <a:lnTo>
                    <a:pt x="586" y="141"/>
                  </a:lnTo>
                  <a:lnTo>
                    <a:pt x="595" y="155"/>
                  </a:lnTo>
                  <a:lnTo>
                    <a:pt x="603" y="168"/>
                  </a:lnTo>
                  <a:lnTo>
                    <a:pt x="609" y="181"/>
                  </a:lnTo>
                  <a:lnTo>
                    <a:pt x="617" y="196"/>
                  </a:lnTo>
                  <a:lnTo>
                    <a:pt x="621" y="210"/>
                  </a:lnTo>
                  <a:lnTo>
                    <a:pt x="627" y="226"/>
                  </a:lnTo>
                  <a:lnTo>
                    <a:pt x="631" y="240"/>
                  </a:lnTo>
                  <a:lnTo>
                    <a:pt x="635" y="256"/>
                  </a:lnTo>
                  <a:lnTo>
                    <a:pt x="638" y="272"/>
                  </a:lnTo>
                  <a:lnTo>
                    <a:pt x="640" y="287"/>
                  </a:lnTo>
                  <a:lnTo>
                    <a:pt x="641" y="304"/>
                  </a:lnTo>
                  <a:lnTo>
                    <a:pt x="642" y="320"/>
                  </a:lnTo>
                  <a:lnTo>
                    <a:pt x="642" y="320"/>
                  </a:lnTo>
                  <a:lnTo>
                    <a:pt x="641" y="337"/>
                  </a:lnTo>
                  <a:lnTo>
                    <a:pt x="640" y="354"/>
                  </a:lnTo>
                  <a:lnTo>
                    <a:pt x="638" y="370"/>
                  </a:lnTo>
                  <a:lnTo>
                    <a:pt x="635" y="385"/>
                  </a:lnTo>
                  <a:lnTo>
                    <a:pt x="631" y="401"/>
                  </a:lnTo>
                  <a:lnTo>
                    <a:pt x="627" y="415"/>
                  </a:lnTo>
                  <a:lnTo>
                    <a:pt x="621" y="431"/>
                  </a:lnTo>
                  <a:lnTo>
                    <a:pt x="617" y="446"/>
                  </a:lnTo>
                  <a:lnTo>
                    <a:pt x="609" y="460"/>
                  </a:lnTo>
                  <a:lnTo>
                    <a:pt x="603" y="473"/>
                  </a:lnTo>
                  <a:lnTo>
                    <a:pt x="595" y="487"/>
                  </a:lnTo>
                  <a:lnTo>
                    <a:pt x="586" y="500"/>
                  </a:lnTo>
                  <a:lnTo>
                    <a:pt x="578" y="512"/>
                  </a:lnTo>
                  <a:lnTo>
                    <a:pt x="568" y="524"/>
                  </a:lnTo>
                  <a:lnTo>
                    <a:pt x="559" y="536"/>
                  </a:lnTo>
                  <a:lnTo>
                    <a:pt x="548" y="547"/>
                  </a:lnTo>
                  <a:lnTo>
                    <a:pt x="537" y="558"/>
                  </a:lnTo>
                  <a:lnTo>
                    <a:pt x="525" y="567"/>
                  </a:lnTo>
                  <a:lnTo>
                    <a:pt x="513" y="577"/>
                  </a:lnTo>
                  <a:lnTo>
                    <a:pt x="500" y="587"/>
                  </a:lnTo>
                  <a:lnTo>
                    <a:pt x="487" y="595"/>
                  </a:lnTo>
                  <a:lnTo>
                    <a:pt x="474" y="602"/>
                  </a:lnTo>
                  <a:lnTo>
                    <a:pt x="460" y="610"/>
                  </a:lnTo>
                  <a:lnTo>
                    <a:pt x="445" y="616"/>
                  </a:lnTo>
                  <a:lnTo>
                    <a:pt x="431" y="622"/>
                  </a:lnTo>
                  <a:lnTo>
                    <a:pt x="416" y="627"/>
                  </a:lnTo>
                  <a:lnTo>
                    <a:pt x="401" y="631"/>
                  </a:lnTo>
                  <a:lnTo>
                    <a:pt x="385" y="635"/>
                  </a:lnTo>
                  <a:lnTo>
                    <a:pt x="369" y="637"/>
                  </a:lnTo>
                  <a:lnTo>
                    <a:pt x="354" y="640"/>
                  </a:lnTo>
                  <a:lnTo>
                    <a:pt x="338" y="641"/>
                  </a:lnTo>
                  <a:lnTo>
                    <a:pt x="321" y="641"/>
                  </a:lnTo>
                  <a:lnTo>
                    <a:pt x="321" y="641"/>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410" name="Freeform 409"/>
            <p:cNvSpPr>
              <a:spLocks/>
            </p:cNvSpPr>
            <p:nvPr/>
          </p:nvSpPr>
          <p:spPr bwMode="auto">
            <a:xfrm flipH="1">
              <a:off x="11688774" y="6386520"/>
              <a:ext cx="146050" cy="142876"/>
            </a:xfrm>
            <a:custGeom>
              <a:avLst/>
              <a:gdLst>
                <a:gd name="T0" fmla="*/ 182 w 364"/>
                <a:gd name="T1" fmla="*/ 363 h 363"/>
                <a:gd name="T2" fmla="*/ 146 w 364"/>
                <a:gd name="T3" fmla="*/ 360 h 363"/>
                <a:gd name="T4" fmla="*/ 111 w 364"/>
                <a:gd name="T5" fmla="*/ 349 h 363"/>
                <a:gd name="T6" fmla="*/ 81 w 364"/>
                <a:gd name="T7" fmla="*/ 332 h 363"/>
                <a:gd name="T8" fmla="*/ 54 w 364"/>
                <a:gd name="T9" fmla="*/ 310 h 363"/>
                <a:gd name="T10" fmla="*/ 31 w 364"/>
                <a:gd name="T11" fmla="*/ 284 h 363"/>
                <a:gd name="T12" fmla="*/ 14 w 364"/>
                <a:gd name="T13" fmla="*/ 252 h 363"/>
                <a:gd name="T14" fmla="*/ 3 w 364"/>
                <a:gd name="T15" fmla="*/ 218 h 363"/>
                <a:gd name="T16" fmla="*/ 0 w 364"/>
                <a:gd name="T17" fmla="*/ 181 h 363"/>
                <a:gd name="T18" fmla="*/ 1 w 364"/>
                <a:gd name="T19" fmla="*/ 163 h 363"/>
                <a:gd name="T20" fmla="*/ 8 w 364"/>
                <a:gd name="T21" fmla="*/ 128 h 363"/>
                <a:gd name="T22" fmla="*/ 23 w 364"/>
                <a:gd name="T23" fmla="*/ 95 h 363"/>
                <a:gd name="T24" fmla="*/ 42 w 364"/>
                <a:gd name="T25" fmla="*/ 66 h 363"/>
                <a:gd name="T26" fmla="*/ 66 w 364"/>
                <a:gd name="T27" fmla="*/ 41 h 363"/>
                <a:gd name="T28" fmla="*/ 95 w 364"/>
                <a:gd name="T29" fmla="*/ 22 h 363"/>
                <a:gd name="T30" fmla="*/ 128 w 364"/>
                <a:gd name="T31" fmla="*/ 8 h 363"/>
                <a:gd name="T32" fmla="*/ 164 w 364"/>
                <a:gd name="T33" fmla="*/ 1 h 363"/>
                <a:gd name="T34" fmla="*/ 182 w 364"/>
                <a:gd name="T35" fmla="*/ 0 h 363"/>
                <a:gd name="T36" fmla="*/ 218 w 364"/>
                <a:gd name="T37" fmla="*/ 4 h 363"/>
                <a:gd name="T38" fmla="*/ 253 w 364"/>
                <a:gd name="T39" fmla="*/ 15 h 363"/>
                <a:gd name="T40" fmla="*/ 283 w 364"/>
                <a:gd name="T41" fmla="*/ 31 h 363"/>
                <a:gd name="T42" fmla="*/ 310 w 364"/>
                <a:gd name="T43" fmla="*/ 53 h 363"/>
                <a:gd name="T44" fmla="*/ 333 w 364"/>
                <a:gd name="T45" fmla="*/ 80 h 363"/>
                <a:gd name="T46" fmla="*/ 350 w 364"/>
                <a:gd name="T47" fmla="*/ 111 h 363"/>
                <a:gd name="T48" fmla="*/ 361 w 364"/>
                <a:gd name="T49" fmla="*/ 145 h 363"/>
                <a:gd name="T50" fmla="*/ 364 w 364"/>
                <a:gd name="T51" fmla="*/ 181 h 363"/>
                <a:gd name="T52" fmla="*/ 363 w 364"/>
                <a:gd name="T53" fmla="*/ 200 h 363"/>
                <a:gd name="T54" fmla="*/ 356 w 364"/>
                <a:gd name="T55" fmla="*/ 235 h 363"/>
                <a:gd name="T56" fmla="*/ 341 w 364"/>
                <a:gd name="T57" fmla="*/ 268 h 363"/>
                <a:gd name="T58" fmla="*/ 322 w 364"/>
                <a:gd name="T59" fmla="*/ 297 h 363"/>
                <a:gd name="T60" fmla="*/ 298 w 364"/>
                <a:gd name="T61" fmla="*/ 322 h 363"/>
                <a:gd name="T62" fmla="*/ 269 w 364"/>
                <a:gd name="T63" fmla="*/ 342 h 363"/>
                <a:gd name="T64" fmla="*/ 236 w 364"/>
                <a:gd name="T65" fmla="*/ 355 h 363"/>
                <a:gd name="T66" fmla="*/ 200 w 364"/>
                <a:gd name="T67" fmla="*/ 362 h 363"/>
                <a:gd name="T68" fmla="*/ 182 w 364"/>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4" h="363">
                  <a:moveTo>
                    <a:pt x="182" y="363"/>
                  </a:moveTo>
                  <a:lnTo>
                    <a:pt x="182" y="363"/>
                  </a:lnTo>
                  <a:lnTo>
                    <a:pt x="164" y="362"/>
                  </a:lnTo>
                  <a:lnTo>
                    <a:pt x="146" y="360"/>
                  </a:lnTo>
                  <a:lnTo>
                    <a:pt x="128" y="355"/>
                  </a:lnTo>
                  <a:lnTo>
                    <a:pt x="111" y="349"/>
                  </a:lnTo>
                  <a:lnTo>
                    <a:pt x="95" y="342"/>
                  </a:lnTo>
                  <a:lnTo>
                    <a:pt x="81" y="332"/>
                  </a:lnTo>
                  <a:lnTo>
                    <a:pt x="66" y="322"/>
                  </a:lnTo>
                  <a:lnTo>
                    <a:pt x="54" y="310"/>
                  </a:lnTo>
                  <a:lnTo>
                    <a:pt x="42" y="297"/>
                  </a:lnTo>
                  <a:lnTo>
                    <a:pt x="31" y="284"/>
                  </a:lnTo>
                  <a:lnTo>
                    <a:pt x="23" y="268"/>
                  </a:lnTo>
                  <a:lnTo>
                    <a:pt x="14" y="252"/>
                  </a:lnTo>
                  <a:lnTo>
                    <a:pt x="8" y="235"/>
                  </a:lnTo>
                  <a:lnTo>
                    <a:pt x="3" y="218"/>
                  </a:lnTo>
                  <a:lnTo>
                    <a:pt x="1" y="200"/>
                  </a:lnTo>
                  <a:lnTo>
                    <a:pt x="0" y="181"/>
                  </a:lnTo>
                  <a:lnTo>
                    <a:pt x="0" y="181"/>
                  </a:lnTo>
                  <a:lnTo>
                    <a:pt x="1" y="163"/>
                  </a:lnTo>
                  <a:lnTo>
                    <a:pt x="3" y="145"/>
                  </a:lnTo>
                  <a:lnTo>
                    <a:pt x="8" y="128"/>
                  </a:lnTo>
                  <a:lnTo>
                    <a:pt x="14" y="111"/>
                  </a:lnTo>
                  <a:lnTo>
                    <a:pt x="23" y="95"/>
                  </a:lnTo>
                  <a:lnTo>
                    <a:pt x="31" y="80"/>
                  </a:lnTo>
                  <a:lnTo>
                    <a:pt x="42" y="66"/>
                  </a:lnTo>
                  <a:lnTo>
                    <a:pt x="54" y="53"/>
                  </a:lnTo>
                  <a:lnTo>
                    <a:pt x="66" y="41"/>
                  </a:lnTo>
                  <a:lnTo>
                    <a:pt x="81" y="31"/>
                  </a:lnTo>
                  <a:lnTo>
                    <a:pt x="95" y="22"/>
                  </a:lnTo>
                  <a:lnTo>
                    <a:pt x="111" y="15"/>
                  </a:lnTo>
                  <a:lnTo>
                    <a:pt x="128" y="8"/>
                  </a:lnTo>
                  <a:lnTo>
                    <a:pt x="146" y="4"/>
                  </a:lnTo>
                  <a:lnTo>
                    <a:pt x="164" y="1"/>
                  </a:lnTo>
                  <a:lnTo>
                    <a:pt x="182" y="0"/>
                  </a:lnTo>
                  <a:lnTo>
                    <a:pt x="182" y="0"/>
                  </a:lnTo>
                  <a:lnTo>
                    <a:pt x="200" y="1"/>
                  </a:lnTo>
                  <a:lnTo>
                    <a:pt x="218" y="4"/>
                  </a:lnTo>
                  <a:lnTo>
                    <a:pt x="236" y="8"/>
                  </a:lnTo>
                  <a:lnTo>
                    <a:pt x="253" y="15"/>
                  </a:lnTo>
                  <a:lnTo>
                    <a:pt x="269" y="22"/>
                  </a:lnTo>
                  <a:lnTo>
                    <a:pt x="283" y="31"/>
                  </a:lnTo>
                  <a:lnTo>
                    <a:pt x="298" y="41"/>
                  </a:lnTo>
                  <a:lnTo>
                    <a:pt x="310" y="53"/>
                  </a:lnTo>
                  <a:lnTo>
                    <a:pt x="322" y="66"/>
                  </a:lnTo>
                  <a:lnTo>
                    <a:pt x="333" y="80"/>
                  </a:lnTo>
                  <a:lnTo>
                    <a:pt x="341" y="95"/>
                  </a:lnTo>
                  <a:lnTo>
                    <a:pt x="350" y="111"/>
                  </a:lnTo>
                  <a:lnTo>
                    <a:pt x="356" y="128"/>
                  </a:lnTo>
                  <a:lnTo>
                    <a:pt x="361" y="145"/>
                  </a:lnTo>
                  <a:lnTo>
                    <a:pt x="363" y="163"/>
                  </a:lnTo>
                  <a:lnTo>
                    <a:pt x="364" y="181"/>
                  </a:lnTo>
                  <a:lnTo>
                    <a:pt x="364" y="181"/>
                  </a:lnTo>
                  <a:lnTo>
                    <a:pt x="363" y="200"/>
                  </a:lnTo>
                  <a:lnTo>
                    <a:pt x="361" y="218"/>
                  </a:lnTo>
                  <a:lnTo>
                    <a:pt x="356" y="235"/>
                  </a:lnTo>
                  <a:lnTo>
                    <a:pt x="350" y="252"/>
                  </a:lnTo>
                  <a:lnTo>
                    <a:pt x="341" y="268"/>
                  </a:lnTo>
                  <a:lnTo>
                    <a:pt x="333" y="284"/>
                  </a:lnTo>
                  <a:lnTo>
                    <a:pt x="322" y="297"/>
                  </a:lnTo>
                  <a:lnTo>
                    <a:pt x="310" y="310"/>
                  </a:lnTo>
                  <a:lnTo>
                    <a:pt x="298" y="322"/>
                  </a:lnTo>
                  <a:lnTo>
                    <a:pt x="283" y="332"/>
                  </a:lnTo>
                  <a:lnTo>
                    <a:pt x="269" y="342"/>
                  </a:lnTo>
                  <a:lnTo>
                    <a:pt x="253" y="349"/>
                  </a:lnTo>
                  <a:lnTo>
                    <a:pt x="236" y="355"/>
                  </a:lnTo>
                  <a:lnTo>
                    <a:pt x="218" y="360"/>
                  </a:lnTo>
                  <a:lnTo>
                    <a:pt x="200" y="362"/>
                  </a:lnTo>
                  <a:lnTo>
                    <a:pt x="182" y="363"/>
                  </a:lnTo>
                  <a:lnTo>
                    <a:pt x="182" y="363"/>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411" name="Freeform 410"/>
            <p:cNvSpPr>
              <a:spLocks/>
            </p:cNvSpPr>
            <p:nvPr/>
          </p:nvSpPr>
          <p:spPr bwMode="auto">
            <a:xfrm flipH="1">
              <a:off x="10691824"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20 w 641"/>
                <a:gd name="T17" fmla="*/ 431 h 641"/>
                <a:gd name="T18" fmla="*/ 8 w 641"/>
                <a:gd name="T19" fmla="*/ 385 h 641"/>
                <a:gd name="T20" fmla="*/ 0 w 641"/>
                <a:gd name="T21" fmla="*/ 337 h 641"/>
                <a:gd name="T22" fmla="*/ 0 w 641"/>
                <a:gd name="T23" fmla="*/ 304 h 641"/>
                <a:gd name="T24" fmla="*/ 8 w 641"/>
                <a:gd name="T25" fmla="*/ 256 h 641"/>
                <a:gd name="T26" fmla="*/ 20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3 w 641"/>
                <a:gd name="T53" fmla="*/ 64 h 641"/>
                <a:gd name="T54" fmla="*/ 547 w 641"/>
                <a:gd name="T55" fmla="*/ 94 h 641"/>
                <a:gd name="T56" fmla="*/ 578 w 641"/>
                <a:gd name="T57" fmla="*/ 129 h 641"/>
                <a:gd name="T58" fmla="*/ 603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3 w 641"/>
                <a:gd name="T73" fmla="*/ 473 h 641"/>
                <a:gd name="T74" fmla="*/ 578 w 641"/>
                <a:gd name="T75" fmla="*/ 512 h 641"/>
                <a:gd name="T76" fmla="*/ 547 w 641"/>
                <a:gd name="T77" fmla="*/ 547 h 641"/>
                <a:gd name="T78" fmla="*/ 513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9" y="640"/>
                  </a:lnTo>
                  <a:lnTo>
                    <a:pt x="272" y="637"/>
                  </a:lnTo>
                  <a:lnTo>
                    <a:pt x="256" y="635"/>
                  </a:lnTo>
                  <a:lnTo>
                    <a:pt x="241" y="631"/>
                  </a:lnTo>
                  <a:lnTo>
                    <a:pt x="226" y="627"/>
                  </a:lnTo>
                  <a:lnTo>
                    <a:pt x="210" y="622"/>
                  </a:lnTo>
                  <a:lnTo>
                    <a:pt x="196" y="616"/>
                  </a:lnTo>
                  <a:lnTo>
                    <a:pt x="183" y="610"/>
                  </a:lnTo>
                  <a:lnTo>
                    <a:pt x="168" y="602"/>
                  </a:lnTo>
                  <a:lnTo>
                    <a:pt x="155" y="595"/>
                  </a:lnTo>
                  <a:lnTo>
                    <a:pt x="142" y="587"/>
                  </a:lnTo>
                  <a:lnTo>
                    <a:pt x="129" y="577"/>
                  </a:lnTo>
                  <a:lnTo>
                    <a:pt x="117" y="567"/>
                  </a:lnTo>
                  <a:lnTo>
                    <a:pt x="105" y="558"/>
                  </a:lnTo>
                  <a:lnTo>
                    <a:pt x="94" y="547"/>
                  </a:lnTo>
                  <a:lnTo>
                    <a:pt x="84" y="536"/>
                  </a:lnTo>
                  <a:lnTo>
                    <a:pt x="74" y="524"/>
                  </a:lnTo>
                  <a:lnTo>
                    <a:pt x="64" y="512"/>
                  </a:lnTo>
                  <a:lnTo>
                    <a:pt x="56" y="500"/>
                  </a:lnTo>
                  <a:lnTo>
                    <a:pt x="47" y="487"/>
                  </a:lnTo>
                  <a:lnTo>
                    <a:pt x="39" y="473"/>
                  </a:lnTo>
                  <a:lnTo>
                    <a:pt x="32" y="460"/>
                  </a:lnTo>
                  <a:lnTo>
                    <a:pt x="26" y="446"/>
                  </a:lnTo>
                  <a:lnTo>
                    <a:pt x="20" y="431"/>
                  </a:lnTo>
                  <a:lnTo>
                    <a:pt x="15" y="415"/>
                  </a:lnTo>
                  <a:lnTo>
                    <a:pt x="10" y="401"/>
                  </a:lnTo>
                  <a:lnTo>
                    <a:pt x="8" y="385"/>
                  </a:lnTo>
                  <a:lnTo>
                    <a:pt x="4" y="370"/>
                  </a:lnTo>
                  <a:lnTo>
                    <a:pt x="2" y="354"/>
                  </a:lnTo>
                  <a:lnTo>
                    <a:pt x="0" y="337"/>
                  </a:lnTo>
                  <a:lnTo>
                    <a:pt x="0" y="320"/>
                  </a:lnTo>
                  <a:lnTo>
                    <a:pt x="0" y="320"/>
                  </a:lnTo>
                  <a:lnTo>
                    <a:pt x="0" y="304"/>
                  </a:lnTo>
                  <a:lnTo>
                    <a:pt x="2" y="287"/>
                  </a:lnTo>
                  <a:lnTo>
                    <a:pt x="4" y="272"/>
                  </a:lnTo>
                  <a:lnTo>
                    <a:pt x="8" y="256"/>
                  </a:lnTo>
                  <a:lnTo>
                    <a:pt x="10" y="240"/>
                  </a:lnTo>
                  <a:lnTo>
                    <a:pt x="15" y="226"/>
                  </a:lnTo>
                  <a:lnTo>
                    <a:pt x="20" y="210"/>
                  </a:lnTo>
                  <a:lnTo>
                    <a:pt x="26" y="196"/>
                  </a:lnTo>
                  <a:lnTo>
                    <a:pt x="32" y="181"/>
                  </a:lnTo>
                  <a:lnTo>
                    <a:pt x="39" y="168"/>
                  </a:lnTo>
                  <a:lnTo>
                    <a:pt x="47" y="155"/>
                  </a:lnTo>
                  <a:lnTo>
                    <a:pt x="56" y="141"/>
                  </a:lnTo>
                  <a:lnTo>
                    <a:pt x="64" y="129"/>
                  </a:lnTo>
                  <a:lnTo>
                    <a:pt x="74" y="117"/>
                  </a:lnTo>
                  <a:lnTo>
                    <a:pt x="84" y="105"/>
                  </a:lnTo>
                  <a:lnTo>
                    <a:pt x="94" y="94"/>
                  </a:lnTo>
                  <a:lnTo>
                    <a:pt x="105" y="84"/>
                  </a:lnTo>
                  <a:lnTo>
                    <a:pt x="117" y="74"/>
                  </a:lnTo>
                  <a:lnTo>
                    <a:pt x="129" y="64"/>
                  </a:lnTo>
                  <a:lnTo>
                    <a:pt x="142" y="55"/>
                  </a:lnTo>
                  <a:lnTo>
                    <a:pt x="155" y="46"/>
                  </a:lnTo>
                  <a:lnTo>
                    <a:pt x="168" y="39"/>
                  </a:lnTo>
                  <a:lnTo>
                    <a:pt x="183" y="32"/>
                  </a:lnTo>
                  <a:lnTo>
                    <a:pt x="196" y="26"/>
                  </a:lnTo>
                  <a:lnTo>
                    <a:pt x="210" y="20"/>
                  </a:lnTo>
                  <a:lnTo>
                    <a:pt x="226" y="15"/>
                  </a:lnTo>
                  <a:lnTo>
                    <a:pt x="241" y="10"/>
                  </a:lnTo>
                  <a:lnTo>
                    <a:pt x="256" y="6"/>
                  </a:lnTo>
                  <a:lnTo>
                    <a:pt x="272" y="4"/>
                  </a:lnTo>
                  <a:lnTo>
                    <a:pt x="289" y="1"/>
                  </a:lnTo>
                  <a:lnTo>
                    <a:pt x="304" y="0"/>
                  </a:lnTo>
                  <a:lnTo>
                    <a:pt x="321" y="0"/>
                  </a:lnTo>
                  <a:lnTo>
                    <a:pt x="321" y="0"/>
                  </a:lnTo>
                  <a:lnTo>
                    <a:pt x="337" y="0"/>
                  </a:lnTo>
                  <a:lnTo>
                    <a:pt x="354" y="1"/>
                  </a:lnTo>
                  <a:lnTo>
                    <a:pt x="370" y="4"/>
                  </a:lnTo>
                  <a:lnTo>
                    <a:pt x="385" y="6"/>
                  </a:lnTo>
                  <a:lnTo>
                    <a:pt x="401" y="10"/>
                  </a:lnTo>
                  <a:lnTo>
                    <a:pt x="417" y="15"/>
                  </a:lnTo>
                  <a:lnTo>
                    <a:pt x="431" y="20"/>
                  </a:lnTo>
                  <a:lnTo>
                    <a:pt x="446" y="26"/>
                  </a:lnTo>
                  <a:lnTo>
                    <a:pt x="460" y="32"/>
                  </a:lnTo>
                  <a:lnTo>
                    <a:pt x="473" y="39"/>
                  </a:lnTo>
                  <a:lnTo>
                    <a:pt x="487" y="46"/>
                  </a:lnTo>
                  <a:lnTo>
                    <a:pt x="500" y="55"/>
                  </a:lnTo>
                  <a:lnTo>
                    <a:pt x="513" y="64"/>
                  </a:lnTo>
                  <a:lnTo>
                    <a:pt x="525" y="74"/>
                  </a:lnTo>
                  <a:lnTo>
                    <a:pt x="536" y="84"/>
                  </a:lnTo>
                  <a:lnTo>
                    <a:pt x="547" y="94"/>
                  </a:lnTo>
                  <a:lnTo>
                    <a:pt x="558" y="105"/>
                  </a:lnTo>
                  <a:lnTo>
                    <a:pt x="569" y="117"/>
                  </a:lnTo>
                  <a:lnTo>
                    <a:pt x="578" y="129"/>
                  </a:lnTo>
                  <a:lnTo>
                    <a:pt x="587" y="141"/>
                  </a:lnTo>
                  <a:lnTo>
                    <a:pt x="595" y="155"/>
                  </a:lnTo>
                  <a:lnTo>
                    <a:pt x="603" y="168"/>
                  </a:lnTo>
                  <a:lnTo>
                    <a:pt x="610" y="181"/>
                  </a:lnTo>
                  <a:lnTo>
                    <a:pt x="616" y="196"/>
                  </a:lnTo>
                  <a:lnTo>
                    <a:pt x="622" y="210"/>
                  </a:lnTo>
                  <a:lnTo>
                    <a:pt x="627" y="226"/>
                  </a:lnTo>
                  <a:lnTo>
                    <a:pt x="632" y="240"/>
                  </a:lnTo>
                  <a:lnTo>
                    <a:pt x="635" y="256"/>
                  </a:lnTo>
                  <a:lnTo>
                    <a:pt x="638" y="272"/>
                  </a:lnTo>
                  <a:lnTo>
                    <a:pt x="640" y="287"/>
                  </a:lnTo>
                  <a:lnTo>
                    <a:pt x="641" y="304"/>
                  </a:lnTo>
                  <a:lnTo>
                    <a:pt x="641" y="320"/>
                  </a:lnTo>
                  <a:lnTo>
                    <a:pt x="641" y="320"/>
                  </a:lnTo>
                  <a:lnTo>
                    <a:pt x="641" y="337"/>
                  </a:lnTo>
                  <a:lnTo>
                    <a:pt x="640" y="354"/>
                  </a:lnTo>
                  <a:lnTo>
                    <a:pt x="638" y="370"/>
                  </a:lnTo>
                  <a:lnTo>
                    <a:pt x="635" y="385"/>
                  </a:lnTo>
                  <a:lnTo>
                    <a:pt x="632" y="401"/>
                  </a:lnTo>
                  <a:lnTo>
                    <a:pt x="627" y="415"/>
                  </a:lnTo>
                  <a:lnTo>
                    <a:pt x="622" y="431"/>
                  </a:lnTo>
                  <a:lnTo>
                    <a:pt x="616" y="446"/>
                  </a:lnTo>
                  <a:lnTo>
                    <a:pt x="610" y="460"/>
                  </a:lnTo>
                  <a:lnTo>
                    <a:pt x="603" y="473"/>
                  </a:lnTo>
                  <a:lnTo>
                    <a:pt x="595" y="487"/>
                  </a:lnTo>
                  <a:lnTo>
                    <a:pt x="587" y="500"/>
                  </a:lnTo>
                  <a:lnTo>
                    <a:pt x="578" y="512"/>
                  </a:lnTo>
                  <a:lnTo>
                    <a:pt x="569" y="524"/>
                  </a:lnTo>
                  <a:lnTo>
                    <a:pt x="558" y="536"/>
                  </a:lnTo>
                  <a:lnTo>
                    <a:pt x="547" y="547"/>
                  </a:lnTo>
                  <a:lnTo>
                    <a:pt x="536" y="558"/>
                  </a:lnTo>
                  <a:lnTo>
                    <a:pt x="525" y="567"/>
                  </a:lnTo>
                  <a:lnTo>
                    <a:pt x="513" y="577"/>
                  </a:lnTo>
                  <a:lnTo>
                    <a:pt x="500" y="587"/>
                  </a:lnTo>
                  <a:lnTo>
                    <a:pt x="487" y="595"/>
                  </a:lnTo>
                  <a:lnTo>
                    <a:pt x="473" y="602"/>
                  </a:lnTo>
                  <a:lnTo>
                    <a:pt x="460" y="610"/>
                  </a:lnTo>
                  <a:lnTo>
                    <a:pt x="446" y="616"/>
                  </a:lnTo>
                  <a:lnTo>
                    <a:pt x="431" y="622"/>
                  </a:lnTo>
                  <a:lnTo>
                    <a:pt x="417" y="627"/>
                  </a:lnTo>
                  <a:lnTo>
                    <a:pt x="401" y="631"/>
                  </a:lnTo>
                  <a:lnTo>
                    <a:pt x="385" y="635"/>
                  </a:lnTo>
                  <a:lnTo>
                    <a:pt x="370" y="637"/>
                  </a:lnTo>
                  <a:lnTo>
                    <a:pt x="354" y="640"/>
                  </a:lnTo>
                  <a:lnTo>
                    <a:pt x="337" y="641"/>
                  </a:lnTo>
                  <a:lnTo>
                    <a:pt x="321" y="641"/>
                  </a:lnTo>
                  <a:lnTo>
                    <a:pt x="321" y="641"/>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412" name="Freeform 411"/>
            <p:cNvSpPr>
              <a:spLocks/>
            </p:cNvSpPr>
            <p:nvPr/>
          </p:nvSpPr>
          <p:spPr bwMode="auto">
            <a:xfrm flipH="1">
              <a:off x="10745798" y="6386520"/>
              <a:ext cx="144463" cy="142876"/>
            </a:xfrm>
            <a:custGeom>
              <a:avLst/>
              <a:gdLst>
                <a:gd name="T0" fmla="*/ 182 w 363"/>
                <a:gd name="T1" fmla="*/ 363 h 363"/>
                <a:gd name="T2" fmla="*/ 145 w 363"/>
                <a:gd name="T3" fmla="*/ 360 h 363"/>
                <a:gd name="T4" fmla="*/ 111 w 363"/>
                <a:gd name="T5" fmla="*/ 349 h 363"/>
                <a:gd name="T6" fmla="*/ 81 w 363"/>
                <a:gd name="T7" fmla="*/ 332 h 363"/>
                <a:gd name="T8" fmla="*/ 53 w 363"/>
                <a:gd name="T9" fmla="*/ 310 h 363"/>
                <a:gd name="T10" fmla="*/ 32 w 363"/>
                <a:gd name="T11" fmla="*/ 284 h 363"/>
                <a:gd name="T12" fmla="*/ 15 w 363"/>
                <a:gd name="T13" fmla="*/ 252 h 363"/>
                <a:gd name="T14" fmla="*/ 4 w 363"/>
                <a:gd name="T15" fmla="*/ 218 h 363"/>
                <a:gd name="T16" fmla="*/ 0 w 363"/>
                <a:gd name="T17" fmla="*/ 181 h 363"/>
                <a:gd name="T18" fmla="*/ 1 w 363"/>
                <a:gd name="T19" fmla="*/ 163 h 363"/>
                <a:gd name="T20" fmla="*/ 9 w 363"/>
                <a:gd name="T21" fmla="*/ 128 h 363"/>
                <a:gd name="T22" fmla="*/ 22 w 363"/>
                <a:gd name="T23" fmla="*/ 95 h 363"/>
                <a:gd name="T24" fmla="*/ 42 w 363"/>
                <a:gd name="T25" fmla="*/ 66 h 363"/>
                <a:gd name="T26" fmla="*/ 67 w 363"/>
                <a:gd name="T27" fmla="*/ 41 h 363"/>
                <a:gd name="T28" fmla="*/ 95 w 363"/>
                <a:gd name="T29" fmla="*/ 22 h 363"/>
                <a:gd name="T30" fmla="*/ 128 w 363"/>
                <a:gd name="T31" fmla="*/ 8 h 363"/>
                <a:gd name="T32" fmla="*/ 163 w 363"/>
                <a:gd name="T33" fmla="*/ 1 h 363"/>
                <a:gd name="T34" fmla="*/ 182 w 363"/>
                <a:gd name="T35" fmla="*/ 0 h 363"/>
                <a:gd name="T36" fmla="*/ 219 w 363"/>
                <a:gd name="T37" fmla="*/ 4 h 363"/>
                <a:gd name="T38" fmla="*/ 252 w 363"/>
                <a:gd name="T39" fmla="*/ 15 h 363"/>
                <a:gd name="T40" fmla="*/ 284 w 363"/>
                <a:gd name="T41" fmla="*/ 31 h 363"/>
                <a:gd name="T42" fmla="*/ 310 w 363"/>
                <a:gd name="T43" fmla="*/ 53 h 363"/>
                <a:gd name="T44" fmla="*/ 333 w 363"/>
                <a:gd name="T45" fmla="*/ 80 h 363"/>
                <a:gd name="T46" fmla="*/ 350 w 363"/>
                <a:gd name="T47" fmla="*/ 111 h 363"/>
                <a:gd name="T48" fmla="*/ 360 w 363"/>
                <a:gd name="T49" fmla="*/ 145 h 363"/>
                <a:gd name="T50" fmla="*/ 363 w 363"/>
                <a:gd name="T51" fmla="*/ 181 h 363"/>
                <a:gd name="T52" fmla="*/ 363 w 363"/>
                <a:gd name="T53" fmla="*/ 200 h 363"/>
                <a:gd name="T54" fmla="*/ 356 w 363"/>
                <a:gd name="T55" fmla="*/ 235 h 363"/>
                <a:gd name="T56" fmla="*/ 342 w 363"/>
                <a:gd name="T57" fmla="*/ 268 h 363"/>
                <a:gd name="T58" fmla="*/ 322 w 363"/>
                <a:gd name="T59" fmla="*/ 297 h 363"/>
                <a:gd name="T60" fmla="*/ 298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1" y="332"/>
                  </a:lnTo>
                  <a:lnTo>
                    <a:pt x="67" y="322"/>
                  </a:lnTo>
                  <a:lnTo>
                    <a:pt x="53" y="310"/>
                  </a:lnTo>
                  <a:lnTo>
                    <a:pt x="42" y="297"/>
                  </a:lnTo>
                  <a:lnTo>
                    <a:pt x="32" y="284"/>
                  </a:lnTo>
                  <a:lnTo>
                    <a:pt x="22" y="268"/>
                  </a:lnTo>
                  <a:lnTo>
                    <a:pt x="15" y="252"/>
                  </a:lnTo>
                  <a:lnTo>
                    <a:pt x="9" y="235"/>
                  </a:lnTo>
                  <a:lnTo>
                    <a:pt x="4" y="218"/>
                  </a:lnTo>
                  <a:lnTo>
                    <a:pt x="1" y="200"/>
                  </a:lnTo>
                  <a:lnTo>
                    <a:pt x="0" y="181"/>
                  </a:lnTo>
                  <a:lnTo>
                    <a:pt x="0" y="181"/>
                  </a:lnTo>
                  <a:lnTo>
                    <a:pt x="1" y="163"/>
                  </a:lnTo>
                  <a:lnTo>
                    <a:pt x="4" y="145"/>
                  </a:lnTo>
                  <a:lnTo>
                    <a:pt x="9" y="128"/>
                  </a:lnTo>
                  <a:lnTo>
                    <a:pt x="15" y="111"/>
                  </a:lnTo>
                  <a:lnTo>
                    <a:pt x="22" y="95"/>
                  </a:lnTo>
                  <a:lnTo>
                    <a:pt x="32" y="80"/>
                  </a:lnTo>
                  <a:lnTo>
                    <a:pt x="42" y="66"/>
                  </a:lnTo>
                  <a:lnTo>
                    <a:pt x="53" y="53"/>
                  </a:lnTo>
                  <a:lnTo>
                    <a:pt x="67" y="41"/>
                  </a:lnTo>
                  <a:lnTo>
                    <a:pt x="81" y="31"/>
                  </a:lnTo>
                  <a:lnTo>
                    <a:pt x="95" y="22"/>
                  </a:lnTo>
                  <a:lnTo>
                    <a:pt x="111" y="15"/>
                  </a:lnTo>
                  <a:lnTo>
                    <a:pt x="128" y="8"/>
                  </a:lnTo>
                  <a:lnTo>
                    <a:pt x="145" y="4"/>
                  </a:lnTo>
                  <a:lnTo>
                    <a:pt x="163" y="1"/>
                  </a:lnTo>
                  <a:lnTo>
                    <a:pt x="182" y="0"/>
                  </a:lnTo>
                  <a:lnTo>
                    <a:pt x="182" y="0"/>
                  </a:lnTo>
                  <a:lnTo>
                    <a:pt x="200" y="1"/>
                  </a:lnTo>
                  <a:lnTo>
                    <a:pt x="219" y="4"/>
                  </a:lnTo>
                  <a:lnTo>
                    <a:pt x="235" y="8"/>
                  </a:lnTo>
                  <a:lnTo>
                    <a:pt x="252" y="15"/>
                  </a:lnTo>
                  <a:lnTo>
                    <a:pt x="268" y="22"/>
                  </a:lnTo>
                  <a:lnTo>
                    <a:pt x="284" y="31"/>
                  </a:lnTo>
                  <a:lnTo>
                    <a:pt x="298" y="41"/>
                  </a:lnTo>
                  <a:lnTo>
                    <a:pt x="310" y="53"/>
                  </a:lnTo>
                  <a:lnTo>
                    <a:pt x="322" y="66"/>
                  </a:lnTo>
                  <a:lnTo>
                    <a:pt x="333" y="80"/>
                  </a:lnTo>
                  <a:lnTo>
                    <a:pt x="342" y="95"/>
                  </a:lnTo>
                  <a:lnTo>
                    <a:pt x="350" y="111"/>
                  </a:lnTo>
                  <a:lnTo>
                    <a:pt x="356" y="128"/>
                  </a:lnTo>
                  <a:lnTo>
                    <a:pt x="360" y="145"/>
                  </a:lnTo>
                  <a:lnTo>
                    <a:pt x="363" y="163"/>
                  </a:lnTo>
                  <a:lnTo>
                    <a:pt x="363" y="181"/>
                  </a:lnTo>
                  <a:lnTo>
                    <a:pt x="363" y="181"/>
                  </a:lnTo>
                  <a:lnTo>
                    <a:pt x="363" y="200"/>
                  </a:lnTo>
                  <a:lnTo>
                    <a:pt x="360" y="218"/>
                  </a:lnTo>
                  <a:lnTo>
                    <a:pt x="356" y="235"/>
                  </a:lnTo>
                  <a:lnTo>
                    <a:pt x="350" y="252"/>
                  </a:lnTo>
                  <a:lnTo>
                    <a:pt x="342" y="268"/>
                  </a:lnTo>
                  <a:lnTo>
                    <a:pt x="333" y="284"/>
                  </a:lnTo>
                  <a:lnTo>
                    <a:pt x="322" y="297"/>
                  </a:lnTo>
                  <a:lnTo>
                    <a:pt x="310" y="310"/>
                  </a:lnTo>
                  <a:lnTo>
                    <a:pt x="298" y="322"/>
                  </a:lnTo>
                  <a:lnTo>
                    <a:pt x="284" y="332"/>
                  </a:lnTo>
                  <a:lnTo>
                    <a:pt x="268" y="342"/>
                  </a:lnTo>
                  <a:lnTo>
                    <a:pt x="252" y="349"/>
                  </a:lnTo>
                  <a:lnTo>
                    <a:pt x="235" y="355"/>
                  </a:lnTo>
                  <a:lnTo>
                    <a:pt x="219" y="360"/>
                  </a:lnTo>
                  <a:lnTo>
                    <a:pt x="200" y="362"/>
                  </a:lnTo>
                  <a:lnTo>
                    <a:pt x="182" y="363"/>
                  </a:lnTo>
                  <a:lnTo>
                    <a:pt x="182" y="363"/>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413" name="Freeform 412"/>
            <p:cNvSpPr>
              <a:spLocks/>
            </p:cNvSpPr>
            <p:nvPr/>
          </p:nvSpPr>
          <p:spPr bwMode="auto">
            <a:xfrm flipH="1">
              <a:off x="10287011"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19 w 641"/>
                <a:gd name="T17" fmla="*/ 431 h 641"/>
                <a:gd name="T18" fmla="*/ 6 w 641"/>
                <a:gd name="T19" fmla="*/ 385 h 641"/>
                <a:gd name="T20" fmla="*/ 0 w 641"/>
                <a:gd name="T21" fmla="*/ 337 h 641"/>
                <a:gd name="T22" fmla="*/ 0 w 641"/>
                <a:gd name="T23" fmla="*/ 304 h 641"/>
                <a:gd name="T24" fmla="*/ 6 w 641"/>
                <a:gd name="T25" fmla="*/ 256 h 641"/>
                <a:gd name="T26" fmla="*/ 19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2 w 641"/>
                <a:gd name="T53" fmla="*/ 64 h 641"/>
                <a:gd name="T54" fmla="*/ 547 w 641"/>
                <a:gd name="T55" fmla="*/ 94 h 641"/>
                <a:gd name="T56" fmla="*/ 577 w 641"/>
                <a:gd name="T57" fmla="*/ 129 h 641"/>
                <a:gd name="T58" fmla="*/ 602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2 w 641"/>
                <a:gd name="T73" fmla="*/ 473 h 641"/>
                <a:gd name="T74" fmla="*/ 577 w 641"/>
                <a:gd name="T75" fmla="*/ 512 h 641"/>
                <a:gd name="T76" fmla="*/ 547 w 641"/>
                <a:gd name="T77" fmla="*/ 547 h 641"/>
                <a:gd name="T78" fmla="*/ 512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7" y="640"/>
                  </a:lnTo>
                  <a:lnTo>
                    <a:pt x="272" y="637"/>
                  </a:lnTo>
                  <a:lnTo>
                    <a:pt x="256" y="635"/>
                  </a:lnTo>
                  <a:lnTo>
                    <a:pt x="240" y="631"/>
                  </a:lnTo>
                  <a:lnTo>
                    <a:pt x="226" y="627"/>
                  </a:lnTo>
                  <a:lnTo>
                    <a:pt x="210" y="622"/>
                  </a:lnTo>
                  <a:lnTo>
                    <a:pt x="196" y="616"/>
                  </a:lnTo>
                  <a:lnTo>
                    <a:pt x="181" y="610"/>
                  </a:lnTo>
                  <a:lnTo>
                    <a:pt x="168" y="602"/>
                  </a:lnTo>
                  <a:lnTo>
                    <a:pt x="155" y="595"/>
                  </a:lnTo>
                  <a:lnTo>
                    <a:pt x="141" y="587"/>
                  </a:lnTo>
                  <a:lnTo>
                    <a:pt x="129" y="577"/>
                  </a:lnTo>
                  <a:lnTo>
                    <a:pt x="117" y="567"/>
                  </a:lnTo>
                  <a:lnTo>
                    <a:pt x="105" y="558"/>
                  </a:lnTo>
                  <a:lnTo>
                    <a:pt x="94" y="547"/>
                  </a:lnTo>
                  <a:lnTo>
                    <a:pt x="83" y="536"/>
                  </a:lnTo>
                  <a:lnTo>
                    <a:pt x="74" y="524"/>
                  </a:lnTo>
                  <a:lnTo>
                    <a:pt x="64" y="512"/>
                  </a:lnTo>
                  <a:lnTo>
                    <a:pt x="54" y="500"/>
                  </a:lnTo>
                  <a:lnTo>
                    <a:pt x="46" y="487"/>
                  </a:lnTo>
                  <a:lnTo>
                    <a:pt x="39" y="473"/>
                  </a:lnTo>
                  <a:lnTo>
                    <a:pt x="31" y="460"/>
                  </a:lnTo>
                  <a:lnTo>
                    <a:pt x="25" y="446"/>
                  </a:lnTo>
                  <a:lnTo>
                    <a:pt x="19" y="431"/>
                  </a:lnTo>
                  <a:lnTo>
                    <a:pt x="15" y="415"/>
                  </a:lnTo>
                  <a:lnTo>
                    <a:pt x="10" y="401"/>
                  </a:lnTo>
                  <a:lnTo>
                    <a:pt x="6" y="385"/>
                  </a:lnTo>
                  <a:lnTo>
                    <a:pt x="4" y="370"/>
                  </a:lnTo>
                  <a:lnTo>
                    <a:pt x="1" y="354"/>
                  </a:lnTo>
                  <a:lnTo>
                    <a:pt x="0" y="337"/>
                  </a:lnTo>
                  <a:lnTo>
                    <a:pt x="0" y="320"/>
                  </a:lnTo>
                  <a:lnTo>
                    <a:pt x="0" y="320"/>
                  </a:lnTo>
                  <a:lnTo>
                    <a:pt x="0" y="304"/>
                  </a:lnTo>
                  <a:lnTo>
                    <a:pt x="1" y="287"/>
                  </a:lnTo>
                  <a:lnTo>
                    <a:pt x="4" y="272"/>
                  </a:lnTo>
                  <a:lnTo>
                    <a:pt x="6" y="256"/>
                  </a:lnTo>
                  <a:lnTo>
                    <a:pt x="10" y="240"/>
                  </a:lnTo>
                  <a:lnTo>
                    <a:pt x="15" y="226"/>
                  </a:lnTo>
                  <a:lnTo>
                    <a:pt x="19" y="210"/>
                  </a:lnTo>
                  <a:lnTo>
                    <a:pt x="25" y="196"/>
                  </a:lnTo>
                  <a:lnTo>
                    <a:pt x="31" y="181"/>
                  </a:lnTo>
                  <a:lnTo>
                    <a:pt x="39" y="168"/>
                  </a:lnTo>
                  <a:lnTo>
                    <a:pt x="46" y="155"/>
                  </a:lnTo>
                  <a:lnTo>
                    <a:pt x="54" y="141"/>
                  </a:lnTo>
                  <a:lnTo>
                    <a:pt x="64" y="129"/>
                  </a:lnTo>
                  <a:lnTo>
                    <a:pt x="74" y="117"/>
                  </a:lnTo>
                  <a:lnTo>
                    <a:pt x="83" y="105"/>
                  </a:lnTo>
                  <a:lnTo>
                    <a:pt x="94" y="94"/>
                  </a:lnTo>
                  <a:lnTo>
                    <a:pt x="105" y="84"/>
                  </a:lnTo>
                  <a:lnTo>
                    <a:pt x="117" y="74"/>
                  </a:lnTo>
                  <a:lnTo>
                    <a:pt x="129" y="64"/>
                  </a:lnTo>
                  <a:lnTo>
                    <a:pt x="141" y="55"/>
                  </a:lnTo>
                  <a:lnTo>
                    <a:pt x="155" y="46"/>
                  </a:lnTo>
                  <a:lnTo>
                    <a:pt x="168" y="39"/>
                  </a:lnTo>
                  <a:lnTo>
                    <a:pt x="181" y="32"/>
                  </a:lnTo>
                  <a:lnTo>
                    <a:pt x="196" y="26"/>
                  </a:lnTo>
                  <a:lnTo>
                    <a:pt x="210" y="20"/>
                  </a:lnTo>
                  <a:lnTo>
                    <a:pt x="226" y="15"/>
                  </a:lnTo>
                  <a:lnTo>
                    <a:pt x="240" y="10"/>
                  </a:lnTo>
                  <a:lnTo>
                    <a:pt x="256" y="6"/>
                  </a:lnTo>
                  <a:lnTo>
                    <a:pt x="272" y="4"/>
                  </a:lnTo>
                  <a:lnTo>
                    <a:pt x="287" y="1"/>
                  </a:lnTo>
                  <a:lnTo>
                    <a:pt x="304" y="0"/>
                  </a:lnTo>
                  <a:lnTo>
                    <a:pt x="321" y="0"/>
                  </a:lnTo>
                  <a:lnTo>
                    <a:pt x="321" y="0"/>
                  </a:lnTo>
                  <a:lnTo>
                    <a:pt x="337" y="0"/>
                  </a:lnTo>
                  <a:lnTo>
                    <a:pt x="354" y="1"/>
                  </a:lnTo>
                  <a:lnTo>
                    <a:pt x="369" y="4"/>
                  </a:lnTo>
                  <a:lnTo>
                    <a:pt x="385" y="6"/>
                  </a:lnTo>
                  <a:lnTo>
                    <a:pt x="401" y="10"/>
                  </a:lnTo>
                  <a:lnTo>
                    <a:pt x="415" y="15"/>
                  </a:lnTo>
                  <a:lnTo>
                    <a:pt x="431" y="20"/>
                  </a:lnTo>
                  <a:lnTo>
                    <a:pt x="445" y="26"/>
                  </a:lnTo>
                  <a:lnTo>
                    <a:pt x="460" y="32"/>
                  </a:lnTo>
                  <a:lnTo>
                    <a:pt x="473" y="39"/>
                  </a:lnTo>
                  <a:lnTo>
                    <a:pt x="486" y="46"/>
                  </a:lnTo>
                  <a:lnTo>
                    <a:pt x="500" y="55"/>
                  </a:lnTo>
                  <a:lnTo>
                    <a:pt x="512" y="64"/>
                  </a:lnTo>
                  <a:lnTo>
                    <a:pt x="524" y="74"/>
                  </a:lnTo>
                  <a:lnTo>
                    <a:pt x="536" y="84"/>
                  </a:lnTo>
                  <a:lnTo>
                    <a:pt x="547" y="94"/>
                  </a:lnTo>
                  <a:lnTo>
                    <a:pt x="558" y="105"/>
                  </a:lnTo>
                  <a:lnTo>
                    <a:pt x="567" y="117"/>
                  </a:lnTo>
                  <a:lnTo>
                    <a:pt x="577" y="129"/>
                  </a:lnTo>
                  <a:lnTo>
                    <a:pt x="587" y="141"/>
                  </a:lnTo>
                  <a:lnTo>
                    <a:pt x="595" y="155"/>
                  </a:lnTo>
                  <a:lnTo>
                    <a:pt x="602" y="168"/>
                  </a:lnTo>
                  <a:lnTo>
                    <a:pt x="610" y="181"/>
                  </a:lnTo>
                  <a:lnTo>
                    <a:pt x="616" y="196"/>
                  </a:lnTo>
                  <a:lnTo>
                    <a:pt x="622" y="210"/>
                  </a:lnTo>
                  <a:lnTo>
                    <a:pt x="626" y="226"/>
                  </a:lnTo>
                  <a:lnTo>
                    <a:pt x="631" y="240"/>
                  </a:lnTo>
                  <a:lnTo>
                    <a:pt x="635" y="256"/>
                  </a:lnTo>
                  <a:lnTo>
                    <a:pt x="637" y="272"/>
                  </a:lnTo>
                  <a:lnTo>
                    <a:pt x="640" y="287"/>
                  </a:lnTo>
                  <a:lnTo>
                    <a:pt x="641" y="304"/>
                  </a:lnTo>
                  <a:lnTo>
                    <a:pt x="641" y="320"/>
                  </a:lnTo>
                  <a:lnTo>
                    <a:pt x="641" y="320"/>
                  </a:lnTo>
                  <a:lnTo>
                    <a:pt x="641" y="337"/>
                  </a:lnTo>
                  <a:lnTo>
                    <a:pt x="640" y="354"/>
                  </a:lnTo>
                  <a:lnTo>
                    <a:pt x="637" y="370"/>
                  </a:lnTo>
                  <a:lnTo>
                    <a:pt x="635" y="385"/>
                  </a:lnTo>
                  <a:lnTo>
                    <a:pt x="631" y="401"/>
                  </a:lnTo>
                  <a:lnTo>
                    <a:pt x="626" y="415"/>
                  </a:lnTo>
                  <a:lnTo>
                    <a:pt x="622" y="431"/>
                  </a:lnTo>
                  <a:lnTo>
                    <a:pt x="616" y="446"/>
                  </a:lnTo>
                  <a:lnTo>
                    <a:pt x="610" y="460"/>
                  </a:lnTo>
                  <a:lnTo>
                    <a:pt x="602" y="473"/>
                  </a:lnTo>
                  <a:lnTo>
                    <a:pt x="595" y="487"/>
                  </a:lnTo>
                  <a:lnTo>
                    <a:pt x="587" y="500"/>
                  </a:lnTo>
                  <a:lnTo>
                    <a:pt x="577" y="512"/>
                  </a:lnTo>
                  <a:lnTo>
                    <a:pt x="567" y="524"/>
                  </a:lnTo>
                  <a:lnTo>
                    <a:pt x="558" y="536"/>
                  </a:lnTo>
                  <a:lnTo>
                    <a:pt x="547" y="547"/>
                  </a:lnTo>
                  <a:lnTo>
                    <a:pt x="536" y="558"/>
                  </a:lnTo>
                  <a:lnTo>
                    <a:pt x="524" y="567"/>
                  </a:lnTo>
                  <a:lnTo>
                    <a:pt x="512" y="577"/>
                  </a:lnTo>
                  <a:lnTo>
                    <a:pt x="500" y="587"/>
                  </a:lnTo>
                  <a:lnTo>
                    <a:pt x="486" y="595"/>
                  </a:lnTo>
                  <a:lnTo>
                    <a:pt x="473" y="602"/>
                  </a:lnTo>
                  <a:lnTo>
                    <a:pt x="460" y="610"/>
                  </a:lnTo>
                  <a:lnTo>
                    <a:pt x="445" y="616"/>
                  </a:lnTo>
                  <a:lnTo>
                    <a:pt x="431" y="622"/>
                  </a:lnTo>
                  <a:lnTo>
                    <a:pt x="415" y="627"/>
                  </a:lnTo>
                  <a:lnTo>
                    <a:pt x="401" y="631"/>
                  </a:lnTo>
                  <a:lnTo>
                    <a:pt x="385" y="635"/>
                  </a:lnTo>
                  <a:lnTo>
                    <a:pt x="369" y="637"/>
                  </a:lnTo>
                  <a:lnTo>
                    <a:pt x="354" y="640"/>
                  </a:lnTo>
                  <a:lnTo>
                    <a:pt x="337" y="641"/>
                  </a:lnTo>
                  <a:lnTo>
                    <a:pt x="321" y="641"/>
                  </a:lnTo>
                  <a:lnTo>
                    <a:pt x="321" y="641"/>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414" name="Freeform 413"/>
            <p:cNvSpPr>
              <a:spLocks/>
            </p:cNvSpPr>
            <p:nvPr/>
          </p:nvSpPr>
          <p:spPr bwMode="auto">
            <a:xfrm flipH="1">
              <a:off x="10340985" y="6386520"/>
              <a:ext cx="144463" cy="142876"/>
            </a:xfrm>
            <a:custGeom>
              <a:avLst/>
              <a:gdLst>
                <a:gd name="T0" fmla="*/ 182 w 363"/>
                <a:gd name="T1" fmla="*/ 363 h 363"/>
                <a:gd name="T2" fmla="*/ 145 w 363"/>
                <a:gd name="T3" fmla="*/ 360 h 363"/>
                <a:gd name="T4" fmla="*/ 111 w 363"/>
                <a:gd name="T5" fmla="*/ 349 h 363"/>
                <a:gd name="T6" fmla="*/ 80 w 363"/>
                <a:gd name="T7" fmla="*/ 332 h 363"/>
                <a:gd name="T8" fmla="*/ 53 w 363"/>
                <a:gd name="T9" fmla="*/ 310 h 363"/>
                <a:gd name="T10" fmla="*/ 31 w 363"/>
                <a:gd name="T11" fmla="*/ 284 h 363"/>
                <a:gd name="T12" fmla="*/ 14 w 363"/>
                <a:gd name="T13" fmla="*/ 252 h 363"/>
                <a:gd name="T14" fmla="*/ 4 w 363"/>
                <a:gd name="T15" fmla="*/ 218 h 363"/>
                <a:gd name="T16" fmla="*/ 0 w 363"/>
                <a:gd name="T17" fmla="*/ 181 h 363"/>
                <a:gd name="T18" fmla="*/ 1 w 363"/>
                <a:gd name="T19" fmla="*/ 163 h 363"/>
                <a:gd name="T20" fmla="*/ 8 w 363"/>
                <a:gd name="T21" fmla="*/ 128 h 363"/>
                <a:gd name="T22" fmla="*/ 22 w 363"/>
                <a:gd name="T23" fmla="*/ 95 h 363"/>
                <a:gd name="T24" fmla="*/ 41 w 363"/>
                <a:gd name="T25" fmla="*/ 66 h 363"/>
                <a:gd name="T26" fmla="*/ 66 w 363"/>
                <a:gd name="T27" fmla="*/ 41 h 363"/>
                <a:gd name="T28" fmla="*/ 95 w 363"/>
                <a:gd name="T29" fmla="*/ 22 h 363"/>
                <a:gd name="T30" fmla="*/ 128 w 363"/>
                <a:gd name="T31" fmla="*/ 8 h 363"/>
                <a:gd name="T32" fmla="*/ 163 w 363"/>
                <a:gd name="T33" fmla="*/ 1 h 363"/>
                <a:gd name="T34" fmla="*/ 182 w 363"/>
                <a:gd name="T35" fmla="*/ 0 h 363"/>
                <a:gd name="T36" fmla="*/ 218 w 363"/>
                <a:gd name="T37" fmla="*/ 4 h 363"/>
                <a:gd name="T38" fmla="*/ 252 w 363"/>
                <a:gd name="T39" fmla="*/ 15 h 363"/>
                <a:gd name="T40" fmla="*/ 283 w 363"/>
                <a:gd name="T41" fmla="*/ 31 h 363"/>
                <a:gd name="T42" fmla="*/ 310 w 363"/>
                <a:gd name="T43" fmla="*/ 53 h 363"/>
                <a:gd name="T44" fmla="*/ 332 w 363"/>
                <a:gd name="T45" fmla="*/ 80 h 363"/>
                <a:gd name="T46" fmla="*/ 349 w 363"/>
                <a:gd name="T47" fmla="*/ 111 h 363"/>
                <a:gd name="T48" fmla="*/ 360 w 363"/>
                <a:gd name="T49" fmla="*/ 145 h 363"/>
                <a:gd name="T50" fmla="*/ 363 w 363"/>
                <a:gd name="T51" fmla="*/ 181 h 363"/>
                <a:gd name="T52" fmla="*/ 362 w 363"/>
                <a:gd name="T53" fmla="*/ 200 h 363"/>
                <a:gd name="T54" fmla="*/ 355 w 363"/>
                <a:gd name="T55" fmla="*/ 235 h 363"/>
                <a:gd name="T56" fmla="*/ 341 w 363"/>
                <a:gd name="T57" fmla="*/ 268 h 363"/>
                <a:gd name="T58" fmla="*/ 322 w 363"/>
                <a:gd name="T59" fmla="*/ 297 h 363"/>
                <a:gd name="T60" fmla="*/ 297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0" y="332"/>
                  </a:lnTo>
                  <a:lnTo>
                    <a:pt x="66" y="322"/>
                  </a:lnTo>
                  <a:lnTo>
                    <a:pt x="53" y="310"/>
                  </a:lnTo>
                  <a:lnTo>
                    <a:pt x="41" y="297"/>
                  </a:lnTo>
                  <a:lnTo>
                    <a:pt x="31" y="284"/>
                  </a:lnTo>
                  <a:lnTo>
                    <a:pt x="22" y="268"/>
                  </a:lnTo>
                  <a:lnTo>
                    <a:pt x="14" y="252"/>
                  </a:lnTo>
                  <a:lnTo>
                    <a:pt x="8" y="235"/>
                  </a:lnTo>
                  <a:lnTo>
                    <a:pt x="4" y="218"/>
                  </a:lnTo>
                  <a:lnTo>
                    <a:pt x="1" y="200"/>
                  </a:lnTo>
                  <a:lnTo>
                    <a:pt x="0" y="181"/>
                  </a:lnTo>
                  <a:lnTo>
                    <a:pt x="0" y="181"/>
                  </a:lnTo>
                  <a:lnTo>
                    <a:pt x="1" y="163"/>
                  </a:lnTo>
                  <a:lnTo>
                    <a:pt x="4" y="145"/>
                  </a:lnTo>
                  <a:lnTo>
                    <a:pt x="8" y="128"/>
                  </a:lnTo>
                  <a:lnTo>
                    <a:pt x="14" y="111"/>
                  </a:lnTo>
                  <a:lnTo>
                    <a:pt x="22" y="95"/>
                  </a:lnTo>
                  <a:lnTo>
                    <a:pt x="31" y="80"/>
                  </a:lnTo>
                  <a:lnTo>
                    <a:pt x="41" y="66"/>
                  </a:lnTo>
                  <a:lnTo>
                    <a:pt x="53" y="53"/>
                  </a:lnTo>
                  <a:lnTo>
                    <a:pt x="66" y="41"/>
                  </a:lnTo>
                  <a:lnTo>
                    <a:pt x="80" y="31"/>
                  </a:lnTo>
                  <a:lnTo>
                    <a:pt x="95" y="22"/>
                  </a:lnTo>
                  <a:lnTo>
                    <a:pt x="111" y="15"/>
                  </a:lnTo>
                  <a:lnTo>
                    <a:pt x="128" y="8"/>
                  </a:lnTo>
                  <a:lnTo>
                    <a:pt x="145" y="4"/>
                  </a:lnTo>
                  <a:lnTo>
                    <a:pt x="163" y="1"/>
                  </a:lnTo>
                  <a:lnTo>
                    <a:pt x="182" y="0"/>
                  </a:lnTo>
                  <a:lnTo>
                    <a:pt x="182" y="0"/>
                  </a:lnTo>
                  <a:lnTo>
                    <a:pt x="200" y="1"/>
                  </a:lnTo>
                  <a:lnTo>
                    <a:pt x="218" y="4"/>
                  </a:lnTo>
                  <a:lnTo>
                    <a:pt x="235" y="8"/>
                  </a:lnTo>
                  <a:lnTo>
                    <a:pt x="252" y="15"/>
                  </a:lnTo>
                  <a:lnTo>
                    <a:pt x="268" y="22"/>
                  </a:lnTo>
                  <a:lnTo>
                    <a:pt x="283" y="31"/>
                  </a:lnTo>
                  <a:lnTo>
                    <a:pt x="297" y="41"/>
                  </a:lnTo>
                  <a:lnTo>
                    <a:pt x="310" y="53"/>
                  </a:lnTo>
                  <a:lnTo>
                    <a:pt x="322" y="66"/>
                  </a:lnTo>
                  <a:lnTo>
                    <a:pt x="332" y="80"/>
                  </a:lnTo>
                  <a:lnTo>
                    <a:pt x="341" y="95"/>
                  </a:lnTo>
                  <a:lnTo>
                    <a:pt x="349" y="111"/>
                  </a:lnTo>
                  <a:lnTo>
                    <a:pt x="355" y="128"/>
                  </a:lnTo>
                  <a:lnTo>
                    <a:pt x="360" y="145"/>
                  </a:lnTo>
                  <a:lnTo>
                    <a:pt x="362" y="163"/>
                  </a:lnTo>
                  <a:lnTo>
                    <a:pt x="363" y="181"/>
                  </a:lnTo>
                  <a:lnTo>
                    <a:pt x="363" y="181"/>
                  </a:lnTo>
                  <a:lnTo>
                    <a:pt x="362" y="200"/>
                  </a:lnTo>
                  <a:lnTo>
                    <a:pt x="360" y="218"/>
                  </a:lnTo>
                  <a:lnTo>
                    <a:pt x="355" y="235"/>
                  </a:lnTo>
                  <a:lnTo>
                    <a:pt x="349" y="252"/>
                  </a:lnTo>
                  <a:lnTo>
                    <a:pt x="341" y="268"/>
                  </a:lnTo>
                  <a:lnTo>
                    <a:pt x="332" y="284"/>
                  </a:lnTo>
                  <a:lnTo>
                    <a:pt x="322" y="297"/>
                  </a:lnTo>
                  <a:lnTo>
                    <a:pt x="310" y="310"/>
                  </a:lnTo>
                  <a:lnTo>
                    <a:pt x="297" y="322"/>
                  </a:lnTo>
                  <a:lnTo>
                    <a:pt x="283" y="332"/>
                  </a:lnTo>
                  <a:lnTo>
                    <a:pt x="268" y="342"/>
                  </a:lnTo>
                  <a:lnTo>
                    <a:pt x="252" y="349"/>
                  </a:lnTo>
                  <a:lnTo>
                    <a:pt x="235" y="355"/>
                  </a:lnTo>
                  <a:lnTo>
                    <a:pt x="218" y="360"/>
                  </a:lnTo>
                  <a:lnTo>
                    <a:pt x="200" y="362"/>
                  </a:lnTo>
                  <a:lnTo>
                    <a:pt x="182" y="363"/>
                  </a:lnTo>
                  <a:lnTo>
                    <a:pt x="182" y="363"/>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415" name="Freeform 414"/>
            <p:cNvSpPr>
              <a:spLocks/>
            </p:cNvSpPr>
            <p:nvPr/>
          </p:nvSpPr>
          <p:spPr bwMode="auto">
            <a:xfrm flipH="1">
              <a:off x="10071110" y="5761042"/>
              <a:ext cx="1993902" cy="681038"/>
            </a:xfrm>
            <a:custGeom>
              <a:avLst/>
              <a:gdLst>
                <a:gd name="T0" fmla="*/ 1502 w 5024"/>
                <a:gd name="T1" fmla="*/ 719 h 1716"/>
                <a:gd name="T2" fmla="*/ 1488 w 5024"/>
                <a:gd name="T3" fmla="*/ 0 h 1716"/>
                <a:gd name="T4" fmla="*/ 1210 w 5024"/>
                <a:gd name="T5" fmla="*/ 16 h 1716"/>
                <a:gd name="T6" fmla="*/ 866 w 5024"/>
                <a:gd name="T7" fmla="*/ 70 h 1716"/>
                <a:gd name="T8" fmla="*/ 580 w 5024"/>
                <a:gd name="T9" fmla="*/ 183 h 1716"/>
                <a:gd name="T10" fmla="*/ 447 w 5024"/>
                <a:gd name="T11" fmla="*/ 286 h 1716"/>
                <a:gd name="T12" fmla="*/ 309 w 5024"/>
                <a:gd name="T13" fmla="*/ 447 h 1716"/>
                <a:gd name="T14" fmla="*/ 197 w 5024"/>
                <a:gd name="T15" fmla="*/ 638 h 1716"/>
                <a:gd name="T16" fmla="*/ 95 w 5024"/>
                <a:gd name="T17" fmla="*/ 883 h 1716"/>
                <a:gd name="T18" fmla="*/ 14 w 5024"/>
                <a:gd name="T19" fmla="*/ 1205 h 1716"/>
                <a:gd name="T20" fmla="*/ 13 w 5024"/>
                <a:gd name="T21" fmla="*/ 1280 h 1716"/>
                <a:gd name="T22" fmla="*/ 54 w 5024"/>
                <a:gd name="T23" fmla="*/ 1279 h 1716"/>
                <a:gd name="T24" fmla="*/ 136 w 5024"/>
                <a:gd name="T25" fmla="*/ 1225 h 1716"/>
                <a:gd name="T26" fmla="*/ 206 w 5024"/>
                <a:gd name="T27" fmla="*/ 1210 h 1716"/>
                <a:gd name="T28" fmla="*/ 252 w 5024"/>
                <a:gd name="T29" fmla="*/ 1232 h 1716"/>
                <a:gd name="T30" fmla="*/ 273 w 5024"/>
                <a:gd name="T31" fmla="*/ 1269 h 1716"/>
                <a:gd name="T32" fmla="*/ 267 w 5024"/>
                <a:gd name="T33" fmla="*/ 1355 h 1716"/>
                <a:gd name="T34" fmla="*/ 258 w 5024"/>
                <a:gd name="T35" fmla="*/ 1392 h 1716"/>
                <a:gd name="T36" fmla="*/ 1 w 5024"/>
                <a:gd name="T37" fmla="*/ 1401 h 1716"/>
                <a:gd name="T38" fmla="*/ 268 w 5024"/>
                <a:gd name="T39" fmla="*/ 1486 h 1716"/>
                <a:gd name="T40" fmla="*/ 286 w 5024"/>
                <a:gd name="T41" fmla="*/ 1512 h 1716"/>
                <a:gd name="T42" fmla="*/ 278 w 5024"/>
                <a:gd name="T43" fmla="*/ 1553 h 1716"/>
                <a:gd name="T44" fmla="*/ 5 w 5024"/>
                <a:gd name="T45" fmla="*/ 1561 h 1716"/>
                <a:gd name="T46" fmla="*/ 16 w 5024"/>
                <a:gd name="T47" fmla="*/ 1653 h 1716"/>
                <a:gd name="T48" fmla="*/ 54 w 5024"/>
                <a:gd name="T49" fmla="*/ 1695 h 1716"/>
                <a:gd name="T50" fmla="*/ 170 w 5024"/>
                <a:gd name="T51" fmla="*/ 1716 h 1716"/>
                <a:gd name="T52" fmla="*/ 366 w 5024"/>
                <a:gd name="T53" fmla="*/ 1711 h 1716"/>
                <a:gd name="T54" fmla="*/ 392 w 5024"/>
                <a:gd name="T55" fmla="*/ 1603 h 1716"/>
                <a:gd name="T56" fmla="*/ 447 w 5024"/>
                <a:gd name="T57" fmla="*/ 1509 h 1716"/>
                <a:gd name="T58" fmla="*/ 523 w 5024"/>
                <a:gd name="T59" fmla="*/ 1433 h 1716"/>
                <a:gd name="T60" fmla="*/ 618 w 5024"/>
                <a:gd name="T61" fmla="*/ 1380 h 1716"/>
                <a:gd name="T62" fmla="*/ 725 w 5024"/>
                <a:gd name="T63" fmla="*/ 1355 h 1716"/>
                <a:gd name="T64" fmla="*/ 821 w 5024"/>
                <a:gd name="T65" fmla="*/ 1357 h 1716"/>
                <a:gd name="T66" fmla="*/ 928 w 5024"/>
                <a:gd name="T67" fmla="*/ 1389 h 1716"/>
                <a:gd name="T68" fmla="*/ 1020 w 5024"/>
                <a:gd name="T69" fmla="*/ 1445 h 1716"/>
                <a:gd name="T70" fmla="*/ 1092 w 5024"/>
                <a:gd name="T71" fmla="*/ 1525 h 1716"/>
                <a:gd name="T72" fmla="*/ 1142 w 5024"/>
                <a:gd name="T73" fmla="*/ 1622 h 1716"/>
                <a:gd name="T74" fmla="*/ 1162 w 5024"/>
                <a:gd name="T75" fmla="*/ 1713 h 1716"/>
                <a:gd name="T76" fmla="*/ 2758 w 5024"/>
                <a:gd name="T77" fmla="*/ 1640 h 1716"/>
                <a:gd name="T78" fmla="*/ 2802 w 5024"/>
                <a:gd name="T79" fmla="*/ 1539 h 1716"/>
                <a:gd name="T80" fmla="*/ 2872 w 5024"/>
                <a:gd name="T81" fmla="*/ 1457 h 1716"/>
                <a:gd name="T82" fmla="*/ 2960 w 5024"/>
                <a:gd name="T83" fmla="*/ 1396 h 1716"/>
                <a:gd name="T84" fmla="*/ 3065 w 5024"/>
                <a:gd name="T85" fmla="*/ 1361 h 1716"/>
                <a:gd name="T86" fmla="*/ 3161 w 5024"/>
                <a:gd name="T87" fmla="*/ 1354 h 1716"/>
                <a:gd name="T88" fmla="*/ 3270 w 5024"/>
                <a:gd name="T89" fmla="*/ 1374 h 1716"/>
                <a:gd name="T90" fmla="*/ 3368 w 5024"/>
                <a:gd name="T91" fmla="*/ 1424 h 1716"/>
                <a:gd name="T92" fmla="*/ 3448 w 5024"/>
                <a:gd name="T93" fmla="*/ 1496 h 1716"/>
                <a:gd name="T94" fmla="*/ 3506 w 5024"/>
                <a:gd name="T95" fmla="*/ 1588 h 1716"/>
                <a:gd name="T96" fmla="*/ 3537 w 5024"/>
                <a:gd name="T97" fmla="*/ 1694 h 1716"/>
                <a:gd name="T98" fmla="*/ 3768 w 5024"/>
                <a:gd name="T99" fmla="*/ 1676 h 1716"/>
                <a:gd name="T100" fmla="*/ 3804 w 5024"/>
                <a:gd name="T101" fmla="*/ 1571 h 1716"/>
                <a:gd name="T102" fmla="*/ 3865 w 5024"/>
                <a:gd name="T103" fmla="*/ 1483 h 1716"/>
                <a:gd name="T104" fmla="*/ 3949 w 5024"/>
                <a:gd name="T105" fmla="*/ 1414 h 1716"/>
                <a:gd name="T106" fmla="*/ 4049 w 5024"/>
                <a:gd name="T107" fmla="*/ 1369 h 1716"/>
                <a:gd name="T108" fmla="*/ 4161 w 5024"/>
                <a:gd name="T109" fmla="*/ 1354 h 1716"/>
                <a:gd name="T110" fmla="*/ 4255 w 5024"/>
                <a:gd name="T111" fmla="*/ 1365 h 1716"/>
                <a:gd name="T112" fmla="*/ 4357 w 5024"/>
                <a:gd name="T113" fmla="*/ 1404 h 1716"/>
                <a:gd name="T114" fmla="*/ 4444 w 5024"/>
                <a:gd name="T115" fmla="*/ 1469 h 1716"/>
                <a:gd name="T116" fmla="*/ 4509 w 5024"/>
                <a:gd name="T117" fmla="*/ 1555 h 1716"/>
                <a:gd name="T118" fmla="*/ 4550 w 5024"/>
                <a:gd name="T119" fmla="*/ 1658 h 1716"/>
                <a:gd name="T120" fmla="*/ 4796 w 5024"/>
                <a:gd name="T121" fmla="*/ 1713 h 1716"/>
                <a:gd name="T122" fmla="*/ 4812 w 5024"/>
                <a:gd name="T123" fmla="*/ 1595 h 1716"/>
                <a:gd name="T124" fmla="*/ 4926 w 5024"/>
                <a:gd name="T125" fmla="*/ 1309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24" h="1716">
                  <a:moveTo>
                    <a:pt x="5024" y="1126"/>
                  </a:moveTo>
                  <a:lnTo>
                    <a:pt x="1499" y="1123"/>
                  </a:lnTo>
                  <a:lnTo>
                    <a:pt x="1499" y="1123"/>
                  </a:lnTo>
                  <a:lnTo>
                    <a:pt x="1500" y="1007"/>
                  </a:lnTo>
                  <a:lnTo>
                    <a:pt x="1501" y="878"/>
                  </a:lnTo>
                  <a:lnTo>
                    <a:pt x="1502" y="719"/>
                  </a:lnTo>
                  <a:lnTo>
                    <a:pt x="1502" y="539"/>
                  </a:lnTo>
                  <a:lnTo>
                    <a:pt x="1500" y="352"/>
                  </a:lnTo>
                  <a:lnTo>
                    <a:pt x="1498" y="259"/>
                  </a:lnTo>
                  <a:lnTo>
                    <a:pt x="1495" y="169"/>
                  </a:lnTo>
                  <a:lnTo>
                    <a:pt x="1493" y="82"/>
                  </a:lnTo>
                  <a:lnTo>
                    <a:pt x="1488" y="0"/>
                  </a:lnTo>
                  <a:lnTo>
                    <a:pt x="1488" y="0"/>
                  </a:lnTo>
                  <a:lnTo>
                    <a:pt x="1478" y="0"/>
                  </a:lnTo>
                  <a:lnTo>
                    <a:pt x="1478" y="0"/>
                  </a:lnTo>
                  <a:lnTo>
                    <a:pt x="1341" y="7"/>
                  </a:lnTo>
                  <a:lnTo>
                    <a:pt x="1274" y="11"/>
                  </a:lnTo>
                  <a:lnTo>
                    <a:pt x="1210" y="16"/>
                  </a:lnTo>
                  <a:lnTo>
                    <a:pt x="1149" y="22"/>
                  </a:lnTo>
                  <a:lnTo>
                    <a:pt x="1089" y="29"/>
                  </a:lnTo>
                  <a:lnTo>
                    <a:pt x="1031" y="37"/>
                  </a:lnTo>
                  <a:lnTo>
                    <a:pt x="974" y="46"/>
                  </a:lnTo>
                  <a:lnTo>
                    <a:pt x="920" y="57"/>
                  </a:lnTo>
                  <a:lnTo>
                    <a:pt x="866" y="70"/>
                  </a:lnTo>
                  <a:lnTo>
                    <a:pt x="815" y="83"/>
                  </a:lnTo>
                  <a:lnTo>
                    <a:pt x="765" y="99"/>
                  </a:lnTo>
                  <a:lnTo>
                    <a:pt x="717" y="117"/>
                  </a:lnTo>
                  <a:lnTo>
                    <a:pt x="670" y="137"/>
                  </a:lnTo>
                  <a:lnTo>
                    <a:pt x="625" y="159"/>
                  </a:lnTo>
                  <a:lnTo>
                    <a:pt x="580" y="183"/>
                  </a:lnTo>
                  <a:lnTo>
                    <a:pt x="580" y="183"/>
                  </a:lnTo>
                  <a:lnTo>
                    <a:pt x="553" y="201"/>
                  </a:lnTo>
                  <a:lnTo>
                    <a:pt x="525" y="221"/>
                  </a:lnTo>
                  <a:lnTo>
                    <a:pt x="498" y="241"/>
                  </a:lnTo>
                  <a:lnTo>
                    <a:pt x="472" y="263"/>
                  </a:lnTo>
                  <a:lnTo>
                    <a:pt x="447" y="286"/>
                  </a:lnTo>
                  <a:lnTo>
                    <a:pt x="422" y="310"/>
                  </a:lnTo>
                  <a:lnTo>
                    <a:pt x="398" y="335"/>
                  </a:lnTo>
                  <a:lnTo>
                    <a:pt x="375" y="362"/>
                  </a:lnTo>
                  <a:lnTo>
                    <a:pt x="352" y="390"/>
                  </a:lnTo>
                  <a:lnTo>
                    <a:pt x="331" y="419"/>
                  </a:lnTo>
                  <a:lnTo>
                    <a:pt x="309" y="447"/>
                  </a:lnTo>
                  <a:lnTo>
                    <a:pt x="288" y="478"/>
                  </a:lnTo>
                  <a:lnTo>
                    <a:pt x="269" y="508"/>
                  </a:lnTo>
                  <a:lnTo>
                    <a:pt x="250" y="540"/>
                  </a:lnTo>
                  <a:lnTo>
                    <a:pt x="232" y="572"/>
                  </a:lnTo>
                  <a:lnTo>
                    <a:pt x="214" y="606"/>
                  </a:lnTo>
                  <a:lnTo>
                    <a:pt x="197" y="638"/>
                  </a:lnTo>
                  <a:lnTo>
                    <a:pt x="180" y="672"/>
                  </a:lnTo>
                  <a:lnTo>
                    <a:pt x="164" y="707"/>
                  </a:lnTo>
                  <a:lnTo>
                    <a:pt x="150" y="742"/>
                  </a:lnTo>
                  <a:lnTo>
                    <a:pt x="135" y="777"/>
                  </a:lnTo>
                  <a:lnTo>
                    <a:pt x="121" y="812"/>
                  </a:lnTo>
                  <a:lnTo>
                    <a:pt x="95" y="883"/>
                  </a:lnTo>
                  <a:lnTo>
                    <a:pt x="72" y="954"/>
                  </a:lnTo>
                  <a:lnTo>
                    <a:pt x="53" y="1027"/>
                  </a:lnTo>
                  <a:lnTo>
                    <a:pt x="35" y="1098"/>
                  </a:lnTo>
                  <a:lnTo>
                    <a:pt x="19" y="1168"/>
                  </a:lnTo>
                  <a:lnTo>
                    <a:pt x="19" y="1168"/>
                  </a:lnTo>
                  <a:lnTo>
                    <a:pt x="14" y="1205"/>
                  </a:lnTo>
                  <a:lnTo>
                    <a:pt x="11" y="1226"/>
                  </a:lnTo>
                  <a:lnTo>
                    <a:pt x="10" y="1245"/>
                  </a:lnTo>
                  <a:lnTo>
                    <a:pt x="8" y="1263"/>
                  </a:lnTo>
                  <a:lnTo>
                    <a:pt x="10" y="1270"/>
                  </a:lnTo>
                  <a:lnTo>
                    <a:pt x="11" y="1276"/>
                  </a:lnTo>
                  <a:lnTo>
                    <a:pt x="13" y="1280"/>
                  </a:lnTo>
                  <a:lnTo>
                    <a:pt x="17" y="1284"/>
                  </a:lnTo>
                  <a:lnTo>
                    <a:pt x="22" y="1284"/>
                  </a:lnTo>
                  <a:lnTo>
                    <a:pt x="28" y="1282"/>
                  </a:lnTo>
                  <a:lnTo>
                    <a:pt x="28" y="1282"/>
                  </a:lnTo>
                  <a:lnTo>
                    <a:pt x="42" y="1281"/>
                  </a:lnTo>
                  <a:lnTo>
                    <a:pt x="54" y="1279"/>
                  </a:lnTo>
                  <a:lnTo>
                    <a:pt x="65" y="1275"/>
                  </a:lnTo>
                  <a:lnTo>
                    <a:pt x="76" y="1268"/>
                  </a:lnTo>
                  <a:lnTo>
                    <a:pt x="88" y="1261"/>
                  </a:lnTo>
                  <a:lnTo>
                    <a:pt x="101" y="1251"/>
                  </a:lnTo>
                  <a:lnTo>
                    <a:pt x="136" y="1225"/>
                  </a:lnTo>
                  <a:lnTo>
                    <a:pt x="136" y="1225"/>
                  </a:lnTo>
                  <a:lnTo>
                    <a:pt x="142" y="1221"/>
                  </a:lnTo>
                  <a:lnTo>
                    <a:pt x="150" y="1217"/>
                  </a:lnTo>
                  <a:lnTo>
                    <a:pt x="164" y="1212"/>
                  </a:lnTo>
                  <a:lnTo>
                    <a:pt x="181" y="1209"/>
                  </a:lnTo>
                  <a:lnTo>
                    <a:pt x="198" y="1209"/>
                  </a:lnTo>
                  <a:lnTo>
                    <a:pt x="206" y="1210"/>
                  </a:lnTo>
                  <a:lnTo>
                    <a:pt x="215" y="1212"/>
                  </a:lnTo>
                  <a:lnTo>
                    <a:pt x="223" y="1215"/>
                  </a:lnTo>
                  <a:lnTo>
                    <a:pt x="232" y="1217"/>
                  </a:lnTo>
                  <a:lnTo>
                    <a:pt x="239" y="1221"/>
                  </a:lnTo>
                  <a:lnTo>
                    <a:pt x="246" y="1226"/>
                  </a:lnTo>
                  <a:lnTo>
                    <a:pt x="252" y="1232"/>
                  </a:lnTo>
                  <a:lnTo>
                    <a:pt x="258" y="1238"/>
                  </a:lnTo>
                  <a:lnTo>
                    <a:pt x="258" y="1238"/>
                  </a:lnTo>
                  <a:lnTo>
                    <a:pt x="264" y="1245"/>
                  </a:lnTo>
                  <a:lnTo>
                    <a:pt x="268" y="1252"/>
                  </a:lnTo>
                  <a:lnTo>
                    <a:pt x="272" y="1261"/>
                  </a:lnTo>
                  <a:lnTo>
                    <a:pt x="273" y="1269"/>
                  </a:lnTo>
                  <a:lnTo>
                    <a:pt x="274" y="1278"/>
                  </a:lnTo>
                  <a:lnTo>
                    <a:pt x="275" y="1286"/>
                  </a:lnTo>
                  <a:lnTo>
                    <a:pt x="274" y="1303"/>
                  </a:lnTo>
                  <a:lnTo>
                    <a:pt x="272" y="1321"/>
                  </a:lnTo>
                  <a:lnTo>
                    <a:pt x="269" y="1338"/>
                  </a:lnTo>
                  <a:lnTo>
                    <a:pt x="267" y="1355"/>
                  </a:lnTo>
                  <a:lnTo>
                    <a:pt x="267" y="1372"/>
                  </a:lnTo>
                  <a:lnTo>
                    <a:pt x="267" y="1372"/>
                  </a:lnTo>
                  <a:lnTo>
                    <a:pt x="266" y="1378"/>
                  </a:lnTo>
                  <a:lnTo>
                    <a:pt x="264" y="1383"/>
                  </a:lnTo>
                  <a:lnTo>
                    <a:pt x="261" y="1387"/>
                  </a:lnTo>
                  <a:lnTo>
                    <a:pt x="258" y="1392"/>
                  </a:lnTo>
                  <a:lnTo>
                    <a:pt x="253" y="1396"/>
                  </a:lnTo>
                  <a:lnTo>
                    <a:pt x="249" y="1398"/>
                  </a:lnTo>
                  <a:lnTo>
                    <a:pt x="244" y="1400"/>
                  </a:lnTo>
                  <a:lnTo>
                    <a:pt x="238" y="1401"/>
                  </a:lnTo>
                  <a:lnTo>
                    <a:pt x="1" y="1401"/>
                  </a:lnTo>
                  <a:lnTo>
                    <a:pt x="1" y="1401"/>
                  </a:lnTo>
                  <a:lnTo>
                    <a:pt x="0" y="1445"/>
                  </a:lnTo>
                  <a:lnTo>
                    <a:pt x="0" y="1484"/>
                  </a:lnTo>
                  <a:lnTo>
                    <a:pt x="257" y="1484"/>
                  </a:lnTo>
                  <a:lnTo>
                    <a:pt x="257" y="1484"/>
                  </a:lnTo>
                  <a:lnTo>
                    <a:pt x="263" y="1484"/>
                  </a:lnTo>
                  <a:lnTo>
                    <a:pt x="268" y="1486"/>
                  </a:lnTo>
                  <a:lnTo>
                    <a:pt x="273" y="1489"/>
                  </a:lnTo>
                  <a:lnTo>
                    <a:pt x="278" y="1492"/>
                  </a:lnTo>
                  <a:lnTo>
                    <a:pt x="281" y="1496"/>
                  </a:lnTo>
                  <a:lnTo>
                    <a:pt x="284" y="1501"/>
                  </a:lnTo>
                  <a:lnTo>
                    <a:pt x="285" y="1507"/>
                  </a:lnTo>
                  <a:lnTo>
                    <a:pt x="286" y="1512"/>
                  </a:lnTo>
                  <a:lnTo>
                    <a:pt x="286" y="1532"/>
                  </a:lnTo>
                  <a:lnTo>
                    <a:pt x="286" y="1532"/>
                  </a:lnTo>
                  <a:lnTo>
                    <a:pt x="285" y="1538"/>
                  </a:lnTo>
                  <a:lnTo>
                    <a:pt x="284" y="1544"/>
                  </a:lnTo>
                  <a:lnTo>
                    <a:pt x="281" y="1549"/>
                  </a:lnTo>
                  <a:lnTo>
                    <a:pt x="278" y="1553"/>
                  </a:lnTo>
                  <a:lnTo>
                    <a:pt x="273" y="1556"/>
                  </a:lnTo>
                  <a:lnTo>
                    <a:pt x="268" y="1559"/>
                  </a:lnTo>
                  <a:lnTo>
                    <a:pt x="263" y="1561"/>
                  </a:lnTo>
                  <a:lnTo>
                    <a:pt x="257" y="1561"/>
                  </a:lnTo>
                  <a:lnTo>
                    <a:pt x="5" y="1561"/>
                  </a:lnTo>
                  <a:lnTo>
                    <a:pt x="5" y="1561"/>
                  </a:lnTo>
                  <a:lnTo>
                    <a:pt x="8" y="1601"/>
                  </a:lnTo>
                  <a:lnTo>
                    <a:pt x="10" y="1617"/>
                  </a:lnTo>
                  <a:lnTo>
                    <a:pt x="10" y="1631"/>
                  </a:lnTo>
                  <a:lnTo>
                    <a:pt x="10" y="1631"/>
                  </a:lnTo>
                  <a:lnTo>
                    <a:pt x="12" y="1642"/>
                  </a:lnTo>
                  <a:lnTo>
                    <a:pt x="16" y="1653"/>
                  </a:lnTo>
                  <a:lnTo>
                    <a:pt x="21" y="1661"/>
                  </a:lnTo>
                  <a:lnTo>
                    <a:pt x="25" y="1670"/>
                  </a:lnTo>
                  <a:lnTo>
                    <a:pt x="31" y="1678"/>
                  </a:lnTo>
                  <a:lnTo>
                    <a:pt x="39" y="1684"/>
                  </a:lnTo>
                  <a:lnTo>
                    <a:pt x="46" y="1690"/>
                  </a:lnTo>
                  <a:lnTo>
                    <a:pt x="54" y="1695"/>
                  </a:lnTo>
                  <a:lnTo>
                    <a:pt x="64" y="1700"/>
                  </a:lnTo>
                  <a:lnTo>
                    <a:pt x="74" y="1704"/>
                  </a:lnTo>
                  <a:lnTo>
                    <a:pt x="94" y="1710"/>
                  </a:lnTo>
                  <a:lnTo>
                    <a:pt x="118" y="1713"/>
                  </a:lnTo>
                  <a:lnTo>
                    <a:pt x="144" y="1716"/>
                  </a:lnTo>
                  <a:lnTo>
                    <a:pt x="170" y="1716"/>
                  </a:lnTo>
                  <a:lnTo>
                    <a:pt x="197" y="1716"/>
                  </a:lnTo>
                  <a:lnTo>
                    <a:pt x="255" y="1713"/>
                  </a:lnTo>
                  <a:lnTo>
                    <a:pt x="311" y="1711"/>
                  </a:lnTo>
                  <a:lnTo>
                    <a:pt x="339" y="1710"/>
                  </a:lnTo>
                  <a:lnTo>
                    <a:pt x="366" y="1711"/>
                  </a:lnTo>
                  <a:lnTo>
                    <a:pt x="366" y="1711"/>
                  </a:lnTo>
                  <a:lnTo>
                    <a:pt x="368" y="1692"/>
                  </a:lnTo>
                  <a:lnTo>
                    <a:pt x="372" y="1673"/>
                  </a:lnTo>
                  <a:lnTo>
                    <a:pt x="375" y="1655"/>
                  </a:lnTo>
                  <a:lnTo>
                    <a:pt x="380" y="1637"/>
                  </a:lnTo>
                  <a:lnTo>
                    <a:pt x="386" y="1620"/>
                  </a:lnTo>
                  <a:lnTo>
                    <a:pt x="392" y="1603"/>
                  </a:lnTo>
                  <a:lnTo>
                    <a:pt x="399" y="1587"/>
                  </a:lnTo>
                  <a:lnTo>
                    <a:pt x="408" y="1570"/>
                  </a:lnTo>
                  <a:lnTo>
                    <a:pt x="416" y="1554"/>
                  </a:lnTo>
                  <a:lnTo>
                    <a:pt x="426" y="1538"/>
                  </a:lnTo>
                  <a:lnTo>
                    <a:pt x="436" y="1524"/>
                  </a:lnTo>
                  <a:lnTo>
                    <a:pt x="447" y="1509"/>
                  </a:lnTo>
                  <a:lnTo>
                    <a:pt x="459" y="1495"/>
                  </a:lnTo>
                  <a:lnTo>
                    <a:pt x="469" y="1482"/>
                  </a:lnTo>
                  <a:lnTo>
                    <a:pt x="483" y="1468"/>
                  </a:lnTo>
                  <a:lnTo>
                    <a:pt x="496" y="1456"/>
                  </a:lnTo>
                  <a:lnTo>
                    <a:pt x="509" y="1444"/>
                  </a:lnTo>
                  <a:lnTo>
                    <a:pt x="523" y="1433"/>
                  </a:lnTo>
                  <a:lnTo>
                    <a:pt x="538" y="1424"/>
                  </a:lnTo>
                  <a:lnTo>
                    <a:pt x="553" y="1413"/>
                  </a:lnTo>
                  <a:lnTo>
                    <a:pt x="568" y="1404"/>
                  </a:lnTo>
                  <a:lnTo>
                    <a:pt x="584" y="1396"/>
                  </a:lnTo>
                  <a:lnTo>
                    <a:pt x="601" y="1387"/>
                  </a:lnTo>
                  <a:lnTo>
                    <a:pt x="618" y="1380"/>
                  </a:lnTo>
                  <a:lnTo>
                    <a:pt x="635" y="1374"/>
                  </a:lnTo>
                  <a:lnTo>
                    <a:pt x="653" y="1369"/>
                  </a:lnTo>
                  <a:lnTo>
                    <a:pt x="670" y="1365"/>
                  </a:lnTo>
                  <a:lnTo>
                    <a:pt x="688" y="1360"/>
                  </a:lnTo>
                  <a:lnTo>
                    <a:pt x="707" y="1357"/>
                  </a:lnTo>
                  <a:lnTo>
                    <a:pt x="725" y="1355"/>
                  </a:lnTo>
                  <a:lnTo>
                    <a:pt x="745" y="1354"/>
                  </a:lnTo>
                  <a:lnTo>
                    <a:pt x="764" y="1354"/>
                  </a:lnTo>
                  <a:lnTo>
                    <a:pt x="764" y="1354"/>
                  </a:lnTo>
                  <a:lnTo>
                    <a:pt x="783" y="1354"/>
                  </a:lnTo>
                  <a:lnTo>
                    <a:pt x="803" y="1355"/>
                  </a:lnTo>
                  <a:lnTo>
                    <a:pt x="821" y="1357"/>
                  </a:lnTo>
                  <a:lnTo>
                    <a:pt x="840" y="1361"/>
                  </a:lnTo>
                  <a:lnTo>
                    <a:pt x="858" y="1365"/>
                  </a:lnTo>
                  <a:lnTo>
                    <a:pt x="876" y="1369"/>
                  </a:lnTo>
                  <a:lnTo>
                    <a:pt x="893" y="1374"/>
                  </a:lnTo>
                  <a:lnTo>
                    <a:pt x="911" y="1381"/>
                  </a:lnTo>
                  <a:lnTo>
                    <a:pt x="928" y="1389"/>
                  </a:lnTo>
                  <a:lnTo>
                    <a:pt x="944" y="1396"/>
                  </a:lnTo>
                  <a:lnTo>
                    <a:pt x="961" y="1404"/>
                  </a:lnTo>
                  <a:lnTo>
                    <a:pt x="976" y="1414"/>
                  </a:lnTo>
                  <a:lnTo>
                    <a:pt x="991" y="1424"/>
                  </a:lnTo>
                  <a:lnTo>
                    <a:pt x="1005" y="1434"/>
                  </a:lnTo>
                  <a:lnTo>
                    <a:pt x="1020" y="1445"/>
                  </a:lnTo>
                  <a:lnTo>
                    <a:pt x="1033" y="1457"/>
                  </a:lnTo>
                  <a:lnTo>
                    <a:pt x="1046" y="1469"/>
                  </a:lnTo>
                  <a:lnTo>
                    <a:pt x="1058" y="1483"/>
                  </a:lnTo>
                  <a:lnTo>
                    <a:pt x="1070" y="1496"/>
                  </a:lnTo>
                  <a:lnTo>
                    <a:pt x="1083" y="1511"/>
                  </a:lnTo>
                  <a:lnTo>
                    <a:pt x="1092" y="1525"/>
                  </a:lnTo>
                  <a:lnTo>
                    <a:pt x="1103" y="1539"/>
                  </a:lnTo>
                  <a:lnTo>
                    <a:pt x="1111" y="1555"/>
                  </a:lnTo>
                  <a:lnTo>
                    <a:pt x="1121" y="1571"/>
                  </a:lnTo>
                  <a:lnTo>
                    <a:pt x="1128" y="1588"/>
                  </a:lnTo>
                  <a:lnTo>
                    <a:pt x="1136" y="1605"/>
                  </a:lnTo>
                  <a:lnTo>
                    <a:pt x="1142" y="1622"/>
                  </a:lnTo>
                  <a:lnTo>
                    <a:pt x="1148" y="1640"/>
                  </a:lnTo>
                  <a:lnTo>
                    <a:pt x="1153" y="1658"/>
                  </a:lnTo>
                  <a:lnTo>
                    <a:pt x="1157" y="1676"/>
                  </a:lnTo>
                  <a:lnTo>
                    <a:pt x="1160" y="1694"/>
                  </a:lnTo>
                  <a:lnTo>
                    <a:pt x="1162" y="1713"/>
                  </a:lnTo>
                  <a:lnTo>
                    <a:pt x="1162" y="1713"/>
                  </a:lnTo>
                  <a:lnTo>
                    <a:pt x="2743" y="1713"/>
                  </a:lnTo>
                  <a:lnTo>
                    <a:pt x="2743" y="1713"/>
                  </a:lnTo>
                  <a:lnTo>
                    <a:pt x="2746" y="1694"/>
                  </a:lnTo>
                  <a:lnTo>
                    <a:pt x="2748" y="1676"/>
                  </a:lnTo>
                  <a:lnTo>
                    <a:pt x="2753" y="1658"/>
                  </a:lnTo>
                  <a:lnTo>
                    <a:pt x="2758" y="1640"/>
                  </a:lnTo>
                  <a:lnTo>
                    <a:pt x="2762" y="1622"/>
                  </a:lnTo>
                  <a:lnTo>
                    <a:pt x="2770" y="1605"/>
                  </a:lnTo>
                  <a:lnTo>
                    <a:pt x="2777" y="1588"/>
                  </a:lnTo>
                  <a:lnTo>
                    <a:pt x="2784" y="1571"/>
                  </a:lnTo>
                  <a:lnTo>
                    <a:pt x="2793" y="1555"/>
                  </a:lnTo>
                  <a:lnTo>
                    <a:pt x="2802" y="1539"/>
                  </a:lnTo>
                  <a:lnTo>
                    <a:pt x="2812" y="1525"/>
                  </a:lnTo>
                  <a:lnTo>
                    <a:pt x="2823" y="1511"/>
                  </a:lnTo>
                  <a:lnTo>
                    <a:pt x="2835" y="1496"/>
                  </a:lnTo>
                  <a:lnTo>
                    <a:pt x="2846" y="1483"/>
                  </a:lnTo>
                  <a:lnTo>
                    <a:pt x="2859" y="1469"/>
                  </a:lnTo>
                  <a:lnTo>
                    <a:pt x="2872" y="1457"/>
                  </a:lnTo>
                  <a:lnTo>
                    <a:pt x="2886" y="1445"/>
                  </a:lnTo>
                  <a:lnTo>
                    <a:pt x="2900" y="1434"/>
                  </a:lnTo>
                  <a:lnTo>
                    <a:pt x="2914" y="1424"/>
                  </a:lnTo>
                  <a:lnTo>
                    <a:pt x="2929" y="1414"/>
                  </a:lnTo>
                  <a:lnTo>
                    <a:pt x="2945" y="1404"/>
                  </a:lnTo>
                  <a:lnTo>
                    <a:pt x="2960" y="1396"/>
                  </a:lnTo>
                  <a:lnTo>
                    <a:pt x="2977" y="1389"/>
                  </a:lnTo>
                  <a:lnTo>
                    <a:pt x="2994" y="1381"/>
                  </a:lnTo>
                  <a:lnTo>
                    <a:pt x="3011" y="1374"/>
                  </a:lnTo>
                  <a:lnTo>
                    <a:pt x="3029" y="1369"/>
                  </a:lnTo>
                  <a:lnTo>
                    <a:pt x="3047" y="1365"/>
                  </a:lnTo>
                  <a:lnTo>
                    <a:pt x="3065" y="1361"/>
                  </a:lnTo>
                  <a:lnTo>
                    <a:pt x="3083" y="1357"/>
                  </a:lnTo>
                  <a:lnTo>
                    <a:pt x="3103" y="1355"/>
                  </a:lnTo>
                  <a:lnTo>
                    <a:pt x="3122" y="1354"/>
                  </a:lnTo>
                  <a:lnTo>
                    <a:pt x="3141" y="1354"/>
                  </a:lnTo>
                  <a:lnTo>
                    <a:pt x="3141" y="1354"/>
                  </a:lnTo>
                  <a:lnTo>
                    <a:pt x="3161" y="1354"/>
                  </a:lnTo>
                  <a:lnTo>
                    <a:pt x="3180" y="1355"/>
                  </a:lnTo>
                  <a:lnTo>
                    <a:pt x="3198" y="1357"/>
                  </a:lnTo>
                  <a:lnTo>
                    <a:pt x="3217" y="1361"/>
                  </a:lnTo>
                  <a:lnTo>
                    <a:pt x="3235" y="1365"/>
                  </a:lnTo>
                  <a:lnTo>
                    <a:pt x="3254" y="1369"/>
                  </a:lnTo>
                  <a:lnTo>
                    <a:pt x="3270" y="1374"/>
                  </a:lnTo>
                  <a:lnTo>
                    <a:pt x="3287" y="1381"/>
                  </a:lnTo>
                  <a:lnTo>
                    <a:pt x="3304" y="1389"/>
                  </a:lnTo>
                  <a:lnTo>
                    <a:pt x="3321" y="1396"/>
                  </a:lnTo>
                  <a:lnTo>
                    <a:pt x="3337" y="1404"/>
                  </a:lnTo>
                  <a:lnTo>
                    <a:pt x="3353" y="1414"/>
                  </a:lnTo>
                  <a:lnTo>
                    <a:pt x="3368" y="1424"/>
                  </a:lnTo>
                  <a:lnTo>
                    <a:pt x="3383" y="1434"/>
                  </a:lnTo>
                  <a:lnTo>
                    <a:pt x="3397" y="1445"/>
                  </a:lnTo>
                  <a:lnTo>
                    <a:pt x="3410" y="1457"/>
                  </a:lnTo>
                  <a:lnTo>
                    <a:pt x="3424" y="1469"/>
                  </a:lnTo>
                  <a:lnTo>
                    <a:pt x="3436" y="1483"/>
                  </a:lnTo>
                  <a:lnTo>
                    <a:pt x="3448" y="1496"/>
                  </a:lnTo>
                  <a:lnTo>
                    <a:pt x="3459" y="1511"/>
                  </a:lnTo>
                  <a:lnTo>
                    <a:pt x="3470" y="1525"/>
                  </a:lnTo>
                  <a:lnTo>
                    <a:pt x="3479" y="1539"/>
                  </a:lnTo>
                  <a:lnTo>
                    <a:pt x="3489" y="1555"/>
                  </a:lnTo>
                  <a:lnTo>
                    <a:pt x="3497" y="1571"/>
                  </a:lnTo>
                  <a:lnTo>
                    <a:pt x="3506" y="1588"/>
                  </a:lnTo>
                  <a:lnTo>
                    <a:pt x="3513" y="1605"/>
                  </a:lnTo>
                  <a:lnTo>
                    <a:pt x="3519" y="1622"/>
                  </a:lnTo>
                  <a:lnTo>
                    <a:pt x="3525" y="1640"/>
                  </a:lnTo>
                  <a:lnTo>
                    <a:pt x="3530" y="1658"/>
                  </a:lnTo>
                  <a:lnTo>
                    <a:pt x="3534" y="1676"/>
                  </a:lnTo>
                  <a:lnTo>
                    <a:pt x="3537" y="1694"/>
                  </a:lnTo>
                  <a:lnTo>
                    <a:pt x="3540" y="1713"/>
                  </a:lnTo>
                  <a:lnTo>
                    <a:pt x="3540" y="1713"/>
                  </a:lnTo>
                  <a:lnTo>
                    <a:pt x="3762" y="1713"/>
                  </a:lnTo>
                  <a:lnTo>
                    <a:pt x="3762" y="1713"/>
                  </a:lnTo>
                  <a:lnTo>
                    <a:pt x="3764" y="1694"/>
                  </a:lnTo>
                  <a:lnTo>
                    <a:pt x="3768" y="1676"/>
                  </a:lnTo>
                  <a:lnTo>
                    <a:pt x="3771" y="1658"/>
                  </a:lnTo>
                  <a:lnTo>
                    <a:pt x="3776" y="1640"/>
                  </a:lnTo>
                  <a:lnTo>
                    <a:pt x="3782" y="1622"/>
                  </a:lnTo>
                  <a:lnTo>
                    <a:pt x="3788" y="1605"/>
                  </a:lnTo>
                  <a:lnTo>
                    <a:pt x="3795" y="1588"/>
                  </a:lnTo>
                  <a:lnTo>
                    <a:pt x="3804" y="1571"/>
                  </a:lnTo>
                  <a:lnTo>
                    <a:pt x="3812" y="1555"/>
                  </a:lnTo>
                  <a:lnTo>
                    <a:pt x="3822" y="1539"/>
                  </a:lnTo>
                  <a:lnTo>
                    <a:pt x="3832" y="1525"/>
                  </a:lnTo>
                  <a:lnTo>
                    <a:pt x="3843" y="1511"/>
                  </a:lnTo>
                  <a:lnTo>
                    <a:pt x="3853" y="1496"/>
                  </a:lnTo>
                  <a:lnTo>
                    <a:pt x="3865" y="1483"/>
                  </a:lnTo>
                  <a:lnTo>
                    <a:pt x="3879" y="1469"/>
                  </a:lnTo>
                  <a:lnTo>
                    <a:pt x="3891" y="1457"/>
                  </a:lnTo>
                  <a:lnTo>
                    <a:pt x="3905" y="1445"/>
                  </a:lnTo>
                  <a:lnTo>
                    <a:pt x="3919" y="1434"/>
                  </a:lnTo>
                  <a:lnTo>
                    <a:pt x="3933" y="1424"/>
                  </a:lnTo>
                  <a:lnTo>
                    <a:pt x="3949" y="1414"/>
                  </a:lnTo>
                  <a:lnTo>
                    <a:pt x="3964" y="1404"/>
                  </a:lnTo>
                  <a:lnTo>
                    <a:pt x="3980" y="1396"/>
                  </a:lnTo>
                  <a:lnTo>
                    <a:pt x="3997" y="1389"/>
                  </a:lnTo>
                  <a:lnTo>
                    <a:pt x="4014" y="1381"/>
                  </a:lnTo>
                  <a:lnTo>
                    <a:pt x="4031" y="1374"/>
                  </a:lnTo>
                  <a:lnTo>
                    <a:pt x="4049" y="1369"/>
                  </a:lnTo>
                  <a:lnTo>
                    <a:pt x="4067" y="1365"/>
                  </a:lnTo>
                  <a:lnTo>
                    <a:pt x="4085" y="1361"/>
                  </a:lnTo>
                  <a:lnTo>
                    <a:pt x="4103" y="1357"/>
                  </a:lnTo>
                  <a:lnTo>
                    <a:pt x="4123" y="1355"/>
                  </a:lnTo>
                  <a:lnTo>
                    <a:pt x="4142" y="1354"/>
                  </a:lnTo>
                  <a:lnTo>
                    <a:pt x="4161" y="1354"/>
                  </a:lnTo>
                  <a:lnTo>
                    <a:pt x="4161" y="1354"/>
                  </a:lnTo>
                  <a:lnTo>
                    <a:pt x="4180" y="1354"/>
                  </a:lnTo>
                  <a:lnTo>
                    <a:pt x="4199" y="1355"/>
                  </a:lnTo>
                  <a:lnTo>
                    <a:pt x="4218" y="1357"/>
                  </a:lnTo>
                  <a:lnTo>
                    <a:pt x="4236" y="1361"/>
                  </a:lnTo>
                  <a:lnTo>
                    <a:pt x="4255" y="1365"/>
                  </a:lnTo>
                  <a:lnTo>
                    <a:pt x="4272" y="1369"/>
                  </a:lnTo>
                  <a:lnTo>
                    <a:pt x="4290" y="1374"/>
                  </a:lnTo>
                  <a:lnTo>
                    <a:pt x="4307" y="1381"/>
                  </a:lnTo>
                  <a:lnTo>
                    <a:pt x="4324" y="1389"/>
                  </a:lnTo>
                  <a:lnTo>
                    <a:pt x="4341" y="1396"/>
                  </a:lnTo>
                  <a:lnTo>
                    <a:pt x="4357" y="1404"/>
                  </a:lnTo>
                  <a:lnTo>
                    <a:pt x="4372" y="1414"/>
                  </a:lnTo>
                  <a:lnTo>
                    <a:pt x="4388" y="1424"/>
                  </a:lnTo>
                  <a:lnTo>
                    <a:pt x="4402" y="1434"/>
                  </a:lnTo>
                  <a:lnTo>
                    <a:pt x="4416" y="1445"/>
                  </a:lnTo>
                  <a:lnTo>
                    <a:pt x="4430" y="1457"/>
                  </a:lnTo>
                  <a:lnTo>
                    <a:pt x="4444" y="1469"/>
                  </a:lnTo>
                  <a:lnTo>
                    <a:pt x="4456" y="1483"/>
                  </a:lnTo>
                  <a:lnTo>
                    <a:pt x="4468" y="1496"/>
                  </a:lnTo>
                  <a:lnTo>
                    <a:pt x="4479" y="1511"/>
                  </a:lnTo>
                  <a:lnTo>
                    <a:pt x="4489" y="1525"/>
                  </a:lnTo>
                  <a:lnTo>
                    <a:pt x="4499" y="1539"/>
                  </a:lnTo>
                  <a:lnTo>
                    <a:pt x="4509" y="1555"/>
                  </a:lnTo>
                  <a:lnTo>
                    <a:pt x="4517" y="1571"/>
                  </a:lnTo>
                  <a:lnTo>
                    <a:pt x="4526" y="1588"/>
                  </a:lnTo>
                  <a:lnTo>
                    <a:pt x="4533" y="1605"/>
                  </a:lnTo>
                  <a:lnTo>
                    <a:pt x="4539" y="1622"/>
                  </a:lnTo>
                  <a:lnTo>
                    <a:pt x="4545" y="1640"/>
                  </a:lnTo>
                  <a:lnTo>
                    <a:pt x="4550" y="1658"/>
                  </a:lnTo>
                  <a:lnTo>
                    <a:pt x="4553" y="1676"/>
                  </a:lnTo>
                  <a:lnTo>
                    <a:pt x="4557" y="1694"/>
                  </a:lnTo>
                  <a:lnTo>
                    <a:pt x="4559" y="1713"/>
                  </a:lnTo>
                  <a:lnTo>
                    <a:pt x="4559" y="1713"/>
                  </a:lnTo>
                  <a:lnTo>
                    <a:pt x="4796" y="1713"/>
                  </a:lnTo>
                  <a:lnTo>
                    <a:pt x="4796" y="1713"/>
                  </a:lnTo>
                  <a:lnTo>
                    <a:pt x="4796" y="1696"/>
                  </a:lnTo>
                  <a:lnTo>
                    <a:pt x="4796" y="1678"/>
                  </a:lnTo>
                  <a:lnTo>
                    <a:pt x="4798" y="1659"/>
                  </a:lnTo>
                  <a:lnTo>
                    <a:pt x="4802" y="1638"/>
                  </a:lnTo>
                  <a:lnTo>
                    <a:pt x="4806" y="1617"/>
                  </a:lnTo>
                  <a:lnTo>
                    <a:pt x="4812" y="1595"/>
                  </a:lnTo>
                  <a:lnTo>
                    <a:pt x="4825" y="1549"/>
                  </a:lnTo>
                  <a:lnTo>
                    <a:pt x="4842" y="1501"/>
                  </a:lnTo>
                  <a:lnTo>
                    <a:pt x="4861" y="1451"/>
                  </a:lnTo>
                  <a:lnTo>
                    <a:pt x="4883" y="1402"/>
                  </a:lnTo>
                  <a:lnTo>
                    <a:pt x="4905" y="1355"/>
                  </a:lnTo>
                  <a:lnTo>
                    <a:pt x="4926" y="1309"/>
                  </a:lnTo>
                  <a:lnTo>
                    <a:pt x="4948" y="1266"/>
                  </a:lnTo>
                  <a:lnTo>
                    <a:pt x="4987" y="1193"/>
                  </a:lnTo>
                  <a:lnTo>
                    <a:pt x="5014" y="1144"/>
                  </a:lnTo>
                  <a:lnTo>
                    <a:pt x="5024" y="1126"/>
                  </a:lnTo>
                  <a:lnTo>
                    <a:pt x="5024" y="1126"/>
                  </a:lnTo>
                  <a:close/>
                </a:path>
              </a:pathLst>
            </a:cu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182828"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416" name="Freeform 415"/>
            <p:cNvSpPr>
              <a:spLocks/>
            </p:cNvSpPr>
            <p:nvPr/>
          </p:nvSpPr>
          <p:spPr bwMode="auto">
            <a:xfrm flipH="1">
              <a:off x="11525250" y="5819775"/>
              <a:ext cx="425451" cy="249237"/>
            </a:xfrm>
            <a:custGeom>
              <a:avLst/>
              <a:gdLst>
                <a:gd name="T0" fmla="*/ 1074 w 1075"/>
                <a:gd name="T1" fmla="*/ 629 h 629"/>
                <a:gd name="T2" fmla="*/ 1074 w 1075"/>
                <a:gd name="T3" fmla="*/ 629 h 629"/>
                <a:gd name="T4" fmla="*/ 1075 w 1075"/>
                <a:gd name="T5" fmla="*/ 471 h 629"/>
                <a:gd name="T6" fmla="*/ 1075 w 1075"/>
                <a:gd name="T7" fmla="*/ 312 h 629"/>
                <a:gd name="T8" fmla="*/ 1074 w 1075"/>
                <a:gd name="T9" fmla="*/ 155 h 629"/>
                <a:gd name="T10" fmla="*/ 1072 w 1075"/>
                <a:gd name="T11" fmla="*/ 77 h 629"/>
                <a:gd name="T12" fmla="*/ 1070 w 1075"/>
                <a:gd name="T13" fmla="*/ 0 h 629"/>
                <a:gd name="T14" fmla="*/ 1070 w 1075"/>
                <a:gd name="T15" fmla="*/ 0 h 629"/>
                <a:gd name="T16" fmla="*/ 958 w 1075"/>
                <a:gd name="T17" fmla="*/ 8 h 629"/>
                <a:gd name="T18" fmla="*/ 905 w 1075"/>
                <a:gd name="T19" fmla="*/ 13 h 629"/>
                <a:gd name="T20" fmla="*/ 853 w 1075"/>
                <a:gd name="T21" fmla="*/ 18 h 629"/>
                <a:gd name="T22" fmla="*/ 804 w 1075"/>
                <a:gd name="T23" fmla="*/ 24 h 629"/>
                <a:gd name="T24" fmla="*/ 757 w 1075"/>
                <a:gd name="T25" fmla="*/ 31 h 629"/>
                <a:gd name="T26" fmla="*/ 711 w 1075"/>
                <a:gd name="T27" fmla="*/ 38 h 629"/>
                <a:gd name="T28" fmla="*/ 666 w 1075"/>
                <a:gd name="T29" fmla="*/ 47 h 629"/>
                <a:gd name="T30" fmla="*/ 624 w 1075"/>
                <a:gd name="T31" fmla="*/ 56 h 629"/>
                <a:gd name="T32" fmla="*/ 583 w 1075"/>
                <a:gd name="T33" fmla="*/ 67 h 629"/>
                <a:gd name="T34" fmla="*/ 543 w 1075"/>
                <a:gd name="T35" fmla="*/ 79 h 629"/>
                <a:gd name="T36" fmla="*/ 506 w 1075"/>
                <a:gd name="T37" fmla="*/ 93 h 629"/>
                <a:gd name="T38" fmla="*/ 468 w 1075"/>
                <a:gd name="T39" fmla="*/ 107 h 629"/>
                <a:gd name="T40" fmla="*/ 433 w 1075"/>
                <a:gd name="T41" fmla="*/ 123 h 629"/>
                <a:gd name="T42" fmla="*/ 399 w 1075"/>
                <a:gd name="T43" fmla="*/ 140 h 629"/>
                <a:gd name="T44" fmla="*/ 366 w 1075"/>
                <a:gd name="T45" fmla="*/ 158 h 629"/>
                <a:gd name="T46" fmla="*/ 366 w 1075"/>
                <a:gd name="T47" fmla="*/ 158 h 629"/>
                <a:gd name="T48" fmla="*/ 337 w 1075"/>
                <a:gd name="T49" fmla="*/ 177 h 629"/>
                <a:gd name="T50" fmla="*/ 309 w 1075"/>
                <a:gd name="T51" fmla="*/ 198 h 629"/>
                <a:gd name="T52" fmla="*/ 281 w 1075"/>
                <a:gd name="T53" fmla="*/ 219 h 629"/>
                <a:gd name="T54" fmla="*/ 255 w 1075"/>
                <a:gd name="T55" fmla="*/ 243 h 629"/>
                <a:gd name="T56" fmla="*/ 229 w 1075"/>
                <a:gd name="T57" fmla="*/ 269 h 629"/>
                <a:gd name="T58" fmla="*/ 204 w 1075"/>
                <a:gd name="T59" fmla="*/ 296 h 629"/>
                <a:gd name="T60" fmla="*/ 180 w 1075"/>
                <a:gd name="T61" fmla="*/ 324 h 629"/>
                <a:gd name="T62" fmla="*/ 157 w 1075"/>
                <a:gd name="T63" fmla="*/ 354 h 629"/>
                <a:gd name="T64" fmla="*/ 134 w 1075"/>
                <a:gd name="T65" fmla="*/ 386 h 629"/>
                <a:gd name="T66" fmla="*/ 112 w 1075"/>
                <a:gd name="T67" fmla="*/ 418 h 629"/>
                <a:gd name="T68" fmla="*/ 92 w 1075"/>
                <a:gd name="T69" fmla="*/ 451 h 629"/>
                <a:gd name="T70" fmla="*/ 72 w 1075"/>
                <a:gd name="T71" fmla="*/ 486 h 629"/>
                <a:gd name="T72" fmla="*/ 53 w 1075"/>
                <a:gd name="T73" fmla="*/ 521 h 629"/>
                <a:gd name="T74" fmla="*/ 35 w 1075"/>
                <a:gd name="T75" fmla="*/ 556 h 629"/>
                <a:gd name="T76" fmla="*/ 17 w 1075"/>
                <a:gd name="T77" fmla="*/ 592 h 629"/>
                <a:gd name="T78" fmla="*/ 0 w 1075"/>
                <a:gd name="T79" fmla="*/ 629 h 629"/>
                <a:gd name="T80" fmla="*/ 1074 w 1075"/>
                <a:gd name="T81" fmla="*/ 629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5" h="629">
                  <a:moveTo>
                    <a:pt x="1074" y="629"/>
                  </a:moveTo>
                  <a:lnTo>
                    <a:pt x="1074" y="629"/>
                  </a:lnTo>
                  <a:lnTo>
                    <a:pt x="1075" y="471"/>
                  </a:lnTo>
                  <a:lnTo>
                    <a:pt x="1075" y="312"/>
                  </a:lnTo>
                  <a:lnTo>
                    <a:pt x="1074" y="155"/>
                  </a:lnTo>
                  <a:lnTo>
                    <a:pt x="1072" y="77"/>
                  </a:lnTo>
                  <a:lnTo>
                    <a:pt x="1070" y="0"/>
                  </a:lnTo>
                  <a:lnTo>
                    <a:pt x="1070" y="0"/>
                  </a:lnTo>
                  <a:lnTo>
                    <a:pt x="958" y="8"/>
                  </a:lnTo>
                  <a:lnTo>
                    <a:pt x="905" y="13"/>
                  </a:lnTo>
                  <a:lnTo>
                    <a:pt x="853" y="18"/>
                  </a:lnTo>
                  <a:lnTo>
                    <a:pt x="804" y="24"/>
                  </a:lnTo>
                  <a:lnTo>
                    <a:pt x="757" y="31"/>
                  </a:lnTo>
                  <a:lnTo>
                    <a:pt x="711" y="38"/>
                  </a:lnTo>
                  <a:lnTo>
                    <a:pt x="666" y="47"/>
                  </a:lnTo>
                  <a:lnTo>
                    <a:pt x="624" y="56"/>
                  </a:lnTo>
                  <a:lnTo>
                    <a:pt x="583" y="67"/>
                  </a:lnTo>
                  <a:lnTo>
                    <a:pt x="543" y="79"/>
                  </a:lnTo>
                  <a:lnTo>
                    <a:pt x="506" y="93"/>
                  </a:lnTo>
                  <a:lnTo>
                    <a:pt x="468" y="107"/>
                  </a:lnTo>
                  <a:lnTo>
                    <a:pt x="433" y="123"/>
                  </a:lnTo>
                  <a:lnTo>
                    <a:pt x="399" y="140"/>
                  </a:lnTo>
                  <a:lnTo>
                    <a:pt x="366" y="158"/>
                  </a:lnTo>
                  <a:lnTo>
                    <a:pt x="366" y="158"/>
                  </a:lnTo>
                  <a:lnTo>
                    <a:pt x="337" y="177"/>
                  </a:lnTo>
                  <a:lnTo>
                    <a:pt x="309" y="198"/>
                  </a:lnTo>
                  <a:lnTo>
                    <a:pt x="281" y="219"/>
                  </a:lnTo>
                  <a:lnTo>
                    <a:pt x="255" y="243"/>
                  </a:lnTo>
                  <a:lnTo>
                    <a:pt x="229" y="269"/>
                  </a:lnTo>
                  <a:lnTo>
                    <a:pt x="204" y="296"/>
                  </a:lnTo>
                  <a:lnTo>
                    <a:pt x="180" y="324"/>
                  </a:lnTo>
                  <a:lnTo>
                    <a:pt x="157" y="354"/>
                  </a:lnTo>
                  <a:lnTo>
                    <a:pt x="134" y="386"/>
                  </a:lnTo>
                  <a:lnTo>
                    <a:pt x="112" y="418"/>
                  </a:lnTo>
                  <a:lnTo>
                    <a:pt x="92" y="451"/>
                  </a:lnTo>
                  <a:lnTo>
                    <a:pt x="72" y="486"/>
                  </a:lnTo>
                  <a:lnTo>
                    <a:pt x="53" y="521"/>
                  </a:lnTo>
                  <a:lnTo>
                    <a:pt x="35" y="556"/>
                  </a:lnTo>
                  <a:lnTo>
                    <a:pt x="17" y="592"/>
                  </a:lnTo>
                  <a:lnTo>
                    <a:pt x="0" y="629"/>
                  </a:lnTo>
                  <a:lnTo>
                    <a:pt x="1074" y="629"/>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53" name="Rectangle 52"/>
          <p:cNvSpPr/>
          <p:nvPr/>
        </p:nvSpPr>
        <p:spPr>
          <a:xfrm>
            <a:off x="3635075" y="1061778"/>
            <a:ext cx="2332494" cy="27699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entury Gothic" panose="020F0302020204030204"/>
                <a:ea typeface="+mn-ea"/>
                <a:cs typeface="+mn-cs"/>
              </a:rPr>
              <a:t>GLOBAL FACILITY INSIGHT</a:t>
            </a:r>
          </a:p>
        </p:txBody>
      </p:sp>
      <p:grpSp>
        <p:nvGrpSpPr>
          <p:cNvPr id="54" name="Group 53"/>
          <p:cNvGrpSpPr/>
          <p:nvPr/>
        </p:nvGrpSpPr>
        <p:grpSpPr>
          <a:xfrm>
            <a:off x="583804" y="4962791"/>
            <a:ext cx="2198243" cy="932394"/>
            <a:chOff x="2415025" y="4679389"/>
            <a:chExt cx="3028728" cy="540070"/>
          </a:xfrm>
        </p:grpSpPr>
        <p:sp>
          <p:nvSpPr>
            <p:cNvPr id="406" name="Rectangle 405"/>
            <p:cNvSpPr/>
            <p:nvPr/>
          </p:nvSpPr>
          <p:spPr bwMode="auto">
            <a:xfrm flipH="1">
              <a:off x="2415025" y="4683431"/>
              <a:ext cx="3028728" cy="536027"/>
            </a:xfrm>
            <a:prstGeom prst="rect">
              <a:avLst/>
            </a:prstGeom>
            <a:solidFill>
              <a:srgbClr val="FFFF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91414" rIns="91414" bIns="9141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374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w="3175">
                    <a:noFill/>
                  </a:ln>
                  <a:solidFill>
                    <a:srgbClr val="FFFFFF"/>
                  </a:solidFill>
                  <a:effectLst/>
                  <a:uLnTx/>
                  <a:uFillTx/>
                  <a:latin typeface="Century Gothic" panose="020F0302020204030204"/>
                  <a:ea typeface="+mn-ea"/>
                  <a:cs typeface="Arial" charset="0"/>
                </a:rPr>
                <a:t>Condition-based maintenance. Predictive maintenance</a:t>
              </a:r>
            </a:p>
          </p:txBody>
        </p:sp>
        <p:cxnSp>
          <p:nvCxnSpPr>
            <p:cNvPr id="407" name="Straight Connector 406"/>
            <p:cNvCxnSpPr/>
            <p:nvPr/>
          </p:nvCxnSpPr>
          <p:spPr>
            <a:xfrm flipH="1" flipV="1">
              <a:off x="2415028" y="4679389"/>
              <a:ext cx="1" cy="540070"/>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55" name="Rectangle 54"/>
          <p:cNvSpPr/>
          <p:nvPr/>
        </p:nvSpPr>
        <p:spPr>
          <a:xfrm>
            <a:off x="8002065" y="5879398"/>
            <a:ext cx="1569660" cy="26161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entury Gothic" panose="020F0302020204030204"/>
                <a:ea typeface="+mn-ea"/>
                <a:cs typeface="+mn-cs"/>
              </a:rPr>
              <a:t>THIRD-PARTY LOGISTICS</a:t>
            </a:r>
          </a:p>
        </p:txBody>
      </p:sp>
      <p:grpSp>
        <p:nvGrpSpPr>
          <p:cNvPr id="56" name="Group 55"/>
          <p:cNvGrpSpPr/>
          <p:nvPr/>
        </p:nvGrpSpPr>
        <p:grpSpPr>
          <a:xfrm>
            <a:off x="7353727" y="4203293"/>
            <a:ext cx="2541947" cy="573098"/>
            <a:chOff x="10105390" y="3970577"/>
            <a:chExt cx="1833887" cy="1092942"/>
          </a:xfrm>
        </p:grpSpPr>
        <p:sp>
          <p:nvSpPr>
            <p:cNvPr id="404" name="Rectangle 403"/>
            <p:cNvSpPr/>
            <p:nvPr/>
          </p:nvSpPr>
          <p:spPr bwMode="auto">
            <a:xfrm>
              <a:off x="10105390" y="3970577"/>
              <a:ext cx="1833887" cy="109294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91414" rIns="91414" bIns="9141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374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entury Gothic" panose="020F0302020204030204"/>
                  <a:ea typeface="+mn-ea"/>
                  <a:cs typeface="+mn-cs"/>
                </a:rPr>
                <a:t>Provide cross-channel visibility into inventories.</a:t>
              </a:r>
              <a:endParaRPr kumimoji="0" lang="en-US" sz="1400" b="0" i="0" u="none" strike="noStrike" kern="1200" cap="none" spc="0" normalizeH="0" baseline="0" noProof="0" dirty="0">
                <a:ln w="3175">
                  <a:noFill/>
                </a:ln>
                <a:solidFill>
                  <a:srgbClr val="FFFFFF"/>
                </a:solidFill>
                <a:effectLst/>
                <a:uLnTx/>
                <a:uFillTx/>
                <a:latin typeface="Century Gothic" panose="020F0302020204030204"/>
                <a:ea typeface="+mn-ea"/>
                <a:cs typeface="Arial" charset="0"/>
              </a:endParaRPr>
            </a:p>
          </p:txBody>
        </p:sp>
        <p:cxnSp>
          <p:nvCxnSpPr>
            <p:cNvPr id="405" name="Straight Connector 404"/>
            <p:cNvCxnSpPr/>
            <p:nvPr/>
          </p:nvCxnSpPr>
          <p:spPr>
            <a:xfrm flipV="1">
              <a:off x="10105390" y="3970577"/>
              <a:ext cx="1" cy="1085160"/>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cxnSp>
        <p:nvCxnSpPr>
          <p:cNvPr id="57" name="Straight Connector 56"/>
          <p:cNvCxnSpPr/>
          <p:nvPr/>
        </p:nvCxnSpPr>
        <p:spPr>
          <a:xfrm flipV="1">
            <a:off x="555035" y="1296902"/>
            <a:ext cx="0" cy="134066"/>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8" name="Group 57"/>
          <p:cNvGrpSpPr/>
          <p:nvPr/>
        </p:nvGrpSpPr>
        <p:grpSpPr>
          <a:xfrm>
            <a:off x="411295" y="716995"/>
            <a:ext cx="712759" cy="585423"/>
            <a:chOff x="2015151" y="1146452"/>
            <a:chExt cx="712961" cy="585588"/>
          </a:xfrm>
        </p:grpSpPr>
        <p:grpSp>
          <p:nvGrpSpPr>
            <p:cNvPr id="400" name="Group 399"/>
            <p:cNvGrpSpPr/>
            <p:nvPr/>
          </p:nvGrpSpPr>
          <p:grpSpPr>
            <a:xfrm>
              <a:off x="2053479" y="1366494"/>
              <a:ext cx="626932" cy="326233"/>
              <a:chOff x="570141" y="1393030"/>
              <a:chExt cx="626932" cy="326233"/>
            </a:xfrm>
          </p:grpSpPr>
          <p:sp>
            <p:nvSpPr>
              <p:cNvPr id="402" name="Rectangle 401"/>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403" name="Rectangle 402"/>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401" name="Trapezoid 14"/>
            <p:cNvSpPr>
              <a:spLocks noChangeAspect="1"/>
            </p:cNvSpPr>
            <p:nvPr/>
          </p:nvSpPr>
          <p:spPr bwMode="auto">
            <a:xfrm>
              <a:off x="2015151" y="1146452"/>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182828"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cxnSp>
        <p:nvCxnSpPr>
          <p:cNvPr id="59" name="Elbow Connector 58"/>
          <p:cNvCxnSpPr>
            <a:stCxn id="394" idx="6"/>
            <a:endCxn id="406" idx="3"/>
          </p:cNvCxnSpPr>
          <p:nvPr/>
        </p:nvCxnSpPr>
        <p:spPr>
          <a:xfrm rot="10800000" flipV="1">
            <a:off x="583805" y="3998244"/>
            <a:ext cx="466705" cy="1434231"/>
          </a:xfrm>
          <a:prstGeom prst="bentConnector3">
            <a:avLst>
              <a:gd name="adj1" fmla="val 148982"/>
            </a:avLst>
          </a:prstGeom>
          <a:ln w="19050">
            <a:prstDash val="sysDot"/>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338799" y="2800973"/>
            <a:ext cx="657747" cy="725804"/>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61" name="Rectangle 60"/>
          <p:cNvSpPr/>
          <p:nvPr/>
        </p:nvSpPr>
        <p:spPr bwMode="auto">
          <a:xfrm>
            <a:off x="972901" y="2765807"/>
            <a:ext cx="76544" cy="768158"/>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62" name="Rectangle 61"/>
          <p:cNvSpPr/>
          <p:nvPr/>
        </p:nvSpPr>
        <p:spPr bwMode="auto">
          <a:xfrm>
            <a:off x="869950" y="2710839"/>
            <a:ext cx="513030" cy="197600"/>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63" name="Rectangle 447"/>
          <p:cNvSpPr/>
          <p:nvPr/>
        </p:nvSpPr>
        <p:spPr bwMode="auto">
          <a:xfrm>
            <a:off x="338801" y="2631153"/>
            <a:ext cx="914516" cy="168705"/>
          </a:xfrm>
          <a:custGeom>
            <a:avLst/>
            <a:gdLst>
              <a:gd name="connsiteX0" fmla="*/ 0 w 796099"/>
              <a:gd name="connsiteY0" fmla="*/ 0 h 660009"/>
              <a:gd name="connsiteX1" fmla="*/ 796099 w 796099"/>
              <a:gd name="connsiteY1" fmla="*/ 0 h 660009"/>
              <a:gd name="connsiteX2" fmla="*/ 796099 w 796099"/>
              <a:gd name="connsiteY2" fmla="*/ 660009 h 660009"/>
              <a:gd name="connsiteX3" fmla="*/ 0 w 796099"/>
              <a:gd name="connsiteY3" fmla="*/ 660009 h 660009"/>
              <a:gd name="connsiteX4" fmla="*/ 0 w 796099"/>
              <a:gd name="connsiteY4" fmla="*/ 0 h 660009"/>
              <a:gd name="connsiteX0" fmla="*/ 55418 w 851517"/>
              <a:gd name="connsiteY0" fmla="*/ 0 h 660009"/>
              <a:gd name="connsiteX1" fmla="*/ 851517 w 851517"/>
              <a:gd name="connsiteY1" fmla="*/ 0 h 660009"/>
              <a:gd name="connsiteX2" fmla="*/ 851517 w 851517"/>
              <a:gd name="connsiteY2" fmla="*/ 660009 h 660009"/>
              <a:gd name="connsiteX3" fmla="*/ 0 w 851517"/>
              <a:gd name="connsiteY3" fmla="*/ 438336 h 660009"/>
              <a:gd name="connsiteX4" fmla="*/ 55418 w 851517"/>
              <a:gd name="connsiteY4" fmla="*/ 0 h 660009"/>
              <a:gd name="connsiteX0" fmla="*/ 55418 w 851517"/>
              <a:gd name="connsiteY0" fmla="*/ 0 h 477129"/>
              <a:gd name="connsiteX1" fmla="*/ 851517 w 851517"/>
              <a:gd name="connsiteY1" fmla="*/ 0 h 477129"/>
              <a:gd name="connsiteX2" fmla="*/ 674179 w 851517"/>
              <a:gd name="connsiteY2" fmla="*/ 477129 h 477129"/>
              <a:gd name="connsiteX3" fmla="*/ 0 w 851517"/>
              <a:gd name="connsiteY3" fmla="*/ 438336 h 477129"/>
              <a:gd name="connsiteX4" fmla="*/ 55418 w 851517"/>
              <a:gd name="connsiteY4" fmla="*/ 0 h 477129"/>
              <a:gd name="connsiteX0" fmla="*/ 55418 w 851517"/>
              <a:gd name="connsiteY0" fmla="*/ 0 h 438336"/>
              <a:gd name="connsiteX1" fmla="*/ 851517 w 851517"/>
              <a:gd name="connsiteY1" fmla="*/ 0 h 438336"/>
              <a:gd name="connsiteX2" fmla="*/ 624303 w 851517"/>
              <a:gd name="connsiteY2" fmla="*/ 438336 h 438336"/>
              <a:gd name="connsiteX3" fmla="*/ 0 w 851517"/>
              <a:gd name="connsiteY3" fmla="*/ 438336 h 438336"/>
              <a:gd name="connsiteX4" fmla="*/ 55418 w 851517"/>
              <a:gd name="connsiteY4" fmla="*/ 0 h 438336"/>
              <a:gd name="connsiteX0" fmla="*/ 55418 w 868142"/>
              <a:gd name="connsiteY0" fmla="*/ 0 h 438336"/>
              <a:gd name="connsiteX1" fmla="*/ 868142 w 868142"/>
              <a:gd name="connsiteY1" fmla="*/ 293717 h 438336"/>
              <a:gd name="connsiteX2" fmla="*/ 624303 w 868142"/>
              <a:gd name="connsiteY2" fmla="*/ 438336 h 438336"/>
              <a:gd name="connsiteX3" fmla="*/ 0 w 868142"/>
              <a:gd name="connsiteY3" fmla="*/ 438336 h 438336"/>
              <a:gd name="connsiteX4" fmla="*/ 55418 w 868142"/>
              <a:gd name="connsiteY4" fmla="*/ 0 h 438336"/>
              <a:gd name="connsiteX0" fmla="*/ 188422 w 868142"/>
              <a:gd name="connsiteY0" fmla="*/ 0 h 150162"/>
              <a:gd name="connsiteX1" fmla="*/ 868142 w 868142"/>
              <a:gd name="connsiteY1" fmla="*/ 5543 h 150162"/>
              <a:gd name="connsiteX2" fmla="*/ 624303 w 868142"/>
              <a:gd name="connsiteY2" fmla="*/ 150162 h 150162"/>
              <a:gd name="connsiteX3" fmla="*/ 0 w 868142"/>
              <a:gd name="connsiteY3" fmla="*/ 150162 h 150162"/>
              <a:gd name="connsiteX4" fmla="*/ 188422 w 868142"/>
              <a:gd name="connsiteY4" fmla="*/ 0 h 150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142" h="150162">
                <a:moveTo>
                  <a:pt x="188422" y="0"/>
                </a:moveTo>
                <a:lnTo>
                  <a:pt x="868142" y="5543"/>
                </a:lnTo>
                <a:lnTo>
                  <a:pt x="624303" y="150162"/>
                </a:lnTo>
                <a:lnTo>
                  <a:pt x="0" y="150162"/>
                </a:lnTo>
                <a:lnTo>
                  <a:pt x="188422" y="0"/>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64" name="Group 63"/>
          <p:cNvGrpSpPr/>
          <p:nvPr/>
        </p:nvGrpSpPr>
        <p:grpSpPr>
          <a:xfrm>
            <a:off x="7493606" y="5281197"/>
            <a:ext cx="420444" cy="221470"/>
            <a:chOff x="9935190" y="5751992"/>
            <a:chExt cx="261135" cy="166441"/>
          </a:xfrm>
          <a:solidFill>
            <a:srgbClr val="00708E"/>
          </a:solidFill>
        </p:grpSpPr>
        <p:sp>
          <p:nvSpPr>
            <p:cNvPr id="397" name="Chevron 396"/>
            <p:cNvSpPr/>
            <p:nvPr/>
          </p:nvSpPr>
          <p:spPr bwMode="auto">
            <a:xfrm>
              <a:off x="993519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398" name="Chevron 397"/>
            <p:cNvSpPr/>
            <p:nvPr/>
          </p:nvSpPr>
          <p:spPr bwMode="auto">
            <a:xfrm>
              <a:off x="1002453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399" name="Chevron 398"/>
            <p:cNvSpPr/>
            <p:nvPr/>
          </p:nvSpPr>
          <p:spPr bwMode="auto">
            <a:xfrm>
              <a:off x="1011387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65" name="Flowchart: Data 569"/>
          <p:cNvSpPr/>
          <p:nvPr/>
        </p:nvSpPr>
        <p:spPr bwMode="auto">
          <a:xfrm>
            <a:off x="493942" y="4453927"/>
            <a:ext cx="1913805" cy="247741"/>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2000 w 10000"/>
              <a:gd name="connsiteY1" fmla="*/ 0 h 10000"/>
              <a:gd name="connsiteX2" fmla="*/ 10000 w 10000"/>
              <a:gd name="connsiteY2" fmla="*/ 0 h 10000"/>
              <a:gd name="connsiteX3" fmla="*/ 9206 w 10000"/>
              <a:gd name="connsiteY3" fmla="*/ 10000 h 10000"/>
              <a:gd name="connsiteX4" fmla="*/ 0 w 10000"/>
              <a:gd name="connsiteY4" fmla="*/ 10000 h 10000"/>
              <a:gd name="connsiteX0" fmla="*/ 0 w 10000"/>
              <a:gd name="connsiteY0" fmla="*/ 10000 h 10000"/>
              <a:gd name="connsiteX1" fmla="*/ 1035 w 10000"/>
              <a:gd name="connsiteY1" fmla="*/ 0 h 10000"/>
              <a:gd name="connsiteX2" fmla="*/ 10000 w 10000"/>
              <a:gd name="connsiteY2" fmla="*/ 0 h 10000"/>
              <a:gd name="connsiteX3" fmla="*/ 9206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1035" y="0"/>
                </a:lnTo>
                <a:lnTo>
                  <a:pt x="10000" y="0"/>
                </a:lnTo>
                <a:cubicBezTo>
                  <a:pt x="9735" y="3333"/>
                  <a:pt x="9471" y="6667"/>
                  <a:pt x="9206" y="10000"/>
                </a:cubicBezTo>
                <a:lnTo>
                  <a:pt x="0" y="10000"/>
                </a:lnTo>
                <a:close/>
              </a:path>
            </a:pathLst>
          </a:custGeom>
          <a:solidFill>
            <a:srgbClr val="00AFED">
              <a:alpha val="50000"/>
            </a:srgbClr>
          </a:solidFill>
          <a:ln w="19050">
            <a:solidFill>
              <a:srgbClr val="00AFE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66" name="Group 65"/>
          <p:cNvGrpSpPr/>
          <p:nvPr/>
        </p:nvGrpSpPr>
        <p:grpSpPr>
          <a:xfrm>
            <a:off x="871162" y="3240294"/>
            <a:ext cx="1547481" cy="1291880"/>
            <a:chOff x="1048844" y="2929382"/>
            <a:chExt cx="2146849" cy="1792260"/>
          </a:xfrm>
        </p:grpSpPr>
        <p:sp>
          <p:nvSpPr>
            <p:cNvPr id="362" name="Rectangle 361"/>
            <p:cNvSpPr/>
            <p:nvPr/>
          </p:nvSpPr>
          <p:spPr bwMode="auto">
            <a:xfrm rot="19233811" flipH="1">
              <a:off x="1672997" y="4111453"/>
              <a:ext cx="265596" cy="336234"/>
            </a:xfrm>
            <a:prstGeom prst="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63" name="Rectangle 21"/>
            <p:cNvSpPr/>
            <p:nvPr/>
          </p:nvSpPr>
          <p:spPr bwMode="auto">
            <a:xfrm rot="1663182" flipH="1">
              <a:off x="1661723" y="3093970"/>
              <a:ext cx="283331" cy="7514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64" name="Rectangle 29"/>
            <p:cNvSpPr/>
            <p:nvPr/>
          </p:nvSpPr>
          <p:spPr bwMode="auto">
            <a:xfrm rot="6300000" flipH="1">
              <a:off x="2375889" y="2873020"/>
              <a:ext cx="215107" cy="735159"/>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nvGrpSpPr>
            <p:cNvPr id="365" name="Group 364"/>
            <p:cNvGrpSpPr/>
            <p:nvPr/>
          </p:nvGrpSpPr>
          <p:grpSpPr>
            <a:xfrm>
              <a:off x="1297664" y="3722455"/>
              <a:ext cx="516897" cy="516898"/>
              <a:chOff x="4394973" y="1762558"/>
              <a:chExt cx="352210" cy="352210"/>
            </a:xfrm>
          </p:grpSpPr>
          <p:grpSp>
            <p:nvGrpSpPr>
              <p:cNvPr id="391" name="Group 390"/>
              <p:cNvGrpSpPr/>
              <p:nvPr/>
            </p:nvGrpSpPr>
            <p:grpSpPr>
              <a:xfrm flipH="1">
                <a:off x="4394973" y="1762558"/>
                <a:ext cx="352210" cy="352210"/>
                <a:chOff x="5411363" y="1755522"/>
                <a:chExt cx="316187" cy="316187"/>
              </a:xfrm>
            </p:grpSpPr>
            <p:sp>
              <p:nvSpPr>
                <p:cNvPr id="394" name="Oval 393"/>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95" name="Oval 394"/>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96" name="Oval 395"/>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sp>
            <p:nvSpPr>
              <p:cNvPr id="392" name="Rectangle 391"/>
              <p:cNvSpPr/>
              <p:nvPr/>
            </p:nvSpPr>
            <p:spPr bwMode="auto">
              <a:xfrm flipH="1">
                <a:off x="4553230" y="1780423"/>
                <a:ext cx="35696" cy="30433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93" name="Rectangle 392"/>
              <p:cNvSpPr/>
              <p:nvPr/>
            </p:nvSpPr>
            <p:spPr bwMode="auto">
              <a:xfrm rot="5400000" flipH="1">
                <a:off x="4561685" y="1786498"/>
                <a:ext cx="35696" cy="30433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366" name="Group 365"/>
            <p:cNvGrpSpPr/>
            <p:nvPr/>
          </p:nvGrpSpPr>
          <p:grpSpPr>
            <a:xfrm>
              <a:off x="1830772" y="2929382"/>
              <a:ext cx="375748" cy="375748"/>
              <a:chOff x="4394973" y="1762558"/>
              <a:chExt cx="352210" cy="352210"/>
            </a:xfrm>
          </p:grpSpPr>
          <p:grpSp>
            <p:nvGrpSpPr>
              <p:cNvPr id="385" name="Group 384"/>
              <p:cNvGrpSpPr/>
              <p:nvPr/>
            </p:nvGrpSpPr>
            <p:grpSpPr>
              <a:xfrm flipH="1">
                <a:off x="4394973" y="1762558"/>
                <a:ext cx="352210" cy="352210"/>
                <a:chOff x="5411363" y="1755522"/>
                <a:chExt cx="316187" cy="316187"/>
              </a:xfrm>
            </p:grpSpPr>
            <p:sp>
              <p:nvSpPr>
                <p:cNvPr id="388" name="Oval 387"/>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89" name="Oval 388"/>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90" name="Oval 389"/>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sp>
            <p:nvSpPr>
              <p:cNvPr id="386" name="Rectangle 385"/>
              <p:cNvSpPr/>
              <p:nvPr/>
            </p:nvSpPr>
            <p:spPr bwMode="auto">
              <a:xfrm flipH="1">
                <a:off x="4553231" y="1789294"/>
                <a:ext cx="35695" cy="286445"/>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87" name="Rectangle 386"/>
              <p:cNvSpPr/>
              <p:nvPr/>
            </p:nvSpPr>
            <p:spPr bwMode="auto">
              <a:xfrm rot="5400000" flipH="1">
                <a:off x="4556016" y="1795437"/>
                <a:ext cx="35695" cy="286447"/>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367" name="Group 366"/>
            <p:cNvGrpSpPr/>
            <p:nvPr/>
          </p:nvGrpSpPr>
          <p:grpSpPr>
            <a:xfrm rot="20781386">
              <a:off x="2789458" y="3462421"/>
              <a:ext cx="406235" cy="662069"/>
              <a:chOff x="6203753" y="1569838"/>
              <a:chExt cx="276805" cy="451130"/>
            </a:xfrm>
          </p:grpSpPr>
          <p:sp>
            <p:nvSpPr>
              <p:cNvPr id="377" name="Rectangle 376"/>
              <p:cNvSpPr/>
              <p:nvPr/>
            </p:nvSpPr>
            <p:spPr bwMode="auto">
              <a:xfrm rot="10800000" flipH="1">
                <a:off x="6289818" y="1569838"/>
                <a:ext cx="96717" cy="173784"/>
              </a:xfrm>
              <a:prstGeom prst="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78" name="Oval 377"/>
              <p:cNvSpPr/>
              <p:nvPr/>
            </p:nvSpPr>
            <p:spPr bwMode="auto">
              <a:xfrm rot="10737439" flipH="1">
                <a:off x="6286686" y="1707639"/>
                <a:ext cx="110946" cy="110946"/>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nvGrpSpPr>
              <p:cNvPr id="379" name="Group 378"/>
              <p:cNvGrpSpPr/>
              <p:nvPr/>
            </p:nvGrpSpPr>
            <p:grpSpPr>
              <a:xfrm>
                <a:off x="6203753" y="1748133"/>
                <a:ext cx="99173" cy="272835"/>
                <a:chOff x="5430362" y="1772113"/>
                <a:chExt cx="99173" cy="272835"/>
              </a:xfrm>
            </p:grpSpPr>
            <p:sp>
              <p:nvSpPr>
                <p:cNvPr id="383" name="Rectangle 382"/>
                <p:cNvSpPr/>
                <p:nvPr/>
              </p:nvSpPr>
              <p:spPr bwMode="auto">
                <a:xfrm rot="13260000" flipH="1">
                  <a:off x="5468027" y="1772113"/>
                  <a:ext cx="45719" cy="13716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84" name="Diagonal Stripe 383"/>
                <p:cNvSpPr/>
                <p:nvPr/>
              </p:nvSpPr>
              <p:spPr bwMode="auto">
                <a:xfrm rot="19432650">
                  <a:off x="5430362" y="1862068"/>
                  <a:ext cx="99173" cy="182880"/>
                </a:xfrm>
                <a:prstGeom prst="diagStrip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380" name="Group 379"/>
              <p:cNvGrpSpPr/>
              <p:nvPr/>
            </p:nvGrpSpPr>
            <p:grpSpPr>
              <a:xfrm flipH="1">
                <a:off x="6381385" y="1748134"/>
                <a:ext cx="99173" cy="272833"/>
                <a:chOff x="5422401" y="1772114"/>
                <a:chExt cx="99173" cy="272833"/>
              </a:xfrm>
            </p:grpSpPr>
            <p:sp>
              <p:nvSpPr>
                <p:cNvPr id="381" name="Rectangle 380"/>
                <p:cNvSpPr/>
                <p:nvPr/>
              </p:nvSpPr>
              <p:spPr bwMode="auto">
                <a:xfrm rot="13260000" flipH="1">
                  <a:off x="5460058" y="1772114"/>
                  <a:ext cx="45719" cy="13716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82" name="Diagonal Stripe 381"/>
                <p:cNvSpPr/>
                <p:nvPr/>
              </p:nvSpPr>
              <p:spPr bwMode="auto">
                <a:xfrm rot="19432650">
                  <a:off x="5422401" y="1862067"/>
                  <a:ext cx="99173" cy="182880"/>
                </a:xfrm>
                <a:prstGeom prst="diagStrip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grpSp>
          <p:nvGrpSpPr>
            <p:cNvPr id="368" name="Group 367"/>
            <p:cNvGrpSpPr/>
            <p:nvPr/>
          </p:nvGrpSpPr>
          <p:grpSpPr>
            <a:xfrm>
              <a:off x="2732452" y="3244007"/>
              <a:ext cx="281811" cy="281811"/>
              <a:chOff x="4394973" y="1762558"/>
              <a:chExt cx="352210" cy="352210"/>
            </a:xfrm>
          </p:grpSpPr>
          <p:grpSp>
            <p:nvGrpSpPr>
              <p:cNvPr id="371" name="Group 370"/>
              <p:cNvGrpSpPr/>
              <p:nvPr/>
            </p:nvGrpSpPr>
            <p:grpSpPr>
              <a:xfrm flipH="1">
                <a:off x="4394973" y="1762558"/>
                <a:ext cx="352210" cy="352210"/>
                <a:chOff x="5411363" y="1755522"/>
                <a:chExt cx="316187" cy="316187"/>
              </a:xfrm>
            </p:grpSpPr>
            <p:sp>
              <p:nvSpPr>
                <p:cNvPr id="374" name="Oval 373"/>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75" name="Oval 374"/>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76" name="Oval 375"/>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sp>
            <p:nvSpPr>
              <p:cNvPr id="372" name="Rectangle 371"/>
              <p:cNvSpPr/>
              <p:nvPr/>
            </p:nvSpPr>
            <p:spPr bwMode="auto">
              <a:xfrm flipH="1">
                <a:off x="4553229" y="1795031"/>
                <a:ext cx="35696" cy="264411"/>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73" name="Rectangle 372"/>
              <p:cNvSpPr/>
              <p:nvPr/>
            </p:nvSpPr>
            <p:spPr bwMode="auto">
              <a:xfrm rot="5400000" flipH="1">
                <a:off x="4559388" y="1806456"/>
                <a:ext cx="35696" cy="264411"/>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sp>
          <p:nvSpPr>
            <p:cNvPr id="369" name="Rounded Rectangle 368"/>
            <p:cNvSpPr/>
            <p:nvPr/>
          </p:nvSpPr>
          <p:spPr bwMode="auto">
            <a:xfrm flipH="1">
              <a:off x="1188631" y="4306131"/>
              <a:ext cx="1241311" cy="391405"/>
            </a:xfrm>
            <a:prstGeom prst="round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70" name="Rounded Rectangle 369"/>
            <p:cNvSpPr/>
            <p:nvPr/>
          </p:nvSpPr>
          <p:spPr bwMode="auto">
            <a:xfrm flipH="1">
              <a:off x="1048844" y="4501833"/>
              <a:ext cx="1520885" cy="219809"/>
            </a:xfrm>
            <a:prstGeom prst="round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67" name="Group 66"/>
          <p:cNvGrpSpPr>
            <a:grpSpLocks noChangeAspect="1"/>
          </p:cNvGrpSpPr>
          <p:nvPr/>
        </p:nvGrpSpPr>
        <p:grpSpPr>
          <a:xfrm>
            <a:off x="2507753" y="3835309"/>
            <a:ext cx="259875" cy="665082"/>
            <a:chOff x="-3051175" y="-1057275"/>
            <a:chExt cx="2679700" cy="6858000"/>
          </a:xfrm>
        </p:grpSpPr>
        <p:sp>
          <p:nvSpPr>
            <p:cNvPr id="360" name="Freeform 35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61" name="Freeform 36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nvGrpSpPr>
          <p:cNvPr id="68" name="Group 67"/>
          <p:cNvGrpSpPr>
            <a:grpSpLocks noChangeAspect="1"/>
          </p:cNvGrpSpPr>
          <p:nvPr/>
        </p:nvGrpSpPr>
        <p:grpSpPr>
          <a:xfrm>
            <a:off x="3825062" y="3166385"/>
            <a:ext cx="185767" cy="475423"/>
            <a:chOff x="-3051175" y="-1057275"/>
            <a:chExt cx="2679700" cy="6858000"/>
          </a:xfrm>
        </p:grpSpPr>
        <p:sp>
          <p:nvSpPr>
            <p:cNvPr id="358" name="Freeform 357"/>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59" name="Freeform 358"/>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nvGrpSpPr>
          <p:cNvPr id="69" name="Group 68"/>
          <p:cNvGrpSpPr>
            <a:grpSpLocks noChangeAspect="1"/>
          </p:cNvGrpSpPr>
          <p:nvPr/>
        </p:nvGrpSpPr>
        <p:grpSpPr>
          <a:xfrm>
            <a:off x="6186926" y="898165"/>
            <a:ext cx="141016" cy="115822"/>
            <a:chOff x="8049916" y="869239"/>
            <a:chExt cx="712961" cy="585588"/>
          </a:xfrm>
        </p:grpSpPr>
        <p:grpSp>
          <p:nvGrpSpPr>
            <p:cNvPr id="354" name="Group 353"/>
            <p:cNvGrpSpPr/>
            <p:nvPr/>
          </p:nvGrpSpPr>
          <p:grpSpPr>
            <a:xfrm>
              <a:off x="8088244" y="1089281"/>
              <a:ext cx="626932" cy="326233"/>
              <a:chOff x="570141" y="1393030"/>
              <a:chExt cx="626932" cy="326233"/>
            </a:xfrm>
          </p:grpSpPr>
          <p:sp>
            <p:nvSpPr>
              <p:cNvPr id="356" name="Rectangle 355"/>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357" name="Rectangle 356"/>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355"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182828"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70" name="Group 69"/>
          <p:cNvGrpSpPr>
            <a:grpSpLocks noChangeAspect="1"/>
          </p:cNvGrpSpPr>
          <p:nvPr/>
        </p:nvGrpSpPr>
        <p:grpSpPr>
          <a:xfrm>
            <a:off x="5639362" y="1210737"/>
            <a:ext cx="128195" cy="105293"/>
            <a:chOff x="8049916" y="869239"/>
            <a:chExt cx="712961" cy="585588"/>
          </a:xfrm>
        </p:grpSpPr>
        <p:grpSp>
          <p:nvGrpSpPr>
            <p:cNvPr id="350" name="Group 349"/>
            <p:cNvGrpSpPr/>
            <p:nvPr/>
          </p:nvGrpSpPr>
          <p:grpSpPr>
            <a:xfrm>
              <a:off x="8088244" y="1089281"/>
              <a:ext cx="626932" cy="326233"/>
              <a:chOff x="570141" y="1393030"/>
              <a:chExt cx="626932" cy="326233"/>
            </a:xfrm>
          </p:grpSpPr>
          <p:sp>
            <p:nvSpPr>
              <p:cNvPr id="352" name="Rectangle 351"/>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353" name="Rectangle 352"/>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351"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182828"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71" name="Group 70"/>
          <p:cNvGrpSpPr>
            <a:grpSpLocks noChangeAspect="1"/>
          </p:cNvGrpSpPr>
          <p:nvPr/>
        </p:nvGrpSpPr>
        <p:grpSpPr>
          <a:xfrm>
            <a:off x="6528088" y="1014929"/>
            <a:ext cx="141016" cy="115822"/>
            <a:chOff x="8049916" y="869239"/>
            <a:chExt cx="712961" cy="585588"/>
          </a:xfrm>
        </p:grpSpPr>
        <p:grpSp>
          <p:nvGrpSpPr>
            <p:cNvPr id="346" name="Group 345"/>
            <p:cNvGrpSpPr/>
            <p:nvPr/>
          </p:nvGrpSpPr>
          <p:grpSpPr>
            <a:xfrm>
              <a:off x="8088244" y="1089281"/>
              <a:ext cx="626932" cy="326233"/>
              <a:chOff x="570141" y="1393030"/>
              <a:chExt cx="626932" cy="326233"/>
            </a:xfrm>
          </p:grpSpPr>
          <p:sp>
            <p:nvSpPr>
              <p:cNvPr id="348" name="Rectangle 347"/>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349" name="Rectangle 348"/>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347"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182828"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72" name="Group 71"/>
          <p:cNvGrpSpPr>
            <a:grpSpLocks noChangeAspect="1"/>
          </p:cNvGrpSpPr>
          <p:nvPr/>
        </p:nvGrpSpPr>
        <p:grpSpPr>
          <a:xfrm>
            <a:off x="6162041" y="1205202"/>
            <a:ext cx="141016" cy="115822"/>
            <a:chOff x="8049916" y="869239"/>
            <a:chExt cx="712961" cy="585588"/>
          </a:xfrm>
        </p:grpSpPr>
        <p:grpSp>
          <p:nvGrpSpPr>
            <p:cNvPr id="342" name="Group 341"/>
            <p:cNvGrpSpPr/>
            <p:nvPr/>
          </p:nvGrpSpPr>
          <p:grpSpPr>
            <a:xfrm>
              <a:off x="8088244" y="1089281"/>
              <a:ext cx="626932" cy="326233"/>
              <a:chOff x="570141" y="1393030"/>
              <a:chExt cx="626932" cy="326233"/>
            </a:xfrm>
          </p:grpSpPr>
          <p:sp>
            <p:nvSpPr>
              <p:cNvPr id="344" name="Rectangle 343"/>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345" name="Rectangle 344"/>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343"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182828"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sp>
        <p:nvSpPr>
          <p:cNvPr id="73" name="Rectangle 72"/>
          <p:cNvSpPr/>
          <p:nvPr/>
        </p:nvSpPr>
        <p:spPr>
          <a:xfrm>
            <a:off x="8203940" y="1061778"/>
            <a:ext cx="1111202" cy="26161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entury Gothic" panose="020F0302020204030204"/>
                <a:ea typeface="+mn-ea"/>
                <a:cs typeface="+mn-cs"/>
              </a:rPr>
              <a:t>CUSTOMER SITE</a:t>
            </a:r>
          </a:p>
        </p:txBody>
      </p:sp>
      <p:cxnSp>
        <p:nvCxnSpPr>
          <p:cNvPr id="74" name="Straight Connector 73"/>
          <p:cNvCxnSpPr/>
          <p:nvPr/>
        </p:nvCxnSpPr>
        <p:spPr>
          <a:xfrm flipV="1">
            <a:off x="7663954" y="1303605"/>
            <a:ext cx="0" cy="134066"/>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5" name="Group 74"/>
          <p:cNvGrpSpPr/>
          <p:nvPr/>
        </p:nvGrpSpPr>
        <p:grpSpPr>
          <a:xfrm>
            <a:off x="6015151" y="1575665"/>
            <a:ext cx="511321" cy="587887"/>
            <a:chOff x="6657794" y="1053101"/>
            <a:chExt cx="680759" cy="782698"/>
          </a:xfrm>
        </p:grpSpPr>
        <p:sp>
          <p:nvSpPr>
            <p:cNvPr id="336" name="Rectangle 335"/>
            <p:cNvSpPr/>
            <p:nvPr/>
          </p:nvSpPr>
          <p:spPr bwMode="auto">
            <a:xfrm>
              <a:off x="6657794" y="1053101"/>
              <a:ext cx="680759" cy="782698"/>
            </a:xfrm>
            <a:prstGeom prst="rect">
              <a:avLst/>
            </a:prstGeom>
            <a:solidFill>
              <a:srgbClr val="FCC12E">
                <a:alpha val="25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337" name="Group 336"/>
            <p:cNvGrpSpPr/>
            <p:nvPr/>
          </p:nvGrpSpPr>
          <p:grpSpPr>
            <a:xfrm>
              <a:off x="6724116" y="1154520"/>
              <a:ext cx="547340" cy="626953"/>
              <a:chOff x="6983648" y="1445099"/>
              <a:chExt cx="547340" cy="626953"/>
            </a:xfrm>
          </p:grpSpPr>
          <p:grpSp>
            <p:nvGrpSpPr>
              <p:cNvPr id="338" name="Group 337"/>
              <p:cNvGrpSpPr/>
              <p:nvPr/>
            </p:nvGrpSpPr>
            <p:grpSpPr>
              <a:xfrm>
                <a:off x="7194775" y="1531034"/>
                <a:ext cx="142870" cy="365650"/>
                <a:chOff x="7010073" y="1548130"/>
                <a:chExt cx="1648459" cy="4218939"/>
              </a:xfrm>
              <a:solidFill>
                <a:schemeClr val="accent2"/>
              </a:solidFill>
            </p:grpSpPr>
            <p:sp>
              <p:nvSpPr>
                <p:cNvPr id="340" name="Freeform 339"/>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FCC12E"/>
                </a:solidFill>
                <a:ln w="9525">
                  <a:noFill/>
                  <a:round/>
                  <a:headEnd/>
                  <a:tailEnd/>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188F"/>
                    </a:solidFill>
                    <a:effectLst/>
                    <a:uLnTx/>
                    <a:uFillTx/>
                    <a:latin typeface="Century Gothic" panose="020F0302020204030204"/>
                    <a:ea typeface="+mn-ea"/>
                    <a:cs typeface="+mn-cs"/>
                  </a:endParaRPr>
                </a:p>
              </p:txBody>
            </p:sp>
            <p:sp>
              <p:nvSpPr>
                <p:cNvPr id="341" name="Freeform 340"/>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EF8A2F"/>
                </a:solidFill>
                <a:ln w="3175">
                  <a:solidFill>
                    <a:srgbClr val="EF8A2F"/>
                  </a:solidFill>
                  <a:round/>
                  <a:headEnd/>
                  <a:tailEnd/>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188F"/>
                    </a:solidFill>
                    <a:effectLst/>
                    <a:uLnTx/>
                    <a:uFillTx/>
                    <a:latin typeface="Century Gothic" panose="020F0302020204030204"/>
                    <a:ea typeface="+mn-ea"/>
                    <a:cs typeface="+mn-cs"/>
                  </a:endParaRPr>
                </a:p>
              </p:txBody>
            </p:sp>
          </p:grpSp>
          <p:sp>
            <p:nvSpPr>
              <p:cNvPr id="339"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grpSp>
        <p:nvGrpSpPr>
          <p:cNvPr id="76" name="Group 75"/>
          <p:cNvGrpSpPr>
            <a:grpSpLocks noChangeAspect="1"/>
          </p:cNvGrpSpPr>
          <p:nvPr/>
        </p:nvGrpSpPr>
        <p:grpSpPr>
          <a:xfrm>
            <a:off x="2231059" y="2927183"/>
            <a:ext cx="254119" cy="208642"/>
            <a:chOff x="-4435475" y="1371600"/>
            <a:chExt cx="4435475" cy="3641725"/>
          </a:xfrm>
        </p:grpSpPr>
        <p:sp>
          <p:nvSpPr>
            <p:cNvPr id="326" name="Freeform 325"/>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nvGrpSpPr>
            <p:cNvPr id="327" name="Group 326"/>
            <p:cNvGrpSpPr/>
            <p:nvPr/>
          </p:nvGrpSpPr>
          <p:grpSpPr>
            <a:xfrm>
              <a:off x="-4206871" y="1603381"/>
              <a:ext cx="3978266" cy="3168650"/>
              <a:chOff x="-4206875" y="1603375"/>
              <a:chExt cx="3978275" cy="3168650"/>
            </a:xfrm>
            <a:solidFill>
              <a:schemeClr val="bg1"/>
            </a:solidFill>
          </p:grpSpPr>
          <p:sp>
            <p:nvSpPr>
              <p:cNvPr id="328" name="Freeform 327"/>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29" name="Freeform 328"/>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30" name="Freeform 329"/>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31" name="Freeform 330"/>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32" name="Freeform 331"/>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33" name="Freeform 332"/>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34" name="Freeform 333"/>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35" name="Freeform 334"/>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grpSp>
        <p:nvGrpSpPr>
          <p:cNvPr id="77" name="Group 76"/>
          <p:cNvGrpSpPr>
            <a:grpSpLocks noChangeAspect="1"/>
          </p:cNvGrpSpPr>
          <p:nvPr/>
        </p:nvGrpSpPr>
        <p:grpSpPr>
          <a:xfrm>
            <a:off x="2990972" y="2927183"/>
            <a:ext cx="254119" cy="208642"/>
            <a:chOff x="-4435475" y="1371600"/>
            <a:chExt cx="4435475" cy="3641725"/>
          </a:xfrm>
        </p:grpSpPr>
        <p:sp>
          <p:nvSpPr>
            <p:cNvPr id="316" name="Freeform 315"/>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nvGrpSpPr>
            <p:cNvPr id="317" name="Group 316"/>
            <p:cNvGrpSpPr/>
            <p:nvPr/>
          </p:nvGrpSpPr>
          <p:grpSpPr>
            <a:xfrm>
              <a:off x="-4206871" y="1603381"/>
              <a:ext cx="3978266" cy="3168650"/>
              <a:chOff x="-4206875" y="1603375"/>
              <a:chExt cx="3978275" cy="3168650"/>
            </a:xfrm>
            <a:solidFill>
              <a:schemeClr val="bg1"/>
            </a:solidFill>
          </p:grpSpPr>
          <p:sp>
            <p:nvSpPr>
              <p:cNvPr id="318" name="Freeform 317"/>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19" name="Freeform 318"/>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20" name="Freeform 319"/>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21" name="Freeform 320"/>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22" name="Freeform 321"/>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23" name="Freeform 322"/>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24" name="Freeform 323"/>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25" name="Freeform 324"/>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grpSp>
        <p:nvGrpSpPr>
          <p:cNvPr id="78" name="Group 77"/>
          <p:cNvGrpSpPr>
            <a:grpSpLocks noChangeAspect="1"/>
          </p:cNvGrpSpPr>
          <p:nvPr/>
        </p:nvGrpSpPr>
        <p:grpSpPr>
          <a:xfrm>
            <a:off x="3987894" y="2927183"/>
            <a:ext cx="254119" cy="208642"/>
            <a:chOff x="-4435475" y="1371600"/>
            <a:chExt cx="4435475" cy="3641725"/>
          </a:xfrm>
        </p:grpSpPr>
        <p:sp>
          <p:nvSpPr>
            <p:cNvPr id="306" name="Freeform 305"/>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nvGrpSpPr>
            <p:cNvPr id="307" name="Group 306"/>
            <p:cNvGrpSpPr/>
            <p:nvPr/>
          </p:nvGrpSpPr>
          <p:grpSpPr>
            <a:xfrm>
              <a:off x="-4206871" y="1603381"/>
              <a:ext cx="3978266" cy="3168650"/>
              <a:chOff x="-4206875" y="1603375"/>
              <a:chExt cx="3978275" cy="3168650"/>
            </a:xfrm>
            <a:solidFill>
              <a:schemeClr val="bg1"/>
            </a:solidFill>
          </p:grpSpPr>
          <p:sp>
            <p:nvSpPr>
              <p:cNvPr id="308" name="Freeform 307"/>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09" name="Freeform 308"/>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10" name="Freeform 309"/>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11" name="Freeform 310"/>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12" name="Freeform 311"/>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13" name="Freeform 312"/>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14" name="Freeform 313"/>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315" name="Freeform 314"/>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grpSp>
        <p:nvGrpSpPr>
          <p:cNvPr id="79" name="Group 78"/>
          <p:cNvGrpSpPr/>
          <p:nvPr/>
        </p:nvGrpSpPr>
        <p:grpSpPr>
          <a:xfrm>
            <a:off x="4403456" y="3284235"/>
            <a:ext cx="356412" cy="258386"/>
            <a:chOff x="6227763" y="3667125"/>
            <a:chExt cx="395287" cy="312737"/>
          </a:xfrm>
        </p:grpSpPr>
        <p:sp>
          <p:nvSpPr>
            <p:cNvPr id="299" name="Freeform 298"/>
            <p:cNvSpPr>
              <a:spLocks/>
            </p:cNvSpPr>
            <p:nvPr/>
          </p:nvSpPr>
          <p:spPr bwMode="auto">
            <a:xfrm>
              <a:off x="6300788" y="3667125"/>
              <a:ext cx="266700" cy="84137"/>
            </a:xfrm>
            <a:custGeom>
              <a:avLst/>
              <a:gdLst>
                <a:gd name="T0" fmla="*/ 0 w 1513"/>
                <a:gd name="T1" fmla="*/ 0 h 426"/>
                <a:gd name="T2" fmla="*/ 428 w 1513"/>
                <a:gd name="T3" fmla="*/ 426 h 426"/>
                <a:gd name="T4" fmla="*/ 1513 w 1513"/>
                <a:gd name="T5" fmla="*/ 426 h 426"/>
                <a:gd name="T6" fmla="*/ 1084 w 1513"/>
                <a:gd name="T7" fmla="*/ 0 h 426"/>
                <a:gd name="T8" fmla="*/ 0 w 1513"/>
                <a:gd name="T9" fmla="*/ 0 h 426"/>
              </a:gdLst>
              <a:ahLst/>
              <a:cxnLst>
                <a:cxn ang="0">
                  <a:pos x="T0" y="T1"/>
                </a:cxn>
                <a:cxn ang="0">
                  <a:pos x="T2" y="T3"/>
                </a:cxn>
                <a:cxn ang="0">
                  <a:pos x="T4" y="T5"/>
                </a:cxn>
                <a:cxn ang="0">
                  <a:pos x="T6" y="T7"/>
                </a:cxn>
                <a:cxn ang="0">
                  <a:pos x="T8" y="T9"/>
                </a:cxn>
              </a:cxnLst>
              <a:rect l="0" t="0" r="r" b="b"/>
              <a:pathLst>
                <a:path w="1513" h="426">
                  <a:moveTo>
                    <a:pt x="0" y="0"/>
                  </a:moveTo>
                  <a:lnTo>
                    <a:pt x="428" y="426"/>
                  </a:lnTo>
                  <a:lnTo>
                    <a:pt x="1513" y="426"/>
                  </a:lnTo>
                  <a:lnTo>
                    <a:pt x="1084" y="0"/>
                  </a:lnTo>
                  <a:lnTo>
                    <a:pt x="0" y="0"/>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00" name="Rectangle 299"/>
            <p:cNvSpPr>
              <a:spLocks noChangeArrowheads="1"/>
            </p:cNvSpPr>
            <p:nvPr/>
          </p:nvSpPr>
          <p:spPr bwMode="auto">
            <a:xfrm>
              <a:off x="6300788" y="3667125"/>
              <a:ext cx="192087" cy="87312"/>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01" name="Freeform 300"/>
            <p:cNvSpPr>
              <a:spLocks/>
            </p:cNvSpPr>
            <p:nvPr/>
          </p:nvSpPr>
          <p:spPr bwMode="auto">
            <a:xfrm>
              <a:off x="6302375" y="3667125"/>
              <a:ext cx="74612" cy="312737"/>
            </a:xfrm>
            <a:custGeom>
              <a:avLst/>
              <a:gdLst>
                <a:gd name="T0" fmla="*/ 419 w 419"/>
                <a:gd name="T1" fmla="*/ 1578 h 1578"/>
                <a:gd name="T2" fmla="*/ 0 w 419"/>
                <a:gd name="T3" fmla="*/ 1155 h 1578"/>
                <a:gd name="T4" fmla="*/ 0 w 419"/>
                <a:gd name="T5" fmla="*/ 0 h 1578"/>
                <a:gd name="T6" fmla="*/ 419 w 419"/>
                <a:gd name="T7" fmla="*/ 423 h 1578"/>
                <a:gd name="T8" fmla="*/ 419 w 419"/>
                <a:gd name="T9" fmla="*/ 1578 h 1578"/>
              </a:gdLst>
              <a:ahLst/>
              <a:cxnLst>
                <a:cxn ang="0">
                  <a:pos x="T0" y="T1"/>
                </a:cxn>
                <a:cxn ang="0">
                  <a:pos x="T2" y="T3"/>
                </a:cxn>
                <a:cxn ang="0">
                  <a:pos x="T4" y="T5"/>
                </a:cxn>
                <a:cxn ang="0">
                  <a:pos x="T6" y="T7"/>
                </a:cxn>
                <a:cxn ang="0">
                  <a:pos x="T8" y="T9"/>
                </a:cxn>
              </a:cxnLst>
              <a:rect l="0" t="0" r="r" b="b"/>
              <a:pathLst>
                <a:path w="419" h="1578">
                  <a:moveTo>
                    <a:pt x="419" y="1578"/>
                  </a:moveTo>
                  <a:lnTo>
                    <a:pt x="0" y="1155"/>
                  </a:lnTo>
                  <a:lnTo>
                    <a:pt x="0" y="0"/>
                  </a:lnTo>
                  <a:lnTo>
                    <a:pt x="419" y="423"/>
                  </a:lnTo>
                  <a:lnTo>
                    <a:pt x="419" y="1578"/>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02" name="Freeform 301"/>
            <p:cNvSpPr>
              <a:spLocks/>
            </p:cNvSpPr>
            <p:nvPr/>
          </p:nvSpPr>
          <p:spPr bwMode="auto">
            <a:xfrm>
              <a:off x="6227763" y="3667125"/>
              <a:ext cx="150812" cy="138112"/>
            </a:xfrm>
            <a:custGeom>
              <a:avLst/>
              <a:gdLst>
                <a:gd name="T0" fmla="*/ 0 w 850"/>
                <a:gd name="T1" fmla="*/ 272 h 702"/>
                <a:gd name="T2" fmla="*/ 412 w 850"/>
                <a:gd name="T3" fmla="*/ 0 h 702"/>
                <a:gd name="T4" fmla="*/ 850 w 850"/>
                <a:gd name="T5" fmla="*/ 430 h 702"/>
                <a:gd name="T6" fmla="*/ 438 w 850"/>
                <a:gd name="T7" fmla="*/ 702 h 702"/>
                <a:gd name="T8" fmla="*/ 0 w 850"/>
                <a:gd name="T9" fmla="*/ 272 h 702"/>
              </a:gdLst>
              <a:ahLst/>
              <a:cxnLst>
                <a:cxn ang="0">
                  <a:pos x="T0" y="T1"/>
                </a:cxn>
                <a:cxn ang="0">
                  <a:pos x="T2" y="T3"/>
                </a:cxn>
                <a:cxn ang="0">
                  <a:pos x="T4" y="T5"/>
                </a:cxn>
                <a:cxn ang="0">
                  <a:pos x="T6" y="T7"/>
                </a:cxn>
                <a:cxn ang="0">
                  <a:pos x="T8" y="T9"/>
                </a:cxn>
              </a:cxnLst>
              <a:rect l="0" t="0" r="r" b="b"/>
              <a:pathLst>
                <a:path w="850" h="702">
                  <a:moveTo>
                    <a:pt x="0" y="272"/>
                  </a:moveTo>
                  <a:lnTo>
                    <a:pt x="412" y="0"/>
                  </a:lnTo>
                  <a:lnTo>
                    <a:pt x="850" y="430"/>
                  </a:lnTo>
                  <a:lnTo>
                    <a:pt x="438" y="702"/>
                  </a:lnTo>
                  <a:lnTo>
                    <a:pt x="0" y="272"/>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03" name="Freeform 302"/>
            <p:cNvSpPr>
              <a:spLocks/>
            </p:cNvSpPr>
            <p:nvPr/>
          </p:nvSpPr>
          <p:spPr bwMode="auto">
            <a:xfrm>
              <a:off x="6492875" y="3667125"/>
              <a:ext cx="130175" cy="107950"/>
            </a:xfrm>
            <a:custGeom>
              <a:avLst/>
              <a:gdLst>
                <a:gd name="T0" fmla="*/ 0 w 732"/>
                <a:gd name="T1" fmla="*/ 0 h 544"/>
                <a:gd name="T2" fmla="*/ 435 w 732"/>
                <a:gd name="T3" fmla="*/ 430 h 544"/>
                <a:gd name="T4" fmla="*/ 732 w 732"/>
                <a:gd name="T5" fmla="*/ 544 h 544"/>
                <a:gd name="T6" fmla="*/ 339 w 732"/>
                <a:gd name="T7" fmla="*/ 173 h 544"/>
                <a:gd name="T8" fmla="*/ 0 w 732"/>
                <a:gd name="T9" fmla="*/ 0 h 544"/>
              </a:gdLst>
              <a:ahLst/>
              <a:cxnLst>
                <a:cxn ang="0">
                  <a:pos x="T0" y="T1"/>
                </a:cxn>
                <a:cxn ang="0">
                  <a:pos x="T2" y="T3"/>
                </a:cxn>
                <a:cxn ang="0">
                  <a:pos x="T4" y="T5"/>
                </a:cxn>
                <a:cxn ang="0">
                  <a:pos x="T6" y="T7"/>
                </a:cxn>
                <a:cxn ang="0">
                  <a:pos x="T8" y="T9"/>
                </a:cxn>
              </a:cxnLst>
              <a:rect l="0" t="0" r="r" b="b"/>
              <a:pathLst>
                <a:path w="732" h="544">
                  <a:moveTo>
                    <a:pt x="0" y="0"/>
                  </a:moveTo>
                  <a:lnTo>
                    <a:pt x="435" y="430"/>
                  </a:lnTo>
                  <a:lnTo>
                    <a:pt x="732" y="544"/>
                  </a:lnTo>
                  <a:lnTo>
                    <a:pt x="339" y="173"/>
                  </a:lnTo>
                  <a:lnTo>
                    <a:pt x="0" y="0"/>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04" name="Rectangle 303"/>
            <p:cNvSpPr>
              <a:spLocks noChangeArrowheads="1"/>
            </p:cNvSpPr>
            <p:nvPr/>
          </p:nvSpPr>
          <p:spPr bwMode="auto">
            <a:xfrm>
              <a:off x="6376988" y="3752850"/>
              <a:ext cx="192087" cy="227012"/>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305" name="Freeform 304"/>
            <p:cNvSpPr>
              <a:spLocks/>
            </p:cNvSpPr>
            <p:nvPr/>
          </p:nvSpPr>
          <p:spPr bwMode="auto">
            <a:xfrm>
              <a:off x="6376988" y="3752850"/>
              <a:ext cx="227012" cy="80962"/>
            </a:xfrm>
            <a:custGeom>
              <a:avLst/>
              <a:gdLst>
                <a:gd name="T0" fmla="*/ 198 w 1290"/>
                <a:gd name="T1" fmla="*/ 406 h 406"/>
                <a:gd name="T2" fmla="*/ 0 w 1290"/>
                <a:gd name="T3" fmla="*/ 2 h 406"/>
                <a:gd name="T4" fmla="*/ 1084 w 1290"/>
                <a:gd name="T5" fmla="*/ 0 h 406"/>
                <a:gd name="T6" fmla="*/ 1290 w 1290"/>
                <a:gd name="T7" fmla="*/ 382 h 406"/>
                <a:gd name="T8" fmla="*/ 198 w 1290"/>
                <a:gd name="T9" fmla="*/ 406 h 406"/>
              </a:gdLst>
              <a:ahLst/>
              <a:cxnLst>
                <a:cxn ang="0">
                  <a:pos x="T0" y="T1"/>
                </a:cxn>
                <a:cxn ang="0">
                  <a:pos x="T2" y="T3"/>
                </a:cxn>
                <a:cxn ang="0">
                  <a:pos x="T4" y="T5"/>
                </a:cxn>
                <a:cxn ang="0">
                  <a:pos x="T6" y="T7"/>
                </a:cxn>
                <a:cxn ang="0">
                  <a:pos x="T8" y="T9"/>
                </a:cxn>
              </a:cxnLst>
              <a:rect l="0" t="0" r="r" b="b"/>
              <a:pathLst>
                <a:path w="1290" h="406">
                  <a:moveTo>
                    <a:pt x="198" y="406"/>
                  </a:moveTo>
                  <a:lnTo>
                    <a:pt x="0" y="2"/>
                  </a:lnTo>
                  <a:lnTo>
                    <a:pt x="1084" y="0"/>
                  </a:lnTo>
                  <a:lnTo>
                    <a:pt x="1290" y="382"/>
                  </a:lnTo>
                  <a:lnTo>
                    <a:pt x="198" y="406"/>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80" name="Group 79"/>
          <p:cNvGrpSpPr/>
          <p:nvPr/>
        </p:nvGrpSpPr>
        <p:grpSpPr>
          <a:xfrm flipH="1">
            <a:off x="4605673" y="3652641"/>
            <a:ext cx="251252" cy="257394"/>
            <a:chOff x="8647838" y="2755964"/>
            <a:chExt cx="1111808" cy="1138987"/>
          </a:xfrm>
        </p:grpSpPr>
        <p:sp>
          <p:nvSpPr>
            <p:cNvPr id="296" name="Parallelogram 295"/>
            <p:cNvSpPr/>
            <p:nvPr/>
          </p:nvSpPr>
          <p:spPr bwMode="auto">
            <a:xfrm>
              <a:off x="8647838" y="2763406"/>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97" name="Parallelogram 296"/>
            <p:cNvSpPr/>
            <p:nvPr/>
          </p:nvSpPr>
          <p:spPr bwMode="auto">
            <a:xfrm rot="16200000" flipH="1">
              <a:off x="9066878" y="3201371"/>
              <a:ext cx="1138176" cy="247361"/>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98" name="Rectangle 297"/>
            <p:cNvSpPr/>
            <p:nvPr/>
          </p:nvSpPr>
          <p:spPr bwMode="auto">
            <a:xfrm>
              <a:off x="8654819"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81" name="Group 80"/>
          <p:cNvGrpSpPr/>
          <p:nvPr/>
        </p:nvGrpSpPr>
        <p:grpSpPr>
          <a:xfrm flipH="1">
            <a:off x="4788070" y="4045052"/>
            <a:ext cx="251252" cy="259925"/>
            <a:chOff x="8647838" y="2744764"/>
            <a:chExt cx="1111808" cy="1150187"/>
          </a:xfrm>
        </p:grpSpPr>
        <p:sp>
          <p:nvSpPr>
            <p:cNvPr id="293" name="Parallelogram 292"/>
            <p:cNvSpPr/>
            <p:nvPr/>
          </p:nvSpPr>
          <p:spPr bwMode="auto">
            <a:xfrm>
              <a:off x="8647838" y="2744764"/>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94" name="Parallelogram 293"/>
            <p:cNvSpPr/>
            <p:nvPr/>
          </p:nvSpPr>
          <p:spPr bwMode="auto">
            <a:xfrm rot="16200000" flipH="1">
              <a:off x="9080145" y="3208665"/>
              <a:ext cx="1132204" cy="226799"/>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95" name="Rectangle 294"/>
            <p:cNvSpPr/>
            <p:nvPr/>
          </p:nvSpPr>
          <p:spPr bwMode="auto">
            <a:xfrm>
              <a:off x="8654819"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82" name="Group 81"/>
          <p:cNvGrpSpPr/>
          <p:nvPr/>
        </p:nvGrpSpPr>
        <p:grpSpPr>
          <a:xfrm flipH="1">
            <a:off x="5176613" y="4889446"/>
            <a:ext cx="365636" cy="377384"/>
            <a:chOff x="8642653" y="2742509"/>
            <a:chExt cx="1103537" cy="1138985"/>
          </a:xfrm>
        </p:grpSpPr>
        <p:sp>
          <p:nvSpPr>
            <p:cNvPr id="290" name="Parallelogram 289"/>
            <p:cNvSpPr/>
            <p:nvPr/>
          </p:nvSpPr>
          <p:spPr bwMode="auto">
            <a:xfrm>
              <a:off x="8642653" y="2744764"/>
              <a:ext cx="1098085"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91" name="Parallelogram 290"/>
            <p:cNvSpPr/>
            <p:nvPr/>
          </p:nvSpPr>
          <p:spPr bwMode="auto">
            <a:xfrm rot="16200000" flipH="1">
              <a:off x="9065447" y="3195862"/>
              <a:ext cx="1134096" cy="227390"/>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92" name="Rectangle 291"/>
            <p:cNvSpPr/>
            <p:nvPr/>
          </p:nvSpPr>
          <p:spPr bwMode="auto">
            <a:xfrm>
              <a:off x="8649635" y="2986007"/>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83" name="Group 82"/>
          <p:cNvGrpSpPr>
            <a:grpSpLocks noChangeAspect="1"/>
          </p:cNvGrpSpPr>
          <p:nvPr/>
        </p:nvGrpSpPr>
        <p:grpSpPr>
          <a:xfrm rot="1687298">
            <a:off x="4575850" y="3049017"/>
            <a:ext cx="254119" cy="208642"/>
            <a:chOff x="-4435475" y="1371600"/>
            <a:chExt cx="4435475" cy="3641725"/>
          </a:xfrm>
        </p:grpSpPr>
        <p:sp>
          <p:nvSpPr>
            <p:cNvPr id="280" name="Freeform 279"/>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nvGrpSpPr>
            <p:cNvPr id="281" name="Group 280"/>
            <p:cNvGrpSpPr/>
            <p:nvPr/>
          </p:nvGrpSpPr>
          <p:grpSpPr>
            <a:xfrm>
              <a:off x="-4206877" y="1603379"/>
              <a:ext cx="3978266" cy="3168650"/>
              <a:chOff x="-4206875" y="1603375"/>
              <a:chExt cx="3978275" cy="3168650"/>
            </a:xfrm>
            <a:solidFill>
              <a:schemeClr val="bg1"/>
            </a:solidFill>
          </p:grpSpPr>
          <p:sp>
            <p:nvSpPr>
              <p:cNvPr id="282" name="Freeform 281"/>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83" name="Freeform 282"/>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84" name="Freeform 283"/>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85" name="Freeform 284"/>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86" name="Freeform 285"/>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87" name="Freeform 286"/>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88" name="Freeform 287"/>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89" name="Freeform 288"/>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cxnSp>
        <p:nvCxnSpPr>
          <p:cNvPr id="84" name="Elbow Connector 83"/>
          <p:cNvCxnSpPr>
            <a:endCxn id="421" idx="1"/>
          </p:cNvCxnSpPr>
          <p:nvPr/>
        </p:nvCxnSpPr>
        <p:spPr>
          <a:xfrm rot="10800000" flipV="1">
            <a:off x="4419354" y="3853906"/>
            <a:ext cx="2210107" cy="1035412"/>
          </a:xfrm>
          <a:prstGeom prst="bentConnector3">
            <a:avLst>
              <a:gd name="adj1" fmla="val 50000"/>
            </a:avLst>
          </a:prstGeom>
          <a:solidFill>
            <a:srgbClr val="8DC548">
              <a:alpha val="25000"/>
            </a:srgbClr>
          </a:solidFill>
          <a:ln w="19050">
            <a:solidFill>
              <a:srgbClr val="8DC548"/>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85" name="Group 84"/>
          <p:cNvGrpSpPr>
            <a:grpSpLocks noChangeAspect="1"/>
          </p:cNvGrpSpPr>
          <p:nvPr/>
        </p:nvGrpSpPr>
        <p:grpSpPr>
          <a:xfrm>
            <a:off x="7365596" y="938199"/>
            <a:ext cx="817937" cy="366529"/>
            <a:chOff x="14786043" y="1650860"/>
            <a:chExt cx="7326144" cy="3282950"/>
          </a:xfrm>
        </p:grpSpPr>
        <p:sp>
          <p:nvSpPr>
            <p:cNvPr id="274" name="Rectangle 273"/>
            <p:cNvSpPr/>
            <p:nvPr/>
          </p:nvSpPr>
          <p:spPr bwMode="auto">
            <a:xfrm>
              <a:off x="19192672" y="2926427"/>
              <a:ext cx="2743196" cy="1705928"/>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275" name="Rectangle 1117"/>
            <p:cNvSpPr/>
            <p:nvPr/>
          </p:nvSpPr>
          <p:spPr bwMode="auto">
            <a:xfrm>
              <a:off x="15972820" y="1983342"/>
              <a:ext cx="1945529" cy="2503075"/>
            </a:xfrm>
            <a:custGeom>
              <a:avLst/>
              <a:gdLst/>
              <a:ahLst/>
              <a:cxnLst/>
              <a:rect l="l" t="t" r="r" b="b"/>
              <a:pathLst>
                <a:path w="1945531" h="2503072">
                  <a:moveTo>
                    <a:pt x="0" y="0"/>
                  </a:moveTo>
                  <a:lnTo>
                    <a:pt x="1945531" y="0"/>
                  </a:lnTo>
                  <a:lnTo>
                    <a:pt x="1945531" y="2503072"/>
                  </a:lnTo>
                  <a:lnTo>
                    <a:pt x="730544" y="2503072"/>
                  </a:lnTo>
                  <a:lnTo>
                    <a:pt x="706321" y="2452308"/>
                  </a:lnTo>
                  <a:lnTo>
                    <a:pt x="674798" y="2399453"/>
                  </a:lnTo>
                  <a:lnTo>
                    <a:pt x="640122" y="2354730"/>
                  </a:lnTo>
                  <a:lnTo>
                    <a:pt x="599141" y="2310007"/>
                  </a:lnTo>
                  <a:lnTo>
                    <a:pt x="558160" y="2273416"/>
                  </a:lnTo>
                  <a:lnTo>
                    <a:pt x="510875" y="2236824"/>
                  </a:lnTo>
                  <a:lnTo>
                    <a:pt x="460437" y="2204298"/>
                  </a:lnTo>
                  <a:lnTo>
                    <a:pt x="406847" y="2179904"/>
                  </a:lnTo>
                  <a:lnTo>
                    <a:pt x="350104" y="2159575"/>
                  </a:lnTo>
                  <a:lnTo>
                    <a:pt x="293361" y="2143312"/>
                  </a:lnTo>
                  <a:lnTo>
                    <a:pt x="233466" y="2135181"/>
                  </a:lnTo>
                  <a:lnTo>
                    <a:pt x="170419" y="2131115"/>
                  </a:lnTo>
                  <a:lnTo>
                    <a:pt x="126286" y="2135181"/>
                  </a:lnTo>
                  <a:lnTo>
                    <a:pt x="82153" y="2139247"/>
                  </a:lnTo>
                  <a:lnTo>
                    <a:pt x="41172" y="2147378"/>
                  </a:lnTo>
                  <a:lnTo>
                    <a:pt x="0" y="2154964"/>
                  </a:lnTo>
                  <a:close/>
                </a:path>
              </a:pathLst>
            </a:cu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276" name="Rectangle 275"/>
            <p:cNvSpPr/>
            <p:nvPr/>
          </p:nvSpPr>
          <p:spPr bwMode="auto">
            <a:xfrm>
              <a:off x="16741305" y="1983342"/>
              <a:ext cx="1945529" cy="1705928"/>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277" name="Freeform 276"/>
            <p:cNvSpPr>
              <a:spLocks noEditPoints="1"/>
            </p:cNvSpPr>
            <p:nvPr/>
          </p:nvSpPr>
          <p:spPr bwMode="auto">
            <a:xfrm>
              <a:off x="19044854" y="2504939"/>
              <a:ext cx="3067333" cy="2425701"/>
            </a:xfrm>
            <a:custGeom>
              <a:avLst/>
              <a:gdLst>
                <a:gd name="T0" fmla="*/ 0 w 2492"/>
                <a:gd name="T1" fmla="*/ 0 h 1528"/>
                <a:gd name="T2" fmla="*/ 0 w 2492"/>
                <a:gd name="T3" fmla="*/ 1528 h 1528"/>
                <a:gd name="T4" fmla="*/ 2492 w 2492"/>
                <a:gd name="T5" fmla="*/ 1528 h 1528"/>
                <a:gd name="T6" fmla="*/ 2492 w 2492"/>
                <a:gd name="T7" fmla="*/ 0 h 1528"/>
                <a:gd name="T8" fmla="*/ 0 w 2492"/>
                <a:gd name="T9" fmla="*/ 0 h 1528"/>
                <a:gd name="T10" fmla="*/ 594 w 2492"/>
                <a:gd name="T11" fmla="*/ 1198 h 1528"/>
                <a:gd name="T12" fmla="*/ 244 w 2492"/>
                <a:gd name="T13" fmla="*/ 1198 h 1528"/>
                <a:gd name="T14" fmla="*/ 244 w 2492"/>
                <a:gd name="T15" fmla="*/ 870 h 1528"/>
                <a:gd name="T16" fmla="*/ 594 w 2492"/>
                <a:gd name="T17" fmla="*/ 870 h 1528"/>
                <a:gd name="T18" fmla="*/ 594 w 2492"/>
                <a:gd name="T19" fmla="*/ 1198 h 1528"/>
                <a:gd name="T20" fmla="*/ 594 w 2492"/>
                <a:gd name="T21" fmla="*/ 642 h 1528"/>
                <a:gd name="T22" fmla="*/ 244 w 2492"/>
                <a:gd name="T23" fmla="*/ 642 h 1528"/>
                <a:gd name="T24" fmla="*/ 244 w 2492"/>
                <a:gd name="T25" fmla="*/ 314 h 1528"/>
                <a:gd name="T26" fmla="*/ 594 w 2492"/>
                <a:gd name="T27" fmla="*/ 314 h 1528"/>
                <a:gd name="T28" fmla="*/ 594 w 2492"/>
                <a:gd name="T29" fmla="*/ 642 h 1528"/>
                <a:gd name="T30" fmla="*/ 1156 w 2492"/>
                <a:gd name="T31" fmla="*/ 1198 h 1528"/>
                <a:gd name="T32" fmla="*/ 806 w 2492"/>
                <a:gd name="T33" fmla="*/ 1198 h 1528"/>
                <a:gd name="T34" fmla="*/ 806 w 2492"/>
                <a:gd name="T35" fmla="*/ 870 h 1528"/>
                <a:gd name="T36" fmla="*/ 1156 w 2492"/>
                <a:gd name="T37" fmla="*/ 870 h 1528"/>
                <a:gd name="T38" fmla="*/ 1156 w 2492"/>
                <a:gd name="T39" fmla="*/ 1198 h 1528"/>
                <a:gd name="T40" fmla="*/ 1156 w 2492"/>
                <a:gd name="T41" fmla="*/ 642 h 1528"/>
                <a:gd name="T42" fmla="*/ 806 w 2492"/>
                <a:gd name="T43" fmla="*/ 642 h 1528"/>
                <a:gd name="T44" fmla="*/ 806 w 2492"/>
                <a:gd name="T45" fmla="*/ 314 h 1528"/>
                <a:gd name="T46" fmla="*/ 1156 w 2492"/>
                <a:gd name="T47" fmla="*/ 314 h 1528"/>
                <a:gd name="T48" fmla="*/ 1156 w 2492"/>
                <a:gd name="T49" fmla="*/ 642 h 1528"/>
                <a:gd name="T50" fmla="*/ 1706 w 2492"/>
                <a:gd name="T51" fmla="*/ 1198 h 1528"/>
                <a:gd name="T52" fmla="*/ 1356 w 2492"/>
                <a:gd name="T53" fmla="*/ 1198 h 1528"/>
                <a:gd name="T54" fmla="*/ 1356 w 2492"/>
                <a:gd name="T55" fmla="*/ 870 h 1528"/>
                <a:gd name="T56" fmla="*/ 1706 w 2492"/>
                <a:gd name="T57" fmla="*/ 870 h 1528"/>
                <a:gd name="T58" fmla="*/ 1706 w 2492"/>
                <a:gd name="T59" fmla="*/ 1198 h 1528"/>
                <a:gd name="T60" fmla="*/ 1706 w 2492"/>
                <a:gd name="T61" fmla="*/ 642 h 1528"/>
                <a:gd name="T62" fmla="*/ 1356 w 2492"/>
                <a:gd name="T63" fmla="*/ 642 h 1528"/>
                <a:gd name="T64" fmla="*/ 1356 w 2492"/>
                <a:gd name="T65" fmla="*/ 314 h 1528"/>
                <a:gd name="T66" fmla="*/ 1706 w 2492"/>
                <a:gd name="T67" fmla="*/ 314 h 1528"/>
                <a:gd name="T68" fmla="*/ 1706 w 2492"/>
                <a:gd name="T69" fmla="*/ 642 h 1528"/>
                <a:gd name="T70" fmla="*/ 2274 w 2492"/>
                <a:gd name="T71" fmla="*/ 1198 h 1528"/>
                <a:gd name="T72" fmla="*/ 1924 w 2492"/>
                <a:gd name="T73" fmla="*/ 1198 h 1528"/>
                <a:gd name="T74" fmla="*/ 1924 w 2492"/>
                <a:gd name="T75" fmla="*/ 870 h 1528"/>
                <a:gd name="T76" fmla="*/ 2274 w 2492"/>
                <a:gd name="T77" fmla="*/ 870 h 1528"/>
                <a:gd name="T78" fmla="*/ 2274 w 2492"/>
                <a:gd name="T79" fmla="*/ 1198 h 1528"/>
                <a:gd name="T80" fmla="*/ 2274 w 2492"/>
                <a:gd name="T81" fmla="*/ 642 h 1528"/>
                <a:gd name="T82" fmla="*/ 1924 w 2492"/>
                <a:gd name="T83" fmla="*/ 642 h 1528"/>
                <a:gd name="T84" fmla="*/ 1924 w 2492"/>
                <a:gd name="T85" fmla="*/ 314 h 1528"/>
                <a:gd name="T86" fmla="*/ 2274 w 2492"/>
                <a:gd name="T87" fmla="*/ 314 h 1528"/>
                <a:gd name="T88" fmla="*/ 2274 w 2492"/>
                <a:gd name="T89" fmla="*/ 64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2" h="1528">
                  <a:moveTo>
                    <a:pt x="0" y="0"/>
                  </a:moveTo>
                  <a:lnTo>
                    <a:pt x="0" y="1528"/>
                  </a:lnTo>
                  <a:lnTo>
                    <a:pt x="2492" y="1528"/>
                  </a:lnTo>
                  <a:lnTo>
                    <a:pt x="2492" y="0"/>
                  </a:lnTo>
                  <a:lnTo>
                    <a:pt x="0" y="0"/>
                  </a:lnTo>
                  <a:close/>
                  <a:moveTo>
                    <a:pt x="594" y="1198"/>
                  </a:moveTo>
                  <a:lnTo>
                    <a:pt x="244" y="1198"/>
                  </a:lnTo>
                  <a:lnTo>
                    <a:pt x="244" y="870"/>
                  </a:lnTo>
                  <a:lnTo>
                    <a:pt x="594" y="870"/>
                  </a:lnTo>
                  <a:lnTo>
                    <a:pt x="594" y="1198"/>
                  </a:lnTo>
                  <a:close/>
                  <a:moveTo>
                    <a:pt x="594" y="642"/>
                  </a:moveTo>
                  <a:lnTo>
                    <a:pt x="244" y="642"/>
                  </a:lnTo>
                  <a:lnTo>
                    <a:pt x="244" y="314"/>
                  </a:lnTo>
                  <a:lnTo>
                    <a:pt x="594" y="314"/>
                  </a:lnTo>
                  <a:lnTo>
                    <a:pt x="594" y="642"/>
                  </a:lnTo>
                  <a:close/>
                  <a:moveTo>
                    <a:pt x="1156" y="1198"/>
                  </a:moveTo>
                  <a:lnTo>
                    <a:pt x="806" y="1198"/>
                  </a:lnTo>
                  <a:lnTo>
                    <a:pt x="806" y="870"/>
                  </a:lnTo>
                  <a:lnTo>
                    <a:pt x="1156" y="870"/>
                  </a:lnTo>
                  <a:lnTo>
                    <a:pt x="1156" y="1198"/>
                  </a:lnTo>
                  <a:close/>
                  <a:moveTo>
                    <a:pt x="1156" y="642"/>
                  </a:moveTo>
                  <a:lnTo>
                    <a:pt x="806" y="642"/>
                  </a:lnTo>
                  <a:lnTo>
                    <a:pt x="806" y="314"/>
                  </a:lnTo>
                  <a:lnTo>
                    <a:pt x="1156" y="314"/>
                  </a:lnTo>
                  <a:lnTo>
                    <a:pt x="1156" y="642"/>
                  </a:lnTo>
                  <a:close/>
                  <a:moveTo>
                    <a:pt x="1706" y="1198"/>
                  </a:moveTo>
                  <a:lnTo>
                    <a:pt x="1356" y="1198"/>
                  </a:lnTo>
                  <a:lnTo>
                    <a:pt x="1356" y="870"/>
                  </a:lnTo>
                  <a:lnTo>
                    <a:pt x="1706" y="870"/>
                  </a:lnTo>
                  <a:lnTo>
                    <a:pt x="1706" y="1198"/>
                  </a:lnTo>
                  <a:close/>
                  <a:moveTo>
                    <a:pt x="1706" y="642"/>
                  </a:moveTo>
                  <a:lnTo>
                    <a:pt x="1356" y="642"/>
                  </a:lnTo>
                  <a:lnTo>
                    <a:pt x="1356" y="314"/>
                  </a:lnTo>
                  <a:lnTo>
                    <a:pt x="1706" y="314"/>
                  </a:lnTo>
                  <a:lnTo>
                    <a:pt x="1706" y="642"/>
                  </a:lnTo>
                  <a:close/>
                  <a:moveTo>
                    <a:pt x="2274" y="1198"/>
                  </a:moveTo>
                  <a:lnTo>
                    <a:pt x="1924" y="1198"/>
                  </a:lnTo>
                  <a:lnTo>
                    <a:pt x="1924" y="870"/>
                  </a:lnTo>
                  <a:lnTo>
                    <a:pt x="2274" y="870"/>
                  </a:lnTo>
                  <a:lnTo>
                    <a:pt x="2274" y="1198"/>
                  </a:lnTo>
                  <a:close/>
                  <a:moveTo>
                    <a:pt x="2274" y="642"/>
                  </a:moveTo>
                  <a:lnTo>
                    <a:pt x="1924" y="642"/>
                  </a:lnTo>
                  <a:lnTo>
                    <a:pt x="1924" y="314"/>
                  </a:lnTo>
                  <a:lnTo>
                    <a:pt x="2274" y="314"/>
                  </a:lnTo>
                  <a:lnTo>
                    <a:pt x="2274" y="642"/>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78" name="Freeform 277"/>
            <p:cNvSpPr>
              <a:spLocks/>
            </p:cNvSpPr>
            <p:nvPr/>
          </p:nvSpPr>
          <p:spPr bwMode="auto">
            <a:xfrm>
              <a:off x="14786043" y="4248009"/>
              <a:ext cx="1799529" cy="685801"/>
            </a:xfrm>
            <a:custGeom>
              <a:avLst/>
              <a:gdLst>
                <a:gd name="T0" fmla="*/ 730 w 1462"/>
                <a:gd name="T1" fmla="*/ 432 h 432"/>
                <a:gd name="T2" fmla="*/ 730 w 1462"/>
                <a:gd name="T3" fmla="*/ 432 h 432"/>
                <a:gd name="T4" fmla="*/ 1422 w 1462"/>
                <a:gd name="T5" fmla="*/ 432 h 432"/>
                <a:gd name="T6" fmla="*/ 1438 w 1462"/>
                <a:gd name="T7" fmla="*/ 402 h 432"/>
                <a:gd name="T8" fmla="*/ 1452 w 1462"/>
                <a:gd name="T9" fmla="*/ 370 h 432"/>
                <a:gd name="T10" fmla="*/ 1458 w 1462"/>
                <a:gd name="T11" fmla="*/ 336 h 432"/>
                <a:gd name="T12" fmla="*/ 1462 w 1462"/>
                <a:gd name="T13" fmla="*/ 300 h 432"/>
                <a:gd name="T14" fmla="*/ 1460 w 1462"/>
                <a:gd name="T15" fmla="*/ 270 h 432"/>
                <a:gd name="T16" fmla="*/ 1444 w 1462"/>
                <a:gd name="T17" fmla="*/ 212 h 432"/>
                <a:gd name="T18" fmla="*/ 1416 w 1462"/>
                <a:gd name="T19" fmla="*/ 158 h 432"/>
                <a:gd name="T20" fmla="*/ 1374 w 1462"/>
                <a:gd name="T21" fmla="*/ 110 h 432"/>
                <a:gd name="T22" fmla="*/ 1322 w 1462"/>
                <a:gd name="T23" fmla="*/ 70 h 432"/>
                <a:gd name="T24" fmla="*/ 1260 w 1462"/>
                <a:gd name="T25" fmla="*/ 36 h 432"/>
                <a:gd name="T26" fmla="*/ 1190 w 1462"/>
                <a:gd name="T27" fmla="*/ 14 h 432"/>
                <a:gd name="T28" fmla="*/ 1116 w 1462"/>
                <a:gd name="T29" fmla="*/ 2 h 432"/>
                <a:gd name="T30" fmla="*/ 1076 w 1462"/>
                <a:gd name="T31" fmla="*/ 0 h 432"/>
                <a:gd name="T32" fmla="*/ 1020 w 1462"/>
                <a:gd name="T33" fmla="*/ 4 h 432"/>
                <a:gd name="T34" fmla="*/ 966 w 1462"/>
                <a:gd name="T35" fmla="*/ 12 h 432"/>
                <a:gd name="T36" fmla="*/ 916 w 1462"/>
                <a:gd name="T37" fmla="*/ 28 h 432"/>
                <a:gd name="T38" fmla="*/ 870 w 1462"/>
                <a:gd name="T39" fmla="*/ 48 h 432"/>
                <a:gd name="T40" fmla="*/ 828 w 1462"/>
                <a:gd name="T41" fmla="*/ 72 h 432"/>
                <a:gd name="T42" fmla="*/ 790 w 1462"/>
                <a:gd name="T43" fmla="*/ 100 h 432"/>
                <a:gd name="T44" fmla="*/ 756 w 1462"/>
                <a:gd name="T45" fmla="*/ 132 h 432"/>
                <a:gd name="T46" fmla="*/ 730 w 1462"/>
                <a:gd name="T47" fmla="*/ 168 h 432"/>
                <a:gd name="T48" fmla="*/ 718 w 1462"/>
                <a:gd name="T49" fmla="*/ 150 h 432"/>
                <a:gd name="T50" fmla="*/ 688 w 1462"/>
                <a:gd name="T51" fmla="*/ 116 h 432"/>
                <a:gd name="T52" fmla="*/ 652 w 1462"/>
                <a:gd name="T53" fmla="*/ 86 h 432"/>
                <a:gd name="T54" fmla="*/ 612 w 1462"/>
                <a:gd name="T55" fmla="*/ 58 h 432"/>
                <a:gd name="T56" fmla="*/ 568 w 1462"/>
                <a:gd name="T57" fmla="*/ 36 h 432"/>
                <a:gd name="T58" fmla="*/ 520 w 1462"/>
                <a:gd name="T59" fmla="*/ 20 h 432"/>
                <a:gd name="T60" fmla="*/ 468 w 1462"/>
                <a:gd name="T61" fmla="*/ 8 h 432"/>
                <a:gd name="T62" fmla="*/ 412 w 1462"/>
                <a:gd name="T63" fmla="*/ 2 h 432"/>
                <a:gd name="T64" fmla="*/ 384 w 1462"/>
                <a:gd name="T65" fmla="*/ 0 h 432"/>
                <a:gd name="T66" fmla="*/ 306 w 1462"/>
                <a:gd name="T67" fmla="*/ 6 h 432"/>
                <a:gd name="T68" fmla="*/ 234 w 1462"/>
                <a:gd name="T69" fmla="*/ 24 h 432"/>
                <a:gd name="T70" fmla="*/ 168 w 1462"/>
                <a:gd name="T71" fmla="*/ 52 h 432"/>
                <a:gd name="T72" fmla="*/ 112 w 1462"/>
                <a:gd name="T73" fmla="*/ 88 h 432"/>
                <a:gd name="T74" fmla="*/ 64 w 1462"/>
                <a:gd name="T75" fmla="*/ 132 h 432"/>
                <a:gd name="T76" fmla="*/ 30 w 1462"/>
                <a:gd name="T77" fmla="*/ 184 h 432"/>
                <a:gd name="T78" fmla="*/ 6 w 1462"/>
                <a:gd name="T79" fmla="*/ 240 h 432"/>
                <a:gd name="T80" fmla="*/ 0 w 1462"/>
                <a:gd name="T81" fmla="*/ 300 h 432"/>
                <a:gd name="T82" fmla="*/ 0 w 1462"/>
                <a:gd name="T83" fmla="*/ 318 h 432"/>
                <a:gd name="T84" fmla="*/ 6 w 1462"/>
                <a:gd name="T85" fmla="*/ 352 h 432"/>
                <a:gd name="T86" fmla="*/ 16 w 1462"/>
                <a:gd name="T87" fmla="*/ 386 h 432"/>
                <a:gd name="T88" fmla="*/ 40 w 1462"/>
                <a:gd name="T89"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2" h="432">
                  <a:moveTo>
                    <a:pt x="730" y="432"/>
                  </a:moveTo>
                  <a:lnTo>
                    <a:pt x="730" y="432"/>
                  </a:lnTo>
                  <a:lnTo>
                    <a:pt x="730" y="432"/>
                  </a:lnTo>
                  <a:lnTo>
                    <a:pt x="730" y="432"/>
                  </a:lnTo>
                  <a:lnTo>
                    <a:pt x="732" y="432"/>
                  </a:lnTo>
                  <a:lnTo>
                    <a:pt x="1422" y="432"/>
                  </a:lnTo>
                  <a:lnTo>
                    <a:pt x="1422" y="432"/>
                  </a:lnTo>
                  <a:lnTo>
                    <a:pt x="1438" y="402"/>
                  </a:lnTo>
                  <a:lnTo>
                    <a:pt x="1446" y="386"/>
                  </a:lnTo>
                  <a:lnTo>
                    <a:pt x="1452" y="370"/>
                  </a:lnTo>
                  <a:lnTo>
                    <a:pt x="1456" y="352"/>
                  </a:lnTo>
                  <a:lnTo>
                    <a:pt x="1458" y="336"/>
                  </a:lnTo>
                  <a:lnTo>
                    <a:pt x="1460" y="318"/>
                  </a:lnTo>
                  <a:lnTo>
                    <a:pt x="1462" y="300"/>
                  </a:lnTo>
                  <a:lnTo>
                    <a:pt x="1462" y="300"/>
                  </a:lnTo>
                  <a:lnTo>
                    <a:pt x="1460" y="270"/>
                  </a:lnTo>
                  <a:lnTo>
                    <a:pt x="1454" y="240"/>
                  </a:lnTo>
                  <a:lnTo>
                    <a:pt x="1444" y="212"/>
                  </a:lnTo>
                  <a:lnTo>
                    <a:pt x="1432" y="184"/>
                  </a:lnTo>
                  <a:lnTo>
                    <a:pt x="1416" y="158"/>
                  </a:lnTo>
                  <a:lnTo>
                    <a:pt x="1396" y="132"/>
                  </a:lnTo>
                  <a:lnTo>
                    <a:pt x="1374" y="110"/>
                  </a:lnTo>
                  <a:lnTo>
                    <a:pt x="1348" y="88"/>
                  </a:lnTo>
                  <a:lnTo>
                    <a:pt x="1322" y="70"/>
                  </a:lnTo>
                  <a:lnTo>
                    <a:pt x="1292" y="52"/>
                  </a:lnTo>
                  <a:lnTo>
                    <a:pt x="1260" y="36"/>
                  </a:lnTo>
                  <a:lnTo>
                    <a:pt x="1226" y="24"/>
                  </a:lnTo>
                  <a:lnTo>
                    <a:pt x="1190" y="14"/>
                  </a:lnTo>
                  <a:lnTo>
                    <a:pt x="1154" y="6"/>
                  </a:lnTo>
                  <a:lnTo>
                    <a:pt x="1116" y="2"/>
                  </a:lnTo>
                  <a:lnTo>
                    <a:pt x="1076" y="0"/>
                  </a:lnTo>
                  <a:lnTo>
                    <a:pt x="1076" y="0"/>
                  </a:lnTo>
                  <a:lnTo>
                    <a:pt x="1048" y="2"/>
                  </a:lnTo>
                  <a:lnTo>
                    <a:pt x="1020" y="4"/>
                  </a:lnTo>
                  <a:lnTo>
                    <a:pt x="994" y="8"/>
                  </a:lnTo>
                  <a:lnTo>
                    <a:pt x="966" y="12"/>
                  </a:lnTo>
                  <a:lnTo>
                    <a:pt x="942" y="20"/>
                  </a:lnTo>
                  <a:lnTo>
                    <a:pt x="916" y="28"/>
                  </a:lnTo>
                  <a:lnTo>
                    <a:pt x="892" y="36"/>
                  </a:lnTo>
                  <a:lnTo>
                    <a:pt x="870" y="48"/>
                  </a:lnTo>
                  <a:lnTo>
                    <a:pt x="848" y="58"/>
                  </a:lnTo>
                  <a:lnTo>
                    <a:pt x="828" y="72"/>
                  </a:lnTo>
                  <a:lnTo>
                    <a:pt x="808" y="86"/>
                  </a:lnTo>
                  <a:lnTo>
                    <a:pt x="790" y="100"/>
                  </a:lnTo>
                  <a:lnTo>
                    <a:pt x="772" y="116"/>
                  </a:lnTo>
                  <a:lnTo>
                    <a:pt x="756" y="132"/>
                  </a:lnTo>
                  <a:lnTo>
                    <a:pt x="742" y="150"/>
                  </a:lnTo>
                  <a:lnTo>
                    <a:pt x="730" y="168"/>
                  </a:lnTo>
                  <a:lnTo>
                    <a:pt x="730" y="168"/>
                  </a:lnTo>
                  <a:lnTo>
                    <a:pt x="718" y="150"/>
                  </a:lnTo>
                  <a:lnTo>
                    <a:pt x="704" y="132"/>
                  </a:lnTo>
                  <a:lnTo>
                    <a:pt x="688" y="116"/>
                  </a:lnTo>
                  <a:lnTo>
                    <a:pt x="672" y="100"/>
                  </a:lnTo>
                  <a:lnTo>
                    <a:pt x="652" y="86"/>
                  </a:lnTo>
                  <a:lnTo>
                    <a:pt x="634" y="72"/>
                  </a:lnTo>
                  <a:lnTo>
                    <a:pt x="612" y="58"/>
                  </a:lnTo>
                  <a:lnTo>
                    <a:pt x="590" y="48"/>
                  </a:lnTo>
                  <a:lnTo>
                    <a:pt x="568" y="36"/>
                  </a:lnTo>
                  <a:lnTo>
                    <a:pt x="544" y="28"/>
                  </a:lnTo>
                  <a:lnTo>
                    <a:pt x="520" y="20"/>
                  </a:lnTo>
                  <a:lnTo>
                    <a:pt x="494" y="12"/>
                  </a:lnTo>
                  <a:lnTo>
                    <a:pt x="468" y="8"/>
                  </a:lnTo>
                  <a:lnTo>
                    <a:pt x="440" y="4"/>
                  </a:lnTo>
                  <a:lnTo>
                    <a:pt x="412" y="2"/>
                  </a:lnTo>
                  <a:lnTo>
                    <a:pt x="384" y="0"/>
                  </a:lnTo>
                  <a:lnTo>
                    <a:pt x="384" y="0"/>
                  </a:lnTo>
                  <a:lnTo>
                    <a:pt x="346" y="2"/>
                  </a:lnTo>
                  <a:lnTo>
                    <a:pt x="306" y="6"/>
                  </a:lnTo>
                  <a:lnTo>
                    <a:pt x="270" y="14"/>
                  </a:lnTo>
                  <a:lnTo>
                    <a:pt x="234" y="24"/>
                  </a:lnTo>
                  <a:lnTo>
                    <a:pt x="200" y="36"/>
                  </a:lnTo>
                  <a:lnTo>
                    <a:pt x="168" y="52"/>
                  </a:lnTo>
                  <a:lnTo>
                    <a:pt x="140" y="70"/>
                  </a:lnTo>
                  <a:lnTo>
                    <a:pt x="112" y="88"/>
                  </a:lnTo>
                  <a:lnTo>
                    <a:pt x="88" y="110"/>
                  </a:lnTo>
                  <a:lnTo>
                    <a:pt x="64" y="132"/>
                  </a:lnTo>
                  <a:lnTo>
                    <a:pt x="46" y="158"/>
                  </a:lnTo>
                  <a:lnTo>
                    <a:pt x="30" y="184"/>
                  </a:lnTo>
                  <a:lnTo>
                    <a:pt x="16" y="212"/>
                  </a:lnTo>
                  <a:lnTo>
                    <a:pt x="6" y="240"/>
                  </a:lnTo>
                  <a:lnTo>
                    <a:pt x="2" y="270"/>
                  </a:lnTo>
                  <a:lnTo>
                    <a:pt x="0" y="300"/>
                  </a:lnTo>
                  <a:lnTo>
                    <a:pt x="0" y="300"/>
                  </a:lnTo>
                  <a:lnTo>
                    <a:pt x="0" y="318"/>
                  </a:lnTo>
                  <a:lnTo>
                    <a:pt x="2" y="336"/>
                  </a:lnTo>
                  <a:lnTo>
                    <a:pt x="6" y="352"/>
                  </a:lnTo>
                  <a:lnTo>
                    <a:pt x="10" y="370"/>
                  </a:lnTo>
                  <a:lnTo>
                    <a:pt x="16" y="386"/>
                  </a:lnTo>
                  <a:lnTo>
                    <a:pt x="22" y="402"/>
                  </a:lnTo>
                  <a:lnTo>
                    <a:pt x="40" y="432"/>
                  </a:lnTo>
                  <a:lnTo>
                    <a:pt x="730" y="432"/>
                  </a:lnTo>
                  <a:close/>
                </a:path>
              </a:pathLst>
            </a:custGeom>
            <a:solidFill>
              <a:srgbClr val="2B8948"/>
            </a:solid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79" name="Freeform 278"/>
            <p:cNvSpPr>
              <a:spLocks noEditPoints="1"/>
            </p:cNvSpPr>
            <p:nvPr/>
          </p:nvSpPr>
          <p:spPr bwMode="auto">
            <a:xfrm>
              <a:off x="15768277" y="1650860"/>
              <a:ext cx="3067333" cy="3279771"/>
            </a:xfrm>
            <a:custGeom>
              <a:avLst/>
              <a:gdLst>
                <a:gd name="T0" fmla="*/ 0 w 2492"/>
                <a:gd name="T1" fmla="*/ 1610 h 2066"/>
                <a:gd name="T2" fmla="*/ 28 w 2492"/>
                <a:gd name="T3" fmla="*/ 1600 h 2066"/>
                <a:gd name="T4" fmla="*/ 86 w 2492"/>
                <a:gd name="T5" fmla="*/ 1580 h 2066"/>
                <a:gd name="T6" fmla="*/ 146 w 2492"/>
                <a:gd name="T7" fmla="*/ 1566 h 2066"/>
                <a:gd name="T8" fmla="*/ 210 w 2492"/>
                <a:gd name="T9" fmla="*/ 1558 h 2066"/>
                <a:gd name="T10" fmla="*/ 244 w 2492"/>
                <a:gd name="T11" fmla="*/ 1430 h 2066"/>
                <a:gd name="T12" fmla="*/ 594 w 2492"/>
                <a:gd name="T13" fmla="*/ 1630 h 2066"/>
                <a:gd name="T14" fmla="*/ 616 w 2492"/>
                <a:gd name="T15" fmla="*/ 1642 h 2066"/>
                <a:gd name="T16" fmla="*/ 658 w 2492"/>
                <a:gd name="T17" fmla="*/ 1670 h 2066"/>
                <a:gd name="T18" fmla="*/ 696 w 2492"/>
                <a:gd name="T19" fmla="*/ 1702 h 2066"/>
                <a:gd name="T20" fmla="*/ 728 w 2492"/>
                <a:gd name="T21" fmla="*/ 1736 h 2066"/>
                <a:gd name="T22" fmla="*/ 754 w 2492"/>
                <a:gd name="T23" fmla="*/ 1772 h 2066"/>
                <a:gd name="T24" fmla="*/ 774 w 2492"/>
                <a:gd name="T25" fmla="*/ 1812 h 2066"/>
                <a:gd name="T26" fmla="*/ 788 w 2492"/>
                <a:gd name="T27" fmla="*/ 1852 h 2066"/>
                <a:gd name="T28" fmla="*/ 796 w 2492"/>
                <a:gd name="T29" fmla="*/ 1894 h 2066"/>
                <a:gd name="T30" fmla="*/ 796 w 2492"/>
                <a:gd name="T31" fmla="*/ 1916 h 2066"/>
                <a:gd name="T32" fmla="*/ 794 w 2492"/>
                <a:gd name="T33" fmla="*/ 1956 h 2066"/>
                <a:gd name="T34" fmla="*/ 784 w 2492"/>
                <a:gd name="T35" fmla="*/ 1994 h 2066"/>
                <a:gd name="T36" fmla="*/ 770 w 2492"/>
                <a:gd name="T37" fmla="*/ 2030 h 2066"/>
                <a:gd name="T38" fmla="*/ 750 w 2492"/>
                <a:gd name="T39" fmla="*/ 2066 h 2066"/>
                <a:gd name="T40" fmla="*/ 1924 w 2492"/>
                <a:gd name="T41" fmla="*/ 1430 h 2066"/>
                <a:gd name="T42" fmla="*/ 2274 w 2492"/>
                <a:gd name="T43" fmla="*/ 2066 h 2066"/>
                <a:gd name="T44" fmla="*/ 2492 w 2492"/>
                <a:gd name="T45" fmla="*/ 0 h 2066"/>
                <a:gd name="T46" fmla="*/ 594 w 2492"/>
                <a:gd name="T47" fmla="*/ 1180 h 2066"/>
                <a:gd name="T48" fmla="*/ 244 w 2492"/>
                <a:gd name="T49" fmla="*/ 852 h 2066"/>
                <a:gd name="T50" fmla="*/ 594 w 2492"/>
                <a:gd name="T51" fmla="*/ 1180 h 2066"/>
                <a:gd name="T52" fmla="*/ 244 w 2492"/>
                <a:gd name="T53" fmla="*/ 600 h 2066"/>
                <a:gd name="T54" fmla="*/ 594 w 2492"/>
                <a:gd name="T55" fmla="*/ 272 h 2066"/>
                <a:gd name="T56" fmla="*/ 1156 w 2492"/>
                <a:gd name="T57" fmla="*/ 1758 h 2066"/>
                <a:gd name="T58" fmla="*/ 806 w 2492"/>
                <a:gd name="T59" fmla="*/ 1430 h 2066"/>
                <a:gd name="T60" fmla="*/ 1156 w 2492"/>
                <a:gd name="T61" fmla="*/ 1758 h 2066"/>
                <a:gd name="T62" fmla="*/ 806 w 2492"/>
                <a:gd name="T63" fmla="*/ 1180 h 2066"/>
                <a:gd name="T64" fmla="*/ 1156 w 2492"/>
                <a:gd name="T65" fmla="*/ 852 h 2066"/>
                <a:gd name="T66" fmla="*/ 1156 w 2492"/>
                <a:gd name="T67" fmla="*/ 600 h 2066"/>
                <a:gd name="T68" fmla="*/ 806 w 2492"/>
                <a:gd name="T69" fmla="*/ 272 h 2066"/>
                <a:gd name="T70" fmla="*/ 1156 w 2492"/>
                <a:gd name="T71" fmla="*/ 600 h 2066"/>
                <a:gd name="T72" fmla="*/ 1356 w 2492"/>
                <a:gd name="T73" fmla="*/ 1758 h 2066"/>
                <a:gd name="T74" fmla="*/ 1706 w 2492"/>
                <a:gd name="T75" fmla="*/ 1430 h 2066"/>
                <a:gd name="T76" fmla="*/ 1706 w 2492"/>
                <a:gd name="T77" fmla="*/ 1180 h 2066"/>
                <a:gd name="T78" fmla="*/ 1356 w 2492"/>
                <a:gd name="T79" fmla="*/ 852 h 2066"/>
                <a:gd name="T80" fmla="*/ 1706 w 2492"/>
                <a:gd name="T81" fmla="*/ 1180 h 2066"/>
                <a:gd name="T82" fmla="*/ 1356 w 2492"/>
                <a:gd name="T83" fmla="*/ 600 h 2066"/>
                <a:gd name="T84" fmla="*/ 1706 w 2492"/>
                <a:gd name="T85" fmla="*/ 272 h 2066"/>
                <a:gd name="T86" fmla="*/ 2274 w 2492"/>
                <a:gd name="T87" fmla="*/ 1180 h 2066"/>
                <a:gd name="T88" fmla="*/ 1924 w 2492"/>
                <a:gd name="T89" fmla="*/ 852 h 2066"/>
                <a:gd name="T90" fmla="*/ 2274 w 2492"/>
                <a:gd name="T91" fmla="*/ 1180 h 2066"/>
                <a:gd name="T92" fmla="*/ 1924 w 2492"/>
                <a:gd name="T93" fmla="*/ 600 h 2066"/>
                <a:gd name="T94" fmla="*/ 2274 w 2492"/>
                <a:gd name="T95" fmla="*/ 272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066">
                  <a:moveTo>
                    <a:pt x="0" y="0"/>
                  </a:moveTo>
                  <a:lnTo>
                    <a:pt x="0" y="1610"/>
                  </a:lnTo>
                  <a:lnTo>
                    <a:pt x="0" y="1610"/>
                  </a:lnTo>
                  <a:lnTo>
                    <a:pt x="28" y="1600"/>
                  </a:lnTo>
                  <a:lnTo>
                    <a:pt x="56" y="1590"/>
                  </a:lnTo>
                  <a:lnTo>
                    <a:pt x="86" y="1580"/>
                  </a:lnTo>
                  <a:lnTo>
                    <a:pt x="116" y="1574"/>
                  </a:lnTo>
                  <a:lnTo>
                    <a:pt x="146" y="1566"/>
                  </a:lnTo>
                  <a:lnTo>
                    <a:pt x="178" y="1562"/>
                  </a:lnTo>
                  <a:lnTo>
                    <a:pt x="210" y="1558"/>
                  </a:lnTo>
                  <a:lnTo>
                    <a:pt x="244" y="1556"/>
                  </a:lnTo>
                  <a:lnTo>
                    <a:pt x="244" y="1430"/>
                  </a:lnTo>
                  <a:lnTo>
                    <a:pt x="594" y="1430"/>
                  </a:lnTo>
                  <a:lnTo>
                    <a:pt x="594" y="1630"/>
                  </a:lnTo>
                  <a:lnTo>
                    <a:pt x="594" y="1630"/>
                  </a:lnTo>
                  <a:lnTo>
                    <a:pt x="616" y="1642"/>
                  </a:lnTo>
                  <a:lnTo>
                    <a:pt x="638" y="1656"/>
                  </a:lnTo>
                  <a:lnTo>
                    <a:pt x="658" y="1670"/>
                  </a:lnTo>
                  <a:lnTo>
                    <a:pt x="678" y="1686"/>
                  </a:lnTo>
                  <a:lnTo>
                    <a:pt x="696" y="1702"/>
                  </a:lnTo>
                  <a:lnTo>
                    <a:pt x="712" y="1718"/>
                  </a:lnTo>
                  <a:lnTo>
                    <a:pt x="728" y="1736"/>
                  </a:lnTo>
                  <a:lnTo>
                    <a:pt x="742" y="1754"/>
                  </a:lnTo>
                  <a:lnTo>
                    <a:pt x="754" y="1772"/>
                  </a:lnTo>
                  <a:lnTo>
                    <a:pt x="764" y="1792"/>
                  </a:lnTo>
                  <a:lnTo>
                    <a:pt x="774" y="1812"/>
                  </a:lnTo>
                  <a:lnTo>
                    <a:pt x="782" y="1832"/>
                  </a:lnTo>
                  <a:lnTo>
                    <a:pt x="788" y="1852"/>
                  </a:lnTo>
                  <a:lnTo>
                    <a:pt x="792" y="1872"/>
                  </a:lnTo>
                  <a:lnTo>
                    <a:pt x="796" y="1894"/>
                  </a:lnTo>
                  <a:lnTo>
                    <a:pt x="796" y="1916"/>
                  </a:lnTo>
                  <a:lnTo>
                    <a:pt x="796" y="1916"/>
                  </a:lnTo>
                  <a:lnTo>
                    <a:pt x="796" y="1936"/>
                  </a:lnTo>
                  <a:lnTo>
                    <a:pt x="794" y="1956"/>
                  </a:lnTo>
                  <a:lnTo>
                    <a:pt x="790" y="1974"/>
                  </a:lnTo>
                  <a:lnTo>
                    <a:pt x="784" y="1994"/>
                  </a:lnTo>
                  <a:lnTo>
                    <a:pt x="778" y="2012"/>
                  </a:lnTo>
                  <a:lnTo>
                    <a:pt x="770" y="2030"/>
                  </a:lnTo>
                  <a:lnTo>
                    <a:pt x="760" y="2048"/>
                  </a:lnTo>
                  <a:lnTo>
                    <a:pt x="750" y="2066"/>
                  </a:lnTo>
                  <a:lnTo>
                    <a:pt x="1924" y="2066"/>
                  </a:lnTo>
                  <a:lnTo>
                    <a:pt x="1924" y="1430"/>
                  </a:lnTo>
                  <a:lnTo>
                    <a:pt x="2274" y="1430"/>
                  </a:lnTo>
                  <a:lnTo>
                    <a:pt x="2274" y="2066"/>
                  </a:lnTo>
                  <a:lnTo>
                    <a:pt x="2492" y="2066"/>
                  </a:lnTo>
                  <a:lnTo>
                    <a:pt x="2492" y="0"/>
                  </a:lnTo>
                  <a:lnTo>
                    <a:pt x="0" y="0"/>
                  </a:lnTo>
                  <a:close/>
                  <a:moveTo>
                    <a:pt x="594" y="1180"/>
                  </a:moveTo>
                  <a:lnTo>
                    <a:pt x="244" y="1180"/>
                  </a:lnTo>
                  <a:lnTo>
                    <a:pt x="244" y="852"/>
                  </a:lnTo>
                  <a:lnTo>
                    <a:pt x="594" y="852"/>
                  </a:lnTo>
                  <a:lnTo>
                    <a:pt x="594" y="1180"/>
                  </a:lnTo>
                  <a:close/>
                  <a:moveTo>
                    <a:pt x="594" y="600"/>
                  </a:moveTo>
                  <a:lnTo>
                    <a:pt x="244" y="600"/>
                  </a:lnTo>
                  <a:lnTo>
                    <a:pt x="244" y="272"/>
                  </a:lnTo>
                  <a:lnTo>
                    <a:pt x="594" y="272"/>
                  </a:lnTo>
                  <a:lnTo>
                    <a:pt x="594" y="600"/>
                  </a:lnTo>
                  <a:close/>
                  <a:moveTo>
                    <a:pt x="1156" y="1758"/>
                  </a:moveTo>
                  <a:lnTo>
                    <a:pt x="806" y="1758"/>
                  </a:lnTo>
                  <a:lnTo>
                    <a:pt x="806" y="1430"/>
                  </a:lnTo>
                  <a:lnTo>
                    <a:pt x="1156" y="1430"/>
                  </a:lnTo>
                  <a:lnTo>
                    <a:pt x="1156" y="1758"/>
                  </a:lnTo>
                  <a:close/>
                  <a:moveTo>
                    <a:pt x="1156" y="1180"/>
                  </a:moveTo>
                  <a:lnTo>
                    <a:pt x="806" y="1180"/>
                  </a:lnTo>
                  <a:lnTo>
                    <a:pt x="806" y="852"/>
                  </a:lnTo>
                  <a:lnTo>
                    <a:pt x="1156" y="852"/>
                  </a:lnTo>
                  <a:lnTo>
                    <a:pt x="1156" y="1180"/>
                  </a:lnTo>
                  <a:close/>
                  <a:moveTo>
                    <a:pt x="1156" y="600"/>
                  </a:moveTo>
                  <a:lnTo>
                    <a:pt x="806" y="600"/>
                  </a:lnTo>
                  <a:lnTo>
                    <a:pt x="806" y="272"/>
                  </a:lnTo>
                  <a:lnTo>
                    <a:pt x="1156" y="272"/>
                  </a:lnTo>
                  <a:lnTo>
                    <a:pt x="1156" y="600"/>
                  </a:lnTo>
                  <a:close/>
                  <a:moveTo>
                    <a:pt x="1706" y="1758"/>
                  </a:moveTo>
                  <a:lnTo>
                    <a:pt x="1356" y="1758"/>
                  </a:lnTo>
                  <a:lnTo>
                    <a:pt x="1356" y="1430"/>
                  </a:lnTo>
                  <a:lnTo>
                    <a:pt x="1706" y="1430"/>
                  </a:lnTo>
                  <a:lnTo>
                    <a:pt x="1706" y="1758"/>
                  </a:lnTo>
                  <a:close/>
                  <a:moveTo>
                    <a:pt x="1706" y="1180"/>
                  </a:moveTo>
                  <a:lnTo>
                    <a:pt x="1356" y="1180"/>
                  </a:lnTo>
                  <a:lnTo>
                    <a:pt x="1356" y="852"/>
                  </a:lnTo>
                  <a:lnTo>
                    <a:pt x="1706" y="852"/>
                  </a:lnTo>
                  <a:lnTo>
                    <a:pt x="1706" y="1180"/>
                  </a:lnTo>
                  <a:close/>
                  <a:moveTo>
                    <a:pt x="1706" y="600"/>
                  </a:moveTo>
                  <a:lnTo>
                    <a:pt x="1356" y="600"/>
                  </a:lnTo>
                  <a:lnTo>
                    <a:pt x="1356" y="272"/>
                  </a:lnTo>
                  <a:lnTo>
                    <a:pt x="1706" y="272"/>
                  </a:lnTo>
                  <a:lnTo>
                    <a:pt x="1706" y="600"/>
                  </a:lnTo>
                  <a:close/>
                  <a:moveTo>
                    <a:pt x="2274" y="1180"/>
                  </a:moveTo>
                  <a:lnTo>
                    <a:pt x="1924" y="1180"/>
                  </a:lnTo>
                  <a:lnTo>
                    <a:pt x="1924" y="852"/>
                  </a:lnTo>
                  <a:lnTo>
                    <a:pt x="2274" y="852"/>
                  </a:lnTo>
                  <a:lnTo>
                    <a:pt x="2274" y="1180"/>
                  </a:lnTo>
                  <a:close/>
                  <a:moveTo>
                    <a:pt x="2274" y="600"/>
                  </a:moveTo>
                  <a:lnTo>
                    <a:pt x="1924" y="600"/>
                  </a:lnTo>
                  <a:lnTo>
                    <a:pt x="1924" y="272"/>
                  </a:lnTo>
                  <a:lnTo>
                    <a:pt x="2274" y="272"/>
                  </a:lnTo>
                  <a:lnTo>
                    <a:pt x="2274" y="600"/>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nvGrpSpPr>
          <p:cNvPr id="86" name="Group 85"/>
          <p:cNvGrpSpPr/>
          <p:nvPr/>
        </p:nvGrpSpPr>
        <p:grpSpPr>
          <a:xfrm>
            <a:off x="7799592" y="3465643"/>
            <a:ext cx="278581" cy="339303"/>
            <a:chOff x="9572419" y="3805876"/>
            <a:chExt cx="278660" cy="339399"/>
          </a:xfrm>
        </p:grpSpPr>
        <p:sp>
          <p:nvSpPr>
            <p:cNvPr id="264" name="Freeform 263"/>
            <p:cNvSpPr>
              <a:spLocks/>
            </p:cNvSpPr>
            <p:nvPr/>
          </p:nvSpPr>
          <p:spPr bwMode="auto">
            <a:xfrm rot="16200000">
              <a:off x="9542049" y="3836246"/>
              <a:ext cx="339399" cy="278660"/>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00607A"/>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nvGrpSpPr>
            <p:cNvPr id="265" name="Group 264"/>
            <p:cNvGrpSpPr/>
            <p:nvPr/>
          </p:nvGrpSpPr>
          <p:grpSpPr>
            <a:xfrm rot="16200000">
              <a:off x="9559178" y="3854345"/>
              <a:ext cx="304414" cy="242461"/>
              <a:chOff x="-4206875" y="1603375"/>
              <a:chExt cx="3978275" cy="3168650"/>
            </a:xfrm>
            <a:solidFill>
              <a:schemeClr val="accent1">
                <a:lumMod val="75000"/>
              </a:schemeClr>
            </a:solidFill>
          </p:grpSpPr>
          <p:sp>
            <p:nvSpPr>
              <p:cNvPr id="266" name="Freeform 265"/>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67" name="Freeform 266"/>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68" name="Freeform 267"/>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69" name="Freeform 268"/>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70" name="Freeform 269"/>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71" name="Freeform 270"/>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72" name="Freeform 271"/>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73" name="Freeform 272"/>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sp>
        <p:nvSpPr>
          <p:cNvPr id="87" name="Bent Arrow 86"/>
          <p:cNvSpPr/>
          <p:nvPr/>
        </p:nvSpPr>
        <p:spPr bwMode="auto">
          <a:xfrm flipH="1">
            <a:off x="7379088" y="2485071"/>
            <a:ext cx="633219" cy="366519"/>
          </a:xfrm>
          <a:prstGeom prst="bentArrow">
            <a:avLst>
              <a:gd name="adj1" fmla="val 17986"/>
              <a:gd name="adj2" fmla="val 30248"/>
              <a:gd name="adj3" fmla="val 0"/>
              <a:gd name="adj4" fmla="val 57094"/>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88" name="Group 87"/>
          <p:cNvGrpSpPr>
            <a:grpSpLocks noChangeAspect="1"/>
          </p:cNvGrpSpPr>
          <p:nvPr/>
        </p:nvGrpSpPr>
        <p:grpSpPr>
          <a:xfrm>
            <a:off x="8482477" y="2940134"/>
            <a:ext cx="474275" cy="904070"/>
            <a:chOff x="13253772" y="-14449"/>
            <a:chExt cx="3216275" cy="6130925"/>
          </a:xfrm>
          <a:solidFill>
            <a:schemeClr val="bg1"/>
          </a:solidFill>
        </p:grpSpPr>
        <p:sp>
          <p:nvSpPr>
            <p:cNvPr id="262" name="Freeform 261"/>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63" name="Freeform 262"/>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sp>
        <p:nvSpPr>
          <p:cNvPr id="89" name="Rectangle 88"/>
          <p:cNvSpPr/>
          <p:nvPr/>
        </p:nvSpPr>
        <p:spPr bwMode="auto">
          <a:xfrm>
            <a:off x="7555391" y="1570861"/>
            <a:ext cx="2248358" cy="844183"/>
          </a:xfrm>
          <a:prstGeom prst="rect">
            <a:avLst/>
          </a:prstGeom>
          <a:solidFill>
            <a:schemeClr val="accent3">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91414" rIns="91414" bIns="9141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374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entury Gothic" panose="020F0302020204030204"/>
                <a:ea typeface="+mn-ea"/>
                <a:cs typeface="+mn-cs"/>
              </a:rPr>
              <a:t>Transmits operational information to the partner (e.g. OEM) and to field service engineers</a:t>
            </a:r>
            <a:endParaRPr kumimoji="0" lang="en-US" sz="1200" b="0" i="0" u="none" strike="noStrike" kern="1200" cap="none" spc="0" normalizeH="0" baseline="0" noProof="0" dirty="0">
              <a:ln w="3175">
                <a:noFill/>
              </a:ln>
              <a:solidFill>
                <a:srgbClr val="FFFFFF"/>
              </a:solidFill>
              <a:effectLst/>
              <a:uLnTx/>
              <a:uFillTx/>
              <a:latin typeface="Century Gothic" panose="020F0302020204030204"/>
              <a:ea typeface="+mn-ea"/>
              <a:cs typeface="Arial" charset="0"/>
            </a:endParaRPr>
          </a:p>
        </p:txBody>
      </p:sp>
      <p:cxnSp>
        <p:nvCxnSpPr>
          <p:cNvPr id="90" name="Straight Connector 89"/>
          <p:cNvCxnSpPr/>
          <p:nvPr/>
        </p:nvCxnSpPr>
        <p:spPr>
          <a:xfrm flipV="1">
            <a:off x="7555393" y="1570861"/>
            <a:ext cx="1" cy="658181"/>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1" name="Group 90"/>
          <p:cNvGrpSpPr>
            <a:grpSpLocks noChangeAspect="1"/>
          </p:cNvGrpSpPr>
          <p:nvPr/>
        </p:nvGrpSpPr>
        <p:grpSpPr>
          <a:xfrm>
            <a:off x="1505005" y="2935554"/>
            <a:ext cx="254119" cy="208642"/>
            <a:chOff x="-4435475" y="1371600"/>
            <a:chExt cx="4435475" cy="3641725"/>
          </a:xfrm>
        </p:grpSpPr>
        <p:sp>
          <p:nvSpPr>
            <p:cNvPr id="252" name="Freeform 251"/>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nvGrpSpPr>
            <p:cNvPr id="253" name="Group 252"/>
            <p:cNvGrpSpPr/>
            <p:nvPr/>
          </p:nvGrpSpPr>
          <p:grpSpPr>
            <a:xfrm>
              <a:off x="-4206871" y="1603381"/>
              <a:ext cx="3978266" cy="3168650"/>
              <a:chOff x="-4206875" y="1603375"/>
              <a:chExt cx="3978275" cy="3168650"/>
            </a:xfrm>
            <a:solidFill>
              <a:schemeClr val="bg1"/>
            </a:solidFill>
          </p:grpSpPr>
          <p:sp>
            <p:nvSpPr>
              <p:cNvPr id="254" name="Freeform 25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55" name="Freeform 25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56" name="Freeform 25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57" name="Freeform 25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58" name="Freeform 25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59" name="Freeform 25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60" name="Freeform 25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61" name="Freeform 26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cxnSp>
        <p:nvCxnSpPr>
          <p:cNvPr id="92" name="Elbow Connector 91"/>
          <p:cNvCxnSpPr>
            <a:stCxn id="89" idx="1"/>
            <a:endCxn id="119" idx="1"/>
          </p:cNvCxnSpPr>
          <p:nvPr/>
        </p:nvCxnSpPr>
        <p:spPr>
          <a:xfrm rot="10800000" flipH="1" flipV="1">
            <a:off x="7555391" y="1992952"/>
            <a:ext cx="228938" cy="1662801"/>
          </a:xfrm>
          <a:prstGeom prst="bentConnector3">
            <a:avLst>
              <a:gd name="adj1" fmla="val -99852"/>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3" name="Isosceles Triangle 10"/>
          <p:cNvSpPr/>
          <p:nvPr/>
        </p:nvSpPr>
        <p:spPr bwMode="auto">
          <a:xfrm rot="10800000">
            <a:off x="5828752" y="2132965"/>
            <a:ext cx="637674" cy="974015"/>
          </a:xfrm>
          <a:custGeom>
            <a:avLst/>
            <a:gdLst>
              <a:gd name="connsiteX0" fmla="*/ 0 w 537776"/>
              <a:gd name="connsiteY0" fmla="*/ 1305828 h 1305828"/>
              <a:gd name="connsiteX1" fmla="*/ 268888 w 537776"/>
              <a:gd name="connsiteY1" fmla="*/ 0 h 1305828"/>
              <a:gd name="connsiteX2" fmla="*/ 537776 w 537776"/>
              <a:gd name="connsiteY2" fmla="*/ 1305828 h 1305828"/>
              <a:gd name="connsiteX3" fmla="*/ 0 w 537776"/>
              <a:gd name="connsiteY3" fmla="*/ 1305828 h 1305828"/>
              <a:gd name="connsiteX0" fmla="*/ 0 w 1193982"/>
              <a:gd name="connsiteY0" fmla="*/ 984986 h 984986"/>
              <a:gd name="connsiteX1" fmla="*/ 1193982 w 1193982"/>
              <a:gd name="connsiteY1" fmla="*/ 0 h 984986"/>
              <a:gd name="connsiteX2" fmla="*/ 537776 w 1193982"/>
              <a:gd name="connsiteY2" fmla="*/ 984986 h 984986"/>
              <a:gd name="connsiteX3" fmla="*/ 0 w 1193982"/>
              <a:gd name="connsiteY3" fmla="*/ 984986 h 984986"/>
              <a:gd name="connsiteX0" fmla="*/ 0 w 830361"/>
              <a:gd name="connsiteY0" fmla="*/ 685533 h 984986"/>
              <a:gd name="connsiteX1" fmla="*/ 830361 w 830361"/>
              <a:gd name="connsiteY1" fmla="*/ 0 h 984986"/>
              <a:gd name="connsiteX2" fmla="*/ 174155 w 830361"/>
              <a:gd name="connsiteY2" fmla="*/ 984986 h 984986"/>
              <a:gd name="connsiteX3" fmla="*/ 0 w 830361"/>
              <a:gd name="connsiteY3" fmla="*/ 685533 h 984986"/>
              <a:gd name="connsiteX0" fmla="*/ 0 w 830361"/>
              <a:gd name="connsiteY0" fmla="*/ 685533 h 1033112"/>
              <a:gd name="connsiteX1" fmla="*/ 830361 w 830361"/>
              <a:gd name="connsiteY1" fmla="*/ 0 h 1033112"/>
              <a:gd name="connsiteX2" fmla="*/ 548471 w 830361"/>
              <a:gd name="connsiteY2" fmla="*/ 1033112 h 1033112"/>
              <a:gd name="connsiteX3" fmla="*/ 0 w 830361"/>
              <a:gd name="connsiteY3" fmla="*/ 685533 h 1033112"/>
              <a:gd name="connsiteX0" fmla="*/ 0 w 637856"/>
              <a:gd name="connsiteY0" fmla="*/ 974291 h 1033112"/>
              <a:gd name="connsiteX1" fmla="*/ 637856 w 637856"/>
              <a:gd name="connsiteY1" fmla="*/ 0 h 1033112"/>
              <a:gd name="connsiteX2" fmla="*/ 355966 w 637856"/>
              <a:gd name="connsiteY2" fmla="*/ 1033112 h 1033112"/>
              <a:gd name="connsiteX3" fmla="*/ 0 w 637856"/>
              <a:gd name="connsiteY3" fmla="*/ 974291 h 1033112"/>
              <a:gd name="connsiteX0" fmla="*/ 0 w 637856"/>
              <a:gd name="connsiteY0" fmla="*/ 974291 h 990333"/>
              <a:gd name="connsiteX1" fmla="*/ 637856 w 637856"/>
              <a:gd name="connsiteY1" fmla="*/ 0 h 990333"/>
              <a:gd name="connsiteX2" fmla="*/ 462913 w 637856"/>
              <a:gd name="connsiteY2" fmla="*/ 990333 h 990333"/>
              <a:gd name="connsiteX3" fmla="*/ 0 w 637856"/>
              <a:gd name="connsiteY3" fmla="*/ 974291 h 990333"/>
              <a:gd name="connsiteX0" fmla="*/ 0 w 637856"/>
              <a:gd name="connsiteY0" fmla="*/ 974291 h 974291"/>
              <a:gd name="connsiteX1" fmla="*/ 637856 w 637856"/>
              <a:gd name="connsiteY1" fmla="*/ 0 h 974291"/>
              <a:gd name="connsiteX2" fmla="*/ 462913 w 637856"/>
              <a:gd name="connsiteY2" fmla="*/ 974291 h 974291"/>
              <a:gd name="connsiteX3" fmla="*/ 0 w 637856"/>
              <a:gd name="connsiteY3" fmla="*/ 974291 h 974291"/>
            </a:gdLst>
            <a:ahLst/>
            <a:cxnLst>
              <a:cxn ang="0">
                <a:pos x="connsiteX0" y="connsiteY0"/>
              </a:cxn>
              <a:cxn ang="0">
                <a:pos x="connsiteX1" y="connsiteY1"/>
              </a:cxn>
              <a:cxn ang="0">
                <a:pos x="connsiteX2" y="connsiteY2"/>
              </a:cxn>
              <a:cxn ang="0">
                <a:pos x="connsiteX3" y="connsiteY3"/>
              </a:cxn>
            </a:cxnLst>
            <a:rect l="l" t="t" r="r" b="b"/>
            <a:pathLst>
              <a:path w="637856" h="974291">
                <a:moveTo>
                  <a:pt x="0" y="974291"/>
                </a:moveTo>
                <a:lnTo>
                  <a:pt x="637856" y="0"/>
                </a:lnTo>
                <a:lnTo>
                  <a:pt x="462913" y="974291"/>
                </a:lnTo>
                <a:lnTo>
                  <a:pt x="0" y="974291"/>
                </a:lnTo>
                <a:close/>
              </a:path>
            </a:pathLst>
          </a:custGeom>
          <a:solidFill>
            <a:schemeClr val="accent5">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cxnSp>
        <p:nvCxnSpPr>
          <p:cNvPr id="94" name="Straight Connector 93"/>
          <p:cNvCxnSpPr/>
          <p:nvPr/>
        </p:nvCxnSpPr>
        <p:spPr>
          <a:xfrm>
            <a:off x="5609819" y="1834720"/>
            <a:ext cx="405333" cy="1"/>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auto">
          <a:xfrm rot="2366189">
            <a:off x="5512360" y="3255056"/>
            <a:ext cx="191445" cy="24236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96" name="Rectangle 21"/>
          <p:cNvSpPr/>
          <p:nvPr/>
        </p:nvSpPr>
        <p:spPr bwMode="auto">
          <a:xfrm rot="19936818">
            <a:off x="5507704" y="2521643"/>
            <a:ext cx="204228" cy="541686"/>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97" name="Rectangle 29"/>
          <p:cNvSpPr/>
          <p:nvPr/>
        </p:nvSpPr>
        <p:spPr bwMode="auto">
          <a:xfrm rot="15300000">
            <a:off x="5042101" y="2362381"/>
            <a:ext cx="155052" cy="529911"/>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nvGrpSpPr>
          <p:cNvPr id="98" name="Group 97"/>
          <p:cNvGrpSpPr/>
          <p:nvPr/>
        </p:nvGrpSpPr>
        <p:grpSpPr>
          <a:xfrm>
            <a:off x="5601763" y="2974662"/>
            <a:ext cx="372585" cy="372586"/>
            <a:chOff x="5411363" y="1755522"/>
            <a:chExt cx="316187" cy="316187"/>
          </a:xfrm>
        </p:grpSpPr>
        <p:sp>
          <p:nvSpPr>
            <p:cNvPr id="249" name="Oval 248"/>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50" name="Oval 249"/>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51" name="Oval 250"/>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99" name="Group 98"/>
          <p:cNvGrpSpPr/>
          <p:nvPr/>
        </p:nvGrpSpPr>
        <p:grpSpPr>
          <a:xfrm flipH="1">
            <a:off x="5319236" y="2403006"/>
            <a:ext cx="270843" cy="270843"/>
            <a:chOff x="4394973" y="1762558"/>
            <a:chExt cx="352210" cy="352210"/>
          </a:xfrm>
        </p:grpSpPr>
        <p:grpSp>
          <p:nvGrpSpPr>
            <p:cNvPr id="243" name="Group 242"/>
            <p:cNvGrpSpPr/>
            <p:nvPr/>
          </p:nvGrpSpPr>
          <p:grpSpPr>
            <a:xfrm flipH="1">
              <a:off x="4394973" y="1762558"/>
              <a:ext cx="352210" cy="352210"/>
              <a:chOff x="5411363" y="1755522"/>
              <a:chExt cx="316187" cy="316187"/>
            </a:xfrm>
          </p:grpSpPr>
          <p:sp>
            <p:nvSpPr>
              <p:cNvPr id="246" name="Oval 245"/>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47" name="Oval 246"/>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48" name="Oval 247"/>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sp>
          <p:nvSpPr>
            <p:cNvPr id="244" name="Rectangle 243"/>
            <p:cNvSpPr/>
            <p:nvPr/>
          </p:nvSpPr>
          <p:spPr bwMode="auto">
            <a:xfrm flipH="1">
              <a:off x="4553231" y="1789294"/>
              <a:ext cx="35695" cy="28644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45" name="Rectangle 244"/>
            <p:cNvSpPr/>
            <p:nvPr/>
          </p:nvSpPr>
          <p:spPr bwMode="auto">
            <a:xfrm rot="5400000" flipH="1">
              <a:off x="4556016" y="1795437"/>
              <a:ext cx="35695" cy="28644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sp>
        <p:nvSpPr>
          <p:cNvPr id="100" name="Rectangle 99"/>
          <p:cNvSpPr/>
          <p:nvPr/>
        </p:nvSpPr>
        <p:spPr bwMode="auto">
          <a:xfrm rot="11618614">
            <a:off x="4740175" y="2792363"/>
            <a:ext cx="102311" cy="183837"/>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01" name="Oval 100"/>
          <p:cNvSpPr/>
          <p:nvPr/>
        </p:nvSpPr>
        <p:spPr bwMode="auto">
          <a:xfrm rot="11681175">
            <a:off x="4702008" y="2933964"/>
            <a:ext cx="117365" cy="1173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nvGrpSpPr>
          <p:cNvPr id="102" name="Group 101"/>
          <p:cNvGrpSpPr/>
          <p:nvPr/>
        </p:nvGrpSpPr>
        <p:grpSpPr>
          <a:xfrm rot="818614" flipH="1">
            <a:off x="4769244" y="3010569"/>
            <a:ext cx="104910" cy="288617"/>
            <a:chOff x="5430362" y="1772113"/>
            <a:chExt cx="99173" cy="272835"/>
          </a:xfrm>
          <a:solidFill>
            <a:schemeClr val="accent5"/>
          </a:solidFill>
        </p:grpSpPr>
        <p:sp>
          <p:nvSpPr>
            <p:cNvPr id="241" name="Rectangle 240"/>
            <p:cNvSpPr/>
            <p:nvPr/>
          </p:nvSpPr>
          <p:spPr bwMode="auto">
            <a:xfrm rot="13260000" flipH="1">
              <a:off x="5468027" y="1772113"/>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42" name="Diagonal Stripe 241"/>
            <p:cNvSpPr/>
            <p:nvPr/>
          </p:nvSpPr>
          <p:spPr bwMode="auto">
            <a:xfrm rot="19432650">
              <a:off x="5430362" y="1862068"/>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103" name="Group 102"/>
          <p:cNvGrpSpPr>
            <a:grpSpLocks noChangeAspect="1"/>
          </p:cNvGrpSpPr>
          <p:nvPr/>
        </p:nvGrpSpPr>
        <p:grpSpPr>
          <a:xfrm>
            <a:off x="5005275" y="2971949"/>
            <a:ext cx="204344" cy="522961"/>
            <a:chOff x="-3051175" y="-1057275"/>
            <a:chExt cx="2679700" cy="6858000"/>
          </a:xfrm>
        </p:grpSpPr>
        <p:sp>
          <p:nvSpPr>
            <p:cNvPr id="239" name="Freeform 238"/>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240" name="Freeform 239"/>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nvGrpSpPr>
          <p:cNvPr id="104" name="Group 103"/>
          <p:cNvGrpSpPr/>
          <p:nvPr/>
        </p:nvGrpSpPr>
        <p:grpSpPr>
          <a:xfrm rot="2114316">
            <a:off x="4563777" y="2912933"/>
            <a:ext cx="104910" cy="288617"/>
            <a:chOff x="5422401" y="1772114"/>
            <a:chExt cx="99173" cy="272833"/>
          </a:xfrm>
          <a:solidFill>
            <a:schemeClr val="accent5"/>
          </a:solidFill>
        </p:grpSpPr>
        <p:sp>
          <p:nvSpPr>
            <p:cNvPr id="237" name="Rectangle 236"/>
            <p:cNvSpPr/>
            <p:nvPr/>
          </p:nvSpPr>
          <p:spPr bwMode="auto">
            <a:xfrm rot="13260000" flipH="1">
              <a:off x="5460056" y="1772114"/>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38" name="Diagonal Stripe 237"/>
            <p:cNvSpPr/>
            <p:nvPr/>
          </p:nvSpPr>
          <p:spPr bwMode="auto">
            <a:xfrm rot="19432650">
              <a:off x="5422401" y="1862067"/>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105" name="Group 104"/>
          <p:cNvGrpSpPr/>
          <p:nvPr/>
        </p:nvGrpSpPr>
        <p:grpSpPr>
          <a:xfrm flipH="1">
            <a:off x="4737006" y="2629793"/>
            <a:ext cx="203132" cy="203132"/>
            <a:chOff x="4394973" y="1762558"/>
            <a:chExt cx="352210" cy="352210"/>
          </a:xfrm>
        </p:grpSpPr>
        <p:grpSp>
          <p:nvGrpSpPr>
            <p:cNvPr id="231" name="Group 230"/>
            <p:cNvGrpSpPr/>
            <p:nvPr/>
          </p:nvGrpSpPr>
          <p:grpSpPr>
            <a:xfrm flipH="1">
              <a:off x="4394973" y="1762558"/>
              <a:ext cx="352210" cy="352210"/>
              <a:chOff x="5411363" y="1755522"/>
              <a:chExt cx="316187" cy="316187"/>
            </a:xfrm>
          </p:grpSpPr>
          <p:sp>
            <p:nvSpPr>
              <p:cNvPr id="234" name="Oval 233"/>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35" name="Oval 234"/>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36" name="Oval 235"/>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sp>
          <p:nvSpPr>
            <p:cNvPr id="232" name="Rectangle 231"/>
            <p:cNvSpPr/>
            <p:nvPr/>
          </p:nvSpPr>
          <p:spPr bwMode="auto">
            <a:xfrm flipH="1">
              <a:off x="4553229" y="1795031"/>
              <a:ext cx="35696" cy="2644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33" name="Rectangle 232"/>
            <p:cNvSpPr/>
            <p:nvPr/>
          </p:nvSpPr>
          <p:spPr bwMode="auto">
            <a:xfrm rot="5400000" flipH="1">
              <a:off x="4559388" y="1806456"/>
              <a:ext cx="35696" cy="2644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sp>
        <p:nvSpPr>
          <p:cNvPr id="106" name="Rounded Rectangle 105"/>
          <p:cNvSpPr/>
          <p:nvPr/>
        </p:nvSpPr>
        <p:spPr bwMode="auto">
          <a:xfrm>
            <a:off x="5158190" y="3395383"/>
            <a:ext cx="894750" cy="282129"/>
          </a:xfrm>
          <a:prstGeom prst="round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07" name="Rounded Rectangle 106"/>
          <p:cNvSpPr/>
          <p:nvPr/>
        </p:nvSpPr>
        <p:spPr bwMode="auto">
          <a:xfrm>
            <a:off x="5057429" y="3536446"/>
            <a:ext cx="1096270" cy="158441"/>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nvGrpSpPr>
          <p:cNvPr id="108" name="Group 107"/>
          <p:cNvGrpSpPr/>
          <p:nvPr/>
        </p:nvGrpSpPr>
        <p:grpSpPr>
          <a:xfrm flipH="1">
            <a:off x="6063085" y="3248524"/>
            <a:ext cx="848186" cy="678484"/>
            <a:chOff x="6159848" y="2649094"/>
            <a:chExt cx="848425" cy="678678"/>
          </a:xfrm>
        </p:grpSpPr>
        <p:grpSp>
          <p:nvGrpSpPr>
            <p:cNvPr id="199" name="Group 198"/>
            <p:cNvGrpSpPr/>
            <p:nvPr/>
          </p:nvGrpSpPr>
          <p:grpSpPr>
            <a:xfrm>
              <a:off x="6159848" y="3067772"/>
              <a:ext cx="255538" cy="260000"/>
              <a:chOff x="8629196" y="2775642"/>
              <a:chExt cx="1130448" cy="1150187"/>
            </a:xfrm>
          </p:grpSpPr>
          <p:sp>
            <p:nvSpPr>
              <p:cNvPr id="228" name="Parallelogram 227"/>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29" name="Parallelogram 228"/>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30" name="Rectangle 229"/>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200" name="Group 199"/>
            <p:cNvGrpSpPr/>
            <p:nvPr/>
          </p:nvGrpSpPr>
          <p:grpSpPr>
            <a:xfrm>
              <a:off x="6358475" y="3067772"/>
              <a:ext cx="255538" cy="260000"/>
              <a:chOff x="8629196" y="2775642"/>
              <a:chExt cx="1130448" cy="1150187"/>
            </a:xfrm>
          </p:grpSpPr>
          <p:sp>
            <p:nvSpPr>
              <p:cNvPr id="225" name="Parallelogram 224"/>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26" name="Parallelogram 225"/>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27" name="Rectangle 226"/>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201" name="Group 200"/>
            <p:cNvGrpSpPr/>
            <p:nvPr/>
          </p:nvGrpSpPr>
          <p:grpSpPr>
            <a:xfrm>
              <a:off x="6554108" y="3067772"/>
              <a:ext cx="255538" cy="260000"/>
              <a:chOff x="8629196" y="2775642"/>
              <a:chExt cx="1130448" cy="1150187"/>
            </a:xfrm>
          </p:grpSpPr>
          <p:sp>
            <p:nvSpPr>
              <p:cNvPr id="222" name="Parallelogram 221"/>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23" name="Parallelogram 22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24" name="Rectangle 223"/>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202" name="Group 201"/>
            <p:cNvGrpSpPr/>
            <p:nvPr/>
          </p:nvGrpSpPr>
          <p:grpSpPr>
            <a:xfrm>
              <a:off x="6752735" y="3067772"/>
              <a:ext cx="255538" cy="260000"/>
              <a:chOff x="8629196" y="2775642"/>
              <a:chExt cx="1130448" cy="1150187"/>
            </a:xfrm>
          </p:grpSpPr>
          <p:sp>
            <p:nvSpPr>
              <p:cNvPr id="219" name="Parallelogram 218"/>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20" name="Parallelogram 219"/>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21" name="Rectangle 220"/>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203" name="Group 202"/>
            <p:cNvGrpSpPr/>
            <p:nvPr/>
          </p:nvGrpSpPr>
          <p:grpSpPr>
            <a:xfrm>
              <a:off x="6261735" y="2858497"/>
              <a:ext cx="255538" cy="260000"/>
              <a:chOff x="8629196" y="2775642"/>
              <a:chExt cx="1130448" cy="1150187"/>
            </a:xfrm>
          </p:grpSpPr>
          <p:sp>
            <p:nvSpPr>
              <p:cNvPr id="216" name="Parallelogram 215"/>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17" name="Parallelogram 216"/>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18" name="Rectangle 217"/>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204" name="Group 203"/>
            <p:cNvGrpSpPr/>
            <p:nvPr/>
          </p:nvGrpSpPr>
          <p:grpSpPr>
            <a:xfrm>
              <a:off x="6453382" y="2858497"/>
              <a:ext cx="255538" cy="260000"/>
              <a:chOff x="8629196" y="2775642"/>
              <a:chExt cx="1130448" cy="1150187"/>
            </a:xfrm>
          </p:grpSpPr>
          <p:sp>
            <p:nvSpPr>
              <p:cNvPr id="213" name="Parallelogram 212"/>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14" name="Parallelogram 213"/>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15" name="Rectangle 214"/>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205" name="Group 204"/>
            <p:cNvGrpSpPr/>
            <p:nvPr/>
          </p:nvGrpSpPr>
          <p:grpSpPr>
            <a:xfrm>
              <a:off x="6651081" y="2858497"/>
              <a:ext cx="255538" cy="260000"/>
              <a:chOff x="8629196" y="2775642"/>
              <a:chExt cx="1130448" cy="1150187"/>
            </a:xfrm>
          </p:grpSpPr>
          <p:sp>
            <p:nvSpPr>
              <p:cNvPr id="210" name="Parallelogram 209"/>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11" name="Parallelogram 210"/>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12" name="Rectangle 211"/>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206" name="Group 205"/>
            <p:cNvGrpSpPr/>
            <p:nvPr/>
          </p:nvGrpSpPr>
          <p:grpSpPr>
            <a:xfrm>
              <a:off x="6341132" y="2649094"/>
              <a:ext cx="255538" cy="260001"/>
              <a:chOff x="8629196" y="2744764"/>
              <a:chExt cx="1130448" cy="1150187"/>
            </a:xfrm>
          </p:grpSpPr>
          <p:sp>
            <p:nvSpPr>
              <p:cNvPr id="207" name="Parallelogram 206"/>
              <p:cNvSpPr/>
              <p:nvPr/>
            </p:nvSpPr>
            <p:spPr bwMode="auto">
              <a:xfrm>
                <a:off x="8629196" y="2744764"/>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08" name="Parallelogram 207"/>
              <p:cNvSpPr/>
              <p:nvPr/>
            </p:nvSpPr>
            <p:spPr bwMode="auto">
              <a:xfrm rot="16200000" flipH="1">
                <a:off x="9096106" y="319051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209" name="Rectangle 208"/>
              <p:cNvSpPr/>
              <p:nvPr/>
            </p:nvSpPr>
            <p:spPr bwMode="auto">
              <a:xfrm>
                <a:off x="8636177"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grpSp>
        <p:nvGrpSpPr>
          <p:cNvPr id="109" name="Group 108"/>
          <p:cNvGrpSpPr>
            <a:grpSpLocks noChangeAspect="1"/>
          </p:cNvGrpSpPr>
          <p:nvPr/>
        </p:nvGrpSpPr>
        <p:grpSpPr>
          <a:xfrm>
            <a:off x="5724164" y="3088556"/>
            <a:ext cx="130638" cy="149641"/>
            <a:chOff x="6983648" y="1445099"/>
            <a:chExt cx="547340" cy="626953"/>
          </a:xfrm>
        </p:grpSpPr>
        <p:grpSp>
          <p:nvGrpSpPr>
            <p:cNvPr id="195" name="Group 194"/>
            <p:cNvGrpSpPr/>
            <p:nvPr/>
          </p:nvGrpSpPr>
          <p:grpSpPr>
            <a:xfrm>
              <a:off x="7194775" y="1531034"/>
              <a:ext cx="142870" cy="365650"/>
              <a:chOff x="7010073" y="1548130"/>
              <a:chExt cx="1648459" cy="4218939"/>
            </a:xfrm>
            <a:solidFill>
              <a:schemeClr val="accent2"/>
            </a:solidFill>
          </p:grpSpPr>
          <p:sp>
            <p:nvSpPr>
              <p:cNvPr id="197" name="Freeform 196"/>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FCC12E"/>
              </a:solidFill>
              <a:ln w="9525">
                <a:noFill/>
                <a:round/>
                <a:headEnd/>
                <a:tailEnd/>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188F"/>
                  </a:solidFill>
                  <a:effectLst/>
                  <a:uLnTx/>
                  <a:uFillTx/>
                  <a:latin typeface="Century Gothic" panose="020F0302020204030204"/>
                  <a:ea typeface="+mn-ea"/>
                  <a:cs typeface="+mn-cs"/>
                </a:endParaRPr>
              </a:p>
            </p:txBody>
          </p:sp>
          <p:sp>
            <p:nvSpPr>
              <p:cNvPr id="198" name="Freeform 197"/>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EF8A2F"/>
              </a:solidFill>
              <a:ln w="3175">
                <a:solidFill>
                  <a:srgbClr val="EF8A2F"/>
                </a:solidFill>
                <a:round/>
                <a:headEnd/>
                <a:tailEnd/>
              </a:ln>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188F"/>
                  </a:solidFill>
                  <a:effectLst/>
                  <a:uLnTx/>
                  <a:uFillTx/>
                  <a:latin typeface="Century Gothic" panose="020F0302020204030204"/>
                  <a:ea typeface="+mn-ea"/>
                  <a:cs typeface="+mn-cs"/>
                </a:endParaRPr>
              </a:p>
            </p:txBody>
          </p:sp>
        </p:grpSp>
        <p:sp>
          <p:nvSpPr>
            <p:cNvPr id="196"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110" name="Group 109"/>
          <p:cNvGrpSpPr/>
          <p:nvPr/>
        </p:nvGrpSpPr>
        <p:grpSpPr>
          <a:xfrm rot="12600000">
            <a:off x="819847" y="3622914"/>
            <a:ext cx="232365" cy="343739"/>
            <a:chOff x="2687372" y="3149601"/>
            <a:chExt cx="81465" cy="132564"/>
          </a:xfrm>
          <a:solidFill>
            <a:schemeClr val="accent1"/>
          </a:solidFill>
        </p:grpSpPr>
        <p:sp>
          <p:nvSpPr>
            <p:cNvPr id="189" name="Freeform 188"/>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90" name="Freeform 189"/>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91" name="Freeform 190"/>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92" name="Freeform 191"/>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93" name="Freeform 192"/>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94" name="Freeform 193"/>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nvGrpSpPr>
          <p:cNvPr id="111" name="Group 110"/>
          <p:cNvGrpSpPr/>
          <p:nvPr/>
        </p:nvGrpSpPr>
        <p:grpSpPr>
          <a:xfrm rot="9000000" flipH="1">
            <a:off x="5980122" y="2893658"/>
            <a:ext cx="158704" cy="234779"/>
            <a:chOff x="2687372" y="3149601"/>
            <a:chExt cx="81465" cy="132564"/>
          </a:xfrm>
          <a:solidFill>
            <a:schemeClr val="accent5"/>
          </a:solidFill>
        </p:grpSpPr>
        <p:sp>
          <p:nvSpPr>
            <p:cNvPr id="183" name="Freeform 182"/>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84" name="Freeform 183"/>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85" name="Freeform 184"/>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86" name="Freeform 185"/>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87" name="Freeform 186"/>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88" name="Freeform 187"/>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nvGrpSpPr>
          <p:cNvPr id="112" name="Group 111"/>
          <p:cNvGrpSpPr/>
          <p:nvPr/>
        </p:nvGrpSpPr>
        <p:grpSpPr>
          <a:xfrm rot="12600000">
            <a:off x="3338273" y="2985788"/>
            <a:ext cx="158704" cy="234779"/>
            <a:chOff x="2687372" y="3149601"/>
            <a:chExt cx="81465" cy="132564"/>
          </a:xfrm>
          <a:solidFill>
            <a:srgbClr val="8DC548"/>
          </a:solidFill>
        </p:grpSpPr>
        <p:sp>
          <p:nvSpPr>
            <p:cNvPr id="177" name="Freeform 1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78" name="Freeform 177"/>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79" name="Freeform 1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80" name="Freeform 179"/>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81" name="Freeform 1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82" name="Freeform 181"/>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nvGrpSpPr>
          <p:cNvPr id="113" name="Group 112"/>
          <p:cNvGrpSpPr/>
          <p:nvPr/>
        </p:nvGrpSpPr>
        <p:grpSpPr>
          <a:xfrm rot="5866465" flipH="1">
            <a:off x="4904824" y="4644397"/>
            <a:ext cx="192036" cy="284085"/>
            <a:chOff x="2687372" y="3149601"/>
            <a:chExt cx="81465" cy="132564"/>
          </a:xfrm>
          <a:solidFill>
            <a:srgbClr val="8DC548"/>
          </a:solidFill>
        </p:grpSpPr>
        <p:sp>
          <p:nvSpPr>
            <p:cNvPr id="171" name="Freeform 170"/>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72" name="Freeform 171"/>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73" name="Freeform 172"/>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74" name="Freeform 173"/>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75" name="Freeform 174"/>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76" name="Freeform 175"/>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pic>
        <p:nvPicPr>
          <p:cNvPr id="114" name="Picture 113"/>
          <p:cNvPicPr>
            <a:picLocks noChangeAspect="1" noChangeArrowheads="1"/>
          </p:cNvPicPr>
          <p:nvPr/>
        </p:nvPicPr>
        <p:blipFill rotWithShape="1">
          <a:blip r:embed="rId2">
            <a:extLst>
              <a:ext uri="{28A0092B-C50C-407E-A947-70E740481C1C}">
                <a14:useLocalDpi xmlns:a14="http://schemas.microsoft.com/office/drawing/2010/main" val="0"/>
              </a:ext>
            </a:extLst>
          </a:blip>
          <a:srcRect l="73404" t="74835" r="25710" b="7811"/>
          <a:stretch/>
        </p:blipFill>
        <p:spPr bwMode="auto">
          <a:xfrm>
            <a:off x="7059912" y="4701668"/>
            <a:ext cx="107999" cy="1189782"/>
          </a:xfrm>
          <a:prstGeom prst="rect">
            <a:avLst/>
          </a:prstGeom>
          <a:noFill/>
          <a:ln>
            <a:noFill/>
          </a:ln>
          <a:effectLst/>
          <a:extLst>
            <a:ext uri="{909E8E84-426E-40dd-AFC4-6F175D3DCCD1}">
              <a14:hiddenFill xmlns:lc="http://schemas.openxmlformats.org/drawingml/2006/lockedCanvas" xmlns="" xmlns:a14="http://schemas.microsoft.com/office/drawing/2010/main">
                <a:solidFill>
                  <a:schemeClr val="accent1"/>
                </a:solidFill>
              </a14:hiddenFill>
            </a:ext>
            <a:ext uri="{91240B29-F687-4f45-9708-019B960494DF}">
              <a14:hiddenLine xmlns:lc="http://schemas.openxmlformats.org/drawingml/2006/lockedCanvas" xmlns="" xmlns:a14="http://schemas.microsoft.com/office/drawing/2010/main" w="9525">
                <a:solidFill>
                  <a:schemeClr val="tx1"/>
                </a:solidFill>
                <a:miter lim="800000"/>
                <a:headEnd/>
                <a:tailEnd/>
              </a14:hiddenLine>
            </a:ext>
            <a:ext uri="{AF507438-7753-43e0-B8FC-AC1667EBCBE1}">
              <a14:hiddenEffects xmlns:lc="http://schemas.openxmlformats.org/drawingml/2006/lockedCanvas" xmlns="" xmlns:a14="http://schemas.microsoft.com/office/drawing/2010/main">
                <a:effectLst>
                  <a:outerShdw dist="35921" dir="2700000" algn="ctr" rotWithShape="0">
                    <a:schemeClr val="bg2"/>
                  </a:outerShdw>
                </a:effectLst>
              </a14:hiddenEffects>
            </a:ext>
          </a:extLst>
        </p:spPr>
      </p:pic>
      <p:grpSp>
        <p:nvGrpSpPr>
          <p:cNvPr id="115" name="Group 114"/>
          <p:cNvGrpSpPr/>
          <p:nvPr/>
        </p:nvGrpSpPr>
        <p:grpSpPr>
          <a:xfrm>
            <a:off x="6217240" y="4927514"/>
            <a:ext cx="1161854" cy="888741"/>
            <a:chOff x="5427663" y="2937620"/>
            <a:chExt cx="1308563" cy="1000962"/>
          </a:xfrm>
          <a:solidFill>
            <a:srgbClr val="5F8A95"/>
          </a:solidFill>
        </p:grpSpPr>
        <p:sp>
          <p:nvSpPr>
            <p:cNvPr id="164" name="Freeform 163"/>
            <p:cNvSpPr>
              <a:spLocks/>
            </p:cNvSpPr>
            <p:nvPr/>
          </p:nvSpPr>
          <p:spPr bwMode="auto">
            <a:xfrm>
              <a:off x="6369513" y="2937620"/>
              <a:ext cx="366713" cy="873124"/>
            </a:xfrm>
            <a:custGeom>
              <a:avLst/>
              <a:gdLst>
                <a:gd name="T0" fmla="*/ 0 w 923"/>
                <a:gd name="T1" fmla="*/ 0 h 2201"/>
                <a:gd name="T2" fmla="*/ 141 w 923"/>
                <a:gd name="T3" fmla="*/ 0 h 2201"/>
                <a:gd name="T4" fmla="*/ 141 w 923"/>
                <a:gd name="T5" fmla="*/ 2060 h 2201"/>
                <a:gd name="T6" fmla="*/ 923 w 923"/>
                <a:gd name="T7" fmla="*/ 2060 h 2201"/>
                <a:gd name="T8" fmla="*/ 923 w 923"/>
                <a:gd name="T9" fmla="*/ 2201 h 2201"/>
                <a:gd name="T10" fmla="*/ 0 w 923"/>
                <a:gd name="T11" fmla="*/ 2201 h 2201"/>
                <a:gd name="T12" fmla="*/ 0 w 923"/>
                <a:gd name="T13" fmla="*/ 0 h 2201"/>
              </a:gdLst>
              <a:ahLst/>
              <a:cxnLst>
                <a:cxn ang="0">
                  <a:pos x="T0" y="T1"/>
                </a:cxn>
                <a:cxn ang="0">
                  <a:pos x="T2" y="T3"/>
                </a:cxn>
                <a:cxn ang="0">
                  <a:pos x="T4" y="T5"/>
                </a:cxn>
                <a:cxn ang="0">
                  <a:pos x="T6" y="T7"/>
                </a:cxn>
                <a:cxn ang="0">
                  <a:pos x="T8" y="T9"/>
                </a:cxn>
                <a:cxn ang="0">
                  <a:pos x="T10" y="T11"/>
                </a:cxn>
                <a:cxn ang="0">
                  <a:pos x="T12" y="T13"/>
                </a:cxn>
              </a:cxnLst>
              <a:rect l="0" t="0" r="r" b="b"/>
              <a:pathLst>
                <a:path w="923" h="2201">
                  <a:moveTo>
                    <a:pt x="0" y="0"/>
                  </a:moveTo>
                  <a:lnTo>
                    <a:pt x="141" y="0"/>
                  </a:lnTo>
                  <a:lnTo>
                    <a:pt x="141" y="2060"/>
                  </a:lnTo>
                  <a:lnTo>
                    <a:pt x="923" y="2060"/>
                  </a:lnTo>
                  <a:lnTo>
                    <a:pt x="923" y="2201"/>
                  </a:lnTo>
                  <a:lnTo>
                    <a:pt x="0" y="2201"/>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0" tIns="45696" rIns="45696" bIns="9139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474"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65" name="Rectangle 164"/>
            <p:cNvSpPr>
              <a:spLocks noChangeArrowheads="1"/>
            </p:cNvSpPr>
            <p:nvPr/>
          </p:nvSpPr>
          <p:spPr bwMode="auto">
            <a:xfrm>
              <a:off x="6454969" y="3408158"/>
              <a:ext cx="278527" cy="311181"/>
            </a:xfrm>
            <a:prstGeom prst="rect">
              <a:avLst/>
            </a:prstGeom>
            <a:solidFill>
              <a:schemeClr val="accent1">
                <a:lumMod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66" name="Rectangle 165"/>
            <p:cNvSpPr>
              <a:spLocks noChangeArrowheads="1"/>
            </p:cNvSpPr>
            <p:nvPr/>
          </p:nvSpPr>
          <p:spPr bwMode="auto">
            <a:xfrm>
              <a:off x="6458137" y="3093493"/>
              <a:ext cx="242030" cy="278527"/>
            </a:xfrm>
            <a:prstGeom prst="rect">
              <a:avLst/>
            </a:prstGeom>
            <a:solidFill>
              <a:schemeClr val="accent1">
                <a:lumMod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67" name="Freeform 166"/>
            <p:cNvSpPr>
              <a:spLocks noEditPoints="1"/>
            </p:cNvSpPr>
            <p:nvPr/>
          </p:nvSpPr>
          <p:spPr bwMode="auto">
            <a:xfrm>
              <a:off x="5519733" y="3602033"/>
              <a:ext cx="334962" cy="336549"/>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0" tIns="45696" rIns="45696" bIns="9139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474"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68" name="Freeform 167"/>
            <p:cNvSpPr>
              <a:spLocks noEditPoints="1"/>
            </p:cNvSpPr>
            <p:nvPr/>
          </p:nvSpPr>
          <p:spPr bwMode="auto">
            <a:xfrm>
              <a:off x="5992811" y="3602033"/>
              <a:ext cx="334963" cy="336549"/>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0" tIns="45696" rIns="45696" bIns="9139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474"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69" name="Freeform 168"/>
            <p:cNvSpPr>
              <a:spLocks/>
            </p:cNvSpPr>
            <p:nvPr/>
          </p:nvSpPr>
          <p:spPr bwMode="auto">
            <a:xfrm>
              <a:off x="5734226" y="2941724"/>
              <a:ext cx="525462" cy="581024"/>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0" tIns="45696" rIns="45696" bIns="9139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474"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70" name="Freeform 169"/>
            <p:cNvSpPr>
              <a:spLocks/>
            </p:cNvSpPr>
            <p:nvPr/>
          </p:nvSpPr>
          <p:spPr bwMode="auto">
            <a:xfrm>
              <a:off x="5427663" y="3416301"/>
              <a:ext cx="896938" cy="374650"/>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0" tIns="45696" rIns="45696" bIns="9139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474"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116" name="Group 115"/>
          <p:cNvGrpSpPr/>
          <p:nvPr/>
        </p:nvGrpSpPr>
        <p:grpSpPr>
          <a:xfrm>
            <a:off x="8919765" y="2381147"/>
            <a:ext cx="468634" cy="465786"/>
            <a:chOff x="6178987" y="1083053"/>
            <a:chExt cx="2106470" cy="2151434"/>
          </a:xfrm>
          <a:solidFill>
            <a:schemeClr val="bg1">
              <a:alpha val="20000"/>
            </a:schemeClr>
          </a:solidFill>
        </p:grpSpPr>
        <p:sp>
          <p:nvSpPr>
            <p:cNvPr id="160" name="Rectangle 159"/>
            <p:cNvSpPr/>
            <p:nvPr/>
          </p:nvSpPr>
          <p:spPr bwMode="auto">
            <a:xfrm>
              <a:off x="6178987"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61" name="Rectangle 160"/>
            <p:cNvSpPr/>
            <p:nvPr/>
          </p:nvSpPr>
          <p:spPr bwMode="auto">
            <a:xfrm>
              <a:off x="7297638"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62" name="Rectangle 161"/>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63" name="Rectangle 162"/>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grpSp>
        <p:nvGrpSpPr>
          <p:cNvPr id="117" name="Group 116"/>
          <p:cNvGrpSpPr/>
          <p:nvPr/>
        </p:nvGrpSpPr>
        <p:grpSpPr>
          <a:xfrm rot="20120687">
            <a:off x="8100102" y="3454051"/>
            <a:ext cx="119240" cy="213436"/>
            <a:chOff x="2687372" y="3149601"/>
            <a:chExt cx="81465" cy="132564"/>
          </a:xfrm>
          <a:solidFill>
            <a:schemeClr val="bg1"/>
          </a:solidFill>
        </p:grpSpPr>
        <p:sp>
          <p:nvSpPr>
            <p:cNvPr id="154" name="Freeform 153"/>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55" name="Freeform 154"/>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56" name="Freeform 155"/>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57" name="Freeform 156"/>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58" name="Freeform 157"/>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sp>
          <p:nvSpPr>
            <p:cNvPr id="159" name="Freeform 158"/>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panose="020F0302020204030204"/>
                <a:ea typeface="+mn-ea"/>
                <a:cs typeface="+mn-cs"/>
              </a:endParaRPr>
            </a:p>
          </p:txBody>
        </p:sp>
      </p:grpSp>
      <p:grpSp>
        <p:nvGrpSpPr>
          <p:cNvPr id="118" name="Group 117"/>
          <p:cNvGrpSpPr/>
          <p:nvPr/>
        </p:nvGrpSpPr>
        <p:grpSpPr>
          <a:xfrm rot="12600000">
            <a:off x="7870475" y="4815398"/>
            <a:ext cx="192036" cy="284085"/>
            <a:chOff x="2687372" y="3149601"/>
            <a:chExt cx="81465" cy="132564"/>
          </a:xfrm>
          <a:solidFill>
            <a:schemeClr val="accent1"/>
          </a:solidFill>
        </p:grpSpPr>
        <p:sp>
          <p:nvSpPr>
            <p:cNvPr id="148" name="Freeform 147"/>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49" name="Freeform 148"/>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50" name="Freeform 149"/>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51" name="Freeform 150"/>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52" name="Freeform 151"/>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53" name="Freeform 152"/>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119" name="Rectangle 118"/>
          <p:cNvSpPr/>
          <p:nvPr/>
        </p:nvSpPr>
        <p:spPr bwMode="auto">
          <a:xfrm>
            <a:off x="7784329" y="3616619"/>
            <a:ext cx="78270" cy="78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20" name="TextBox 11"/>
          <p:cNvSpPr txBox="1"/>
          <p:nvPr/>
        </p:nvSpPr>
        <p:spPr>
          <a:xfrm>
            <a:off x="10033392" y="1912529"/>
            <a:ext cx="669970" cy="184666"/>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8" normalizeH="0" baseline="0" noProof="0" dirty="0">
                <a:ln>
                  <a:noFill/>
                </a:ln>
                <a:solidFill>
                  <a:srgbClr val="00BCF2"/>
                </a:solidFill>
                <a:effectLst/>
                <a:uLnTx/>
                <a:uFillTx/>
                <a:latin typeface="Century Gothic" panose="020F0302020204030204"/>
                <a:ea typeface="Segoe UI" pitchFamily="34" charset="0"/>
                <a:cs typeface="Segoe UI" pitchFamily="34" charset="0"/>
              </a:rPr>
              <a:t>Managers</a:t>
            </a:r>
            <a:endParaRPr kumimoji="0" lang="en-US" sz="1400" b="0" i="0" u="none" strike="noStrike" kern="1200" cap="none" spc="-38" normalizeH="0" baseline="0" noProof="0" dirty="0">
              <a:ln>
                <a:noFill/>
              </a:ln>
              <a:solidFill>
                <a:srgbClr val="00BCF2"/>
              </a:solidFill>
              <a:effectLst/>
              <a:uLnTx/>
              <a:uFillTx/>
              <a:latin typeface="Century Gothic" panose="020F0302020204030204"/>
              <a:ea typeface="Segoe UI" pitchFamily="34" charset="0"/>
              <a:cs typeface="Segoe UI" pitchFamily="34" charset="0"/>
            </a:endParaRPr>
          </a:p>
        </p:txBody>
      </p:sp>
      <p:sp>
        <p:nvSpPr>
          <p:cNvPr id="121" name="TextBox 605"/>
          <p:cNvSpPr txBox="1"/>
          <p:nvPr/>
        </p:nvSpPr>
        <p:spPr>
          <a:xfrm>
            <a:off x="10103495" y="3503901"/>
            <a:ext cx="669970" cy="184666"/>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8" normalizeH="0" baseline="0" noProof="0" dirty="0">
                <a:ln>
                  <a:noFill/>
                </a:ln>
                <a:solidFill>
                  <a:srgbClr val="00BCF2"/>
                </a:solidFill>
                <a:effectLst/>
                <a:uLnTx/>
                <a:uFillTx/>
                <a:latin typeface="Century Gothic" panose="020F0302020204030204"/>
                <a:ea typeface="Segoe UI" pitchFamily="34" charset="0"/>
                <a:cs typeface="Segoe UI" pitchFamily="34" charset="0"/>
              </a:rPr>
              <a:t>R&amp;D</a:t>
            </a:r>
          </a:p>
        </p:txBody>
      </p:sp>
      <p:sp>
        <p:nvSpPr>
          <p:cNvPr id="122" name="TextBox 606"/>
          <p:cNvSpPr txBox="1"/>
          <p:nvPr/>
        </p:nvSpPr>
        <p:spPr>
          <a:xfrm>
            <a:off x="10033392" y="4934144"/>
            <a:ext cx="669970" cy="184666"/>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8" normalizeH="0" baseline="0" noProof="0" dirty="0">
                <a:ln>
                  <a:noFill/>
                </a:ln>
                <a:solidFill>
                  <a:srgbClr val="00BCF2"/>
                </a:solidFill>
                <a:effectLst/>
                <a:uLnTx/>
                <a:uFillTx/>
                <a:latin typeface="Century Gothic" panose="020F0302020204030204"/>
                <a:ea typeface="Segoe UI" pitchFamily="34" charset="0"/>
                <a:cs typeface="Segoe UI" pitchFamily="34" charset="0"/>
              </a:rPr>
              <a:t>Plant Floor</a:t>
            </a:r>
          </a:p>
        </p:txBody>
      </p:sp>
      <p:sp>
        <p:nvSpPr>
          <p:cNvPr id="123" name="Rectangle 122"/>
          <p:cNvSpPr/>
          <p:nvPr/>
        </p:nvSpPr>
        <p:spPr bwMode="auto">
          <a:xfrm>
            <a:off x="5720200" y="4104749"/>
            <a:ext cx="511321" cy="587887"/>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124" name="Group 123"/>
          <p:cNvGrpSpPr/>
          <p:nvPr/>
        </p:nvGrpSpPr>
        <p:grpSpPr>
          <a:xfrm>
            <a:off x="5794125" y="4319911"/>
            <a:ext cx="372768" cy="169693"/>
            <a:chOff x="4603398" y="-948267"/>
            <a:chExt cx="545923" cy="440267"/>
          </a:xfrm>
        </p:grpSpPr>
        <p:sp>
          <p:nvSpPr>
            <p:cNvPr id="142" name="Rectangle 141"/>
            <p:cNvSpPr/>
            <p:nvPr/>
          </p:nvSpPr>
          <p:spPr bwMode="auto">
            <a:xfrm>
              <a:off x="4673675" y="-948267"/>
              <a:ext cx="152479"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43" name="Rectangle 142"/>
            <p:cNvSpPr/>
            <p:nvPr/>
          </p:nvSpPr>
          <p:spPr bwMode="auto">
            <a:xfrm>
              <a:off x="4897857" y="-948267"/>
              <a:ext cx="22666"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44" name="Rectangle 143"/>
            <p:cNvSpPr/>
            <p:nvPr/>
          </p:nvSpPr>
          <p:spPr bwMode="auto">
            <a:xfrm>
              <a:off x="4603398" y="-948267"/>
              <a:ext cx="36502"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45" name="Rectangle 144"/>
            <p:cNvSpPr/>
            <p:nvPr/>
          </p:nvSpPr>
          <p:spPr bwMode="auto">
            <a:xfrm>
              <a:off x="4986178" y="-948267"/>
              <a:ext cx="36502"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46" name="Rectangle 145"/>
            <p:cNvSpPr/>
            <p:nvPr/>
          </p:nvSpPr>
          <p:spPr bwMode="auto">
            <a:xfrm>
              <a:off x="5054010" y="-948267"/>
              <a:ext cx="95311"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47" name="Rectangle 146"/>
            <p:cNvSpPr/>
            <p:nvPr/>
          </p:nvSpPr>
          <p:spPr bwMode="auto">
            <a:xfrm>
              <a:off x="4855566" y="-948267"/>
              <a:ext cx="22666"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grpSp>
        <p:nvGrpSpPr>
          <p:cNvPr id="125" name="Group 124"/>
          <p:cNvGrpSpPr/>
          <p:nvPr/>
        </p:nvGrpSpPr>
        <p:grpSpPr>
          <a:xfrm>
            <a:off x="5300859" y="5072474"/>
            <a:ext cx="188429" cy="85778"/>
            <a:chOff x="4603398" y="-948267"/>
            <a:chExt cx="545923" cy="440267"/>
          </a:xfrm>
          <a:solidFill>
            <a:schemeClr val="accent1">
              <a:lumMod val="50000"/>
            </a:schemeClr>
          </a:solidFill>
        </p:grpSpPr>
        <p:sp>
          <p:nvSpPr>
            <p:cNvPr id="136" name="Rectangle 135"/>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37" name="Rectangle 136"/>
            <p:cNvSpPr/>
            <p:nvPr/>
          </p:nvSpPr>
          <p:spPr bwMode="auto">
            <a:xfrm>
              <a:off x="4897857"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38" name="Rectangle 137"/>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39" name="Rectangle 138"/>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40" name="Rectangle 139"/>
            <p:cNvSpPr/>
            <p:nvPr/>
          </p:nvSpPr>
          <p:spPr bwMode="auto">
            <a:xfrm>
              <a:off x="5054010" y="-948267"/>
              <a:ext cx="95311"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41" name="Rectangle 140"/>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sp>
        <p:nvSpPr>
          <p:cNvPr id="126" name="Isosceles Triangle 10"/>
          <p:cNvSpPr/>
          <p:nvPr/>
        </p:nvSpPr>
        <p:spPr bwMode="auto">
          <a:xfrm rot="10800000">
            <a:off x="5469568" y="4701666"/>
            <a:ext cx="776004" cy="419186"/>
          </a:xfrm>
          <a:custGeom>
            <a:avLst/>
            <a:gdLst>
              <a:gd name="connsiteX0" fmla="*/ 0 w 537776"/>
              <a:gd name="connsiteY0" fmla="*/ 1305828 h 1305828"/>
              <a:gd name="connsiteX1" fmla="*/ 268888 w 537776"/>
              <a:gd name="connsiteY1" fmla="*/ 0 h 1305828"/>
              <a:gd name="connsiteX2" fmla="*/ 537776 w 537776"/>
              <a:gd name="connsiteY2" fmla="*/ 1305828 h 1305828"/>
              <a:gd name="connsiteX3" fmla="*/ 0 w 537776"/>
              <a:gd name="connsiteY3" fmla="*/ 1305828 h 1305828"/>
              <a:gd name="connsiteX0" fmla="*/ 0 w 1193982"/>
              <a:gd name="connsiteY0" fmla="*/ 984986 h 984986"/>
              <a:gd name="connsiteX1" fmla="*/ 1193982 w 1193982"/>
              <a:gd name="connsiteY1" fmla="*/ 0 h 984986"/>
              <a:gd name="connsiteX2" fmla="*/ 537776 w 1193982"/>
              <a:gd name="connsiteY2" fmla="*/ 984986 h 984986"/>
              <a:gd name="connsiteX3" fmla="*/ 0 w 1193982"/>
              <a:gd name="connsiteY3" fmla="*/ 984986 h 984986"/>
              <a:gd name="connsiteX0" fmla="*/ 0 w 830361"/>
              <a:gd name="connsiteY0" fmla="*/ 685533 h 984986"/>
              <a:gd name="connsiteX1" fmla="*/ 830361 w 830361"/>
              <a:gd name="connsiteY1" fmla="*/ 0 h 984986"/>
              <a:gd name="connsiteX2" fmla="*/ 174155 w 830361"/>
              <a:gd name="connsiteY2" fmla="*/ 984986 h 984986"/>
              <a:gd name="connsiteX3" fmla="*/ 0 w 830361"/>
              <a:gd name="connsiteY3" fmla="*/ 685533 h 984986"/>
              <a:gd name="connsiteX0" fmla="*/ 0 w 830361"/>
              <a:gd name="connsiteY0" fmla="*/ 685533 h 1033112"/>
              <a:gd name="connsiteX1" fmla="*/ 830361 w 830361"/>
              <a:gd name="connsiteY1" fmla="*/ 0 h 1033112"/>
              <a:gd name="connsiteX2" fmla="*/ 548471 w 830361"/>
              <a:gd name="connsiteY2" fmla="*/ 1033112 h 1033112"/>
              <a:gd name="connsiteX3" fmla="*/ 0 w 830361"/>
              <a:gd name="connsiteY3" fmla="*/ 685533 h 1033112"/>
              <a:gd name="connsiteX0" fmla="*/ 0 w 637856"/>
              <a:gd name="connsiteY0" fmla="*/ 974291 h 1033112"/>
              <a:gd name="connsiteX1" fmla="*/ 637856 w 637856"/>
              <a:gd name="connsiteY1" fmla="*/ 0 h 1033112"/>
              <a:gd name="connsiteX2" fmla="*/ 355966 w 637856"/>
              <a:gd name="connsiteY2" fmla="*/ 1033112 h 1033112"/>
              <a:gd name="connsiteX3" fmla="*/ 0 w 637856"/>
              <a:gd name="connsiteY3" fmla="*/ 974291 h 1033112"/>
              <a:gd name="connsiteX0" fmla="*/ 0 w 637856"/>
              <a:gd name="connsiteY0" fmla="*/ 974291 h 990333"/>
              <a:gd name="connsiteX1" fmla="*/ 637856 w 637856"/>
              <a:gd name="connsiteY1" fmla="*/ 0 h 990333"/>
              <a:gd name="connsiteX2" fmla="*/ 462913 w 637856"/>
              <a:gd name="connsiteY2" fmla="*/ 990333 h 990333"/>
              <a:gd name="connsiteX3" fmla="*/ 0 w 637856"/>
              <a:gd name="connsiteY3" fmla="*/ 974291 h 990333"/>
              <a:gd name="connsiteX0" fmla="*/ 0 w 637856"/>
              <a:gd name="connsiteY0" fmla="*/ 974291 h 974291"/>
              <a:gd name="connsiteX1" fmla="*/ 637856 w 637856"/>
              <a:gd name="connsiteY1" fmla="*/ 0 h 974291"/>
              <a:gd name="connsiteX2" fmla="*/ 462913 w 637856"/>
              <a:gd name="connsiteY2" fmla="*/ 974291 h 974291"/>
              <a:gd name="connsiteX3" fmla="*/ 0 w 637856"/>
              <a:gd name="connsiteY3" fmla="*/ 974291 h 974291"/>
              <a:gd name="connsiteX0" fmla="*/ 0 w 686279"/>
              <a:gd name="connsiteY0" fmla="*/ 979855 h 979855"/>
              <a:gd name="connsiteX1" fmla="*/ 686279 w 686279"/>
              <a:gd name="connsiteY1" fmla="*/ 0 h 979855"/>
              <a:gd name="connsiteX2" fmla="*/ 462913 w 686279"/>
              <a:gd name="connsiteY2" fmla="*/ 979855 h 979855"/>
              <a:gd name="connsiteX3" fmla="*/ 0 w 686279"/>
              <a:gd name="connsiteY3" fmla="*/ 979855 h 979855"/>
            </a:gdLst>
            <a:ahLst/>
            <a:cxnLst>
              <a:cxn ang="0">
                <a:pos x="connsiteX0" y="connsiteY0"/>
              </a:cxn>
              <a:cxn ang="0">
                <a:pos x="connsiteX1" y="connsiteY1"/>
              </a:cxn>
              <a:cxn ang="0">
                <a:pos x="connsiteX2" y="connsiteY2"/>
              </a:cxn>
              <a:cxn ang="0">
                <a:pos x="connsiteX3" y="connsiteY3"/>
              </a:cxn>
            </a:cxnLst>
            <a:rect l="l" t="t" r="r" b="b"/>
            <a:pathLst>
              <a:path w="686279" h="979855">
                <a:moveTo>
                  <a:pt x="0" y="979855"/>
                </a:moveTo>
                <a:lnTo>
                  <a:pt x="686279" y="0"/>
                </a:lnTo>
                <a:lnTo>
                  <a:pt x="462913" y="979855"/>
                </a:lnTo>
                <a:lnTo>
                  <a:pt x="0" y="979855"/>
                </a:lnTo>
                <a:close/>
              </a:path>
            </a:pathLst>
          </a:cu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27" name="Rectangle 4"/>
          <p:cNvSpPr/>
          <p:nvPr/>
        </p:nvSpPr>
        <p:spPr bwMode="auto">
          <a:xfrm rot="16929960">
            <a:off x="5190341" y="4919630"/>
            <a:ext cx="59343" cy="345568"/>
          </a:xfrm>
          <a:prstGeom prst="trapezoid">
            <a:avLst>
              <a:gd name="adj" fmla="val 50000"/>
            </a:avLst>
          </a:pr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nvGrpSpPr>
          <p:cNvPr id="128" name="Group 127"/>
          <p:cNvGrpSpPr/>
          <p:nvPr/>
        </p:nvGrpSpPr>
        <p:grpSpPr>
          <a:xfrm>
            <a:off x="4454481" y="4701669"/>
            <a:ext cx="605626" cy="884954"/>
            <a:chOff x="4425176" y="5132257"/>
            <a:chExt cx="605798" cy="885205"/>
          </a:xfrm>
        </p:grpSpPr>
        <p:grpSp>
          <p:nvGrpSpPr>
            <p:cNvPr id="130" name="Group 129"/>
            <p:cNvGrpSpPr/>
            <p:nvPr/>
          </p:nvGrpSpPr>
          <p:grpSpPr>
            <a:xfrm>
              <a:off x="4425176" y="5132257"/>
              <a:ext cx="605798" cy="885205"/>
              <a:chOff x="-1270367" y="3461618"/>
              <a:chExt cx="849615" cy="1241473"/>
            </a:xfrm>
          </p:grpSpPr>
          <p:sp>
            <p:nvSpPr>
              <p:cNvPr id="133" name="Oval 58"/>
              <p:cNvSpPr/>
              <p:nvPr/>
            </p:nvSpPr>
            <p:spPr bwMode="auto">
              <a:xfrm>
                <a:off x="-1270367" y="3461618"/>
                <a:ext cx="497674" cy="1241473"/>
              </a:xfrm>
              <a:custGeom>
                <a:avLst/>
                <a:gdLst>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0485 w 746519"/>
                  <a:gd name="connsiteY9" fmla="*/ 978412 h 1860882"/>
                  <a:gd name="connsiteX10" fmla="*/ 641143 w 746519"/>
                  <a:gd name="connsiteY10" fmla="*/ 719987 h 1860882"/>
                  <a:gd name="connsiteX11" fmla="*/ 607021 w 746519"/>
                  <a:gd name="connsiteY11" fmla="*/ 688522 h 1860882"/>
                  <a:gd name="connsiteX12" fmla="*/ 572899 w 746519"/>
                  <a:gd name="connsiteY12" fmla="*/ 719987 h 1860882"/>
                  <a:gd name="connsiteX13" fmla="*/ 573503 w 746519"/>
                  <a:gd name="connsiteY13" fmla="*/ 1788305 h 1860882"/>
                  <a:gd name="connsiteX14" fmla="*/ 494799 w 746519"/>
                  <a:gd name="connsiteY14" fmla="*/ 1860882 h 1860882"/>
                  <a:gd name="connsiteX15" fmla="*/ 494800 w 746519"/>
                  <a:gd name="connsiteY15" fmla="*/ 1860881 h 1860882"/>
                  <a:gd name="connsiteX16" fmla="*/ 416097 w 746519"/>
                  <a:gd name="connsiteY16" fmla="*/ 1788305 h 1860882"/>
                  <a:gd name="connsiteX17" fmla="*/ 413651 w 746519"/>
                  <a:gd name="connsiteY17" fmla="*/ 1183095 h 1860882"/>
                  <a:gd name="connsiteX18" fmla="*/ 390975 w 746519"/>
                  <a:gd name="connsiteY18" fmla="*/ 1162184 h 1860882"/>
                  <a:gd name="connsiteX19" fmla="*/ 353012 w 746519"/>
                  <a:gd name="connsiteY19" fmla="*/ 1162184 h 1860882"/>
                  <a:gd name="connsiteX20" fmla="*/ 330336 w 746519"/>
                  <a:gd name="connsiteY20" fmla="*/ 1183095 h 1860882"/>
                  <a:gd name="connsiteX21" fmla="*/ 330336 w 746519"/>
                  <a:gd name="connsiteY21" fmla="*/ 1204005 h 1860882"/>
                  <a:gd name="connsiteX22" fmla="*/ 333806 w 746519"/>
                  <a:gd name="connsiteY22" fmla="*/ 1788305 h 1860882"/>
                  <a:gd name="connsiteX23" fmla="*/ 255103 w 746519"/>
                  <a:gd name="connsiteY23" fmla="*/ 1860882 h 1860882"/>
                  <a:gd name="connsiteX24" fmla="*/ 255103 w 746519"/>
                  <a:gd name="connsiteY24" fmla="*/ 1860881 h 1860882"/>
                  <a:gd name="connsiteX25" fmla="*/ 176400 w 746519"/>
                  <a:gd name="connsiteY25" fmla="*/ 1788305 h 1860882"/>
                  <a:gd name="connsiteX26" fmla="*/ 176134 w 746519"/>
                  <a:gd name="connsiteY26" fmla="*/ 724482 h 1860882"/>
                  <a:gd name="connsiteX27" fmla="*/ 137138 w 746519"/>
                  <a:gd name="connsiteY27" fmla="*/ 688522 h 1860882"/>
                  <a:gd name="connsiteX28" fmla="*/ 98142 w 746519"/>
                  <a:gd name="connsiteY28" fmla="*/ 724482 h 1860882"/>
                  <a:gd name="connsiteX29" fmla="*/ 102557 w 746519"/>
                  <a:gd name="connsiteY29" fmla="*/ 1043065 h 1860882"/>
                  <a:gd name="connsiteX30" fmla="*/ 53811 w 746519"/>
                  <a:gd name="connsiteY30" fmla="*/ 1075143 h 1860882"/>
                  <a:gd name="connsiteX31" fmla="*/ 0 w 746519"/>
                  <a:gd name="connsiteY31" fmla="*/ 1037915 h 1860882"/>
                  <a:gd name="connsiteX32" fmla="*/ 2533 w 746519"/>
                  <a:gd name="connsiteY32" fmla="*/ 822418 h 1860882"/>
                  <a:gd name="connsiteX33" fmla="*/ 2533 w 746519"/>
                  <a:gd name="connsiteY33" fmla="*/ 578527 h 1860882"/>
                  <a:gd name="connsiteX34" fmla="*/ 2533 w 746519"/>
                  <a:gd name="connsiteY34" fmla="*/ 513688 h 1860882"/>
                  <a:gd name="connsiteX35" fmla="*/ 167038 w 746519"/>
                  <a:gd name="connsiteY35" fmla="*/ 361990 h 1860882"/>
                  <a:gd name="connsiteX36" fmla="*/ 366931 w 746519"/>
                  <a:gd name="connsiteY36" fmla="*/ 0 h 1860882"/>
                  <a:gd name="connsiteX37" fmla="*/ 526414 w 746519"/>
                  <a:gd name="connsiteY37" fmla="*/ 159483 h 1860882"/>
                  <a:gd name="connsiteX38" fmla="*/ 366931 w 746519"/>
                  <a:gd name="connsiteY38" fmla="*/ 318966 h 1860882"/>
                  <a:gd name="connsiteX39" fmla="*/ 207448 w 746519"/>
                  <a:gd name="connsiteY39" fmla="*/ 159483 h 1860882"/>
                  <a:gd name="connsiteX40" fmla="*/ 366931 w 746519"/>
                  <a:gd name="connsiteY40"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0485 w 746519"/>
                  <a:gd name="connsiteY8" fmla="*/ 978412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40485 w 746519"/>
                  <a:gd name="connsiteY7" fmla="*/ 978412 h 1860882"/>
                  <a:gd name="connsiteX8" fmla="*/ 641143 w 746519"/>
                  <a:gd name="connsiteY8" fmla="*/ 719987 h 1860882"/>
                  <a:gd name="connsiteX9" fmla="*/ 607021 w 746519"/>
                  <a:gd name="connsiteY9" fmla="*/ 688522 h 1860882"/>
                  <a:gd name="connsiteX10" fmla="*/ 572899 w 746519"/>
                  <a:gd name="connsiteY10" fmla="*/ 719987 h 1860882"/>
                  <a:gd name="connsiteX11" fmla="*/ 573503 w 746519"/>
                  <a:gd name="connsiteY11" fmla="*/ 1788305 h 1860882"/>
                  <a:gd name="connsiteX12" fmla="*/ 494799 w 746519"/>
                  <a:gd name="connsiteY12" fmla="*/ 1860882 h 1860882"/>
                  <a:gd name="connsiteX13" fmla="*/ 494800 w 746519"/>
                  <a:gd name="connsiteY13" fmla="*/ 1860881 h 1860882"/>
                  <a:gd name="connsiteX14" fmla="*/ 416097 w 746519"/>
                  <a:gd name="connsiteY14" fmla="*/ 1788305 h 1860882"/>
                  <a:gd name="connsiteX15" fmla="*/ 413651 w 746519"/>
                  <a:gd name="connsiteY15" fmla="*/ 1183095 h 1860882"/>
                  <a:gd name="connsiteX16" fmla="*/ 390975 w 746519"/>
                  <a:gd name="connsiteY16" fmla="*/ 1162184 h 1860882"/>
                  <a:gd name="connsiteX17" fmla="*/ 353012 w 746519"/>
                  <a:gd name="connsiteY17" fmla="*/ 1162184 h 1860882"/>
                  <a:gd name="connsiteX18" fmla="*/ 330336 w 746519"/>
                  <a:gd name="connsiteY18" fmla="*/ 1183095 h 1860882"/>
                  <a:gd name="connsiteX19" fmla="*/ 330336 w 746519"/>
                  <a:gd name="connsiteY19" fmla="*/ 1204005 h 1860882"/>
                  <a:gd name="connsiteX20" fmla="*/ 333806 w 746519"/>
                  <a:gd name="connsiteY20" fmla="*/ 1788305 h 1860882"/>
                  <a:gd name="connsiteX21" fmla="*/ 255103 w 746519"/>
                  <a:gd name="connsiteY21" fmla="*/ 1860882 h 1860882"/>
                  <a:gd name="connsiteX22" fmla="*/ 255103 w 746519"/>
                  <a:gd name="connsiteY22" fmla="*/ 1860881 h 1860882"/>
                  <a:gd name="connsiteX23" fmla="*/ 176400 w 746519"/>
                  <a:gd name="connsiteY23" fmla="*/ 1788305 h 1860882"/>
                  <a:gd name="connsiteX24" fmla="*/ 176134 w 746519"/>
                  <a:gd name="connsiteY24" fmla="*/ 724482 h 1860882"/>
                  <a:gd name="connsiteX25" fmla="*/ 137138 w 746519"/>
                  <a:gd name="connsiteY25" fmla="*/ 688522 h 1860882"/>
                  <a:gd name="connsiteX26" fmla="*/ 98142 w 746519"/>
                  <a:gd name="connsiteY26" fmla="*/ 724482 h 1860882"/>
                  <a:gd name="connsiteX27" fmla="*/ 102557 w 746519"/>
                  <a:gd name="connsiteY27" fmla="*/ 1043065 h 1860882"/>
                  <a:gd name="connsiteX28" fmla="*/ 53811 w 746519"/>
                  <a:gd name="connsiteY28" fmla="*/ 1075143 h 1860882"/>
                  <a:gd name="connsiteX29" fmla="*/ 0 w 746519"/>
                  <a:gd name="connsiteY29" fmla="*/ 1037915 h 1860882"/>
                  <a:gd name="connsiteX30" fmla="*/ 2533 w 746519"/>
                  <a:gd name="connsiteY30" fmla="*/ 822418 h 1860882"/>
                  <a:gd name="connsiteX31" fmla="*/ 2533 w 746519"/>
                  <a:gd name="connsiteY31" fmla="*/ 578527 h 1860882"/>
                  <a:gd name="connsiteX32" fmla="*/ 2533 w 746519"/>
                  <a:gd name="connsiteY32" fmla="*/ 513688 h 1860882"/>
                  <a:gd name="connsiteX33" fmla="*/ 167038 w 746519"/>
                  <a:gd name="connsiteY33" fmla="*/ 361990 h 1860882"/>
                  <a:gd name="connsiteX34" fmla="*/ 366931 w 746519"/>
                  <a:gd name="connsiteY34" fmla="*/ 0 h 1860882"/>
                  <a:gd name="connsiteX35" fmla="*/ 526414 w 746519"/>
                  <a:gd name="connsiteY35" fmla="*/ 159483 h 1860882"/>
                  <a:gd name="connsiteX36" fmla="*/ 366931 w 746519"/>
                  <a:gd name="connsiteY36" fmla="*/ 318966 h 1860882"/>
                  <a:gd name="connsiteX37" fmla="*/ 207448 w 746519"/>
                  <a:gd name="connsiteY37" fmla="*/ 159483 h 1860882"/>
                  <a:gd name="connsiteX38" fmla="*/ 366931 w 746519"/>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300 w 747955"/>
                  <a:gd name="connsiteY5" fmla="*/ 978412 h 1860882"/>
                  <a:gd name="connsiteX6" fmla="*/ 747955 w 747955"/>
                  <a:gd name="connsiteY6" fmla="*/ 1012368 h 1860882"/>
                  <a:gd name="connsiteX7" fmla="*/ 640485 w 747955"/>
                  <a:gd name="connsiteY7" fmla="*/ 978412 h 1860882"/>
                  <a:gd name="connsiteX8" fmla="*/ 641143 w 747955"/>
                  <a:gd name="connsiteY8" fmla="*/ 719987 h 1860882"/>
                  <a:gd name="connsiteX9" fmla="*/ 607021 w 747955"/>
                  <a:gd name="connsiteY9" fmla="*/ 688522 h 1860882"/>
                  <a:gd name="connsiteX10" fmla="*/ 572899 w 747955"/>
                  <a:gd name="connsiteY10" fmla="*/ 719987 h 1860882"/>
                  <a:gd name="connsiteX11" fmla="*/ 573503 w 747955"/>
                  <a:gd name="connsiteY11" fmla="*/ 1788305 h 1860882"/>
                  <a:gd name="connsiteX12" fmla="*/ 494799 w 747955"/>
                  <a:gd name="connsiteY12" fmla="*/ 1860882 h 1860882"/>
                  <a:gd name="connsiteX13" fmla="*/ 494800 w 747955"/>
                  <a:gd name="connsiteY13" fmla="*/ 1860881 h 1860882"/>
                  <a:gd name="connsiteX14" fmla="*/ 416097 w 747955"/>
                  <a:gd name="connsiteY14" fmla="*/ 1788305 h 1860882"/>
                  <a:gd name="connsiteX15" fmla="*/ 413651 w 747955"/>
                  <a:gd name="connsiteY15" fmla="*/ 1183095 h 1860882"/>
                  <a:gd name="connsiteX16" fmla="*/ 390975 w 747955"/>
                  <a:gd name="connsiteY16" fmla="*/ 1162184 h 1860882"/>
                  <a:gd name="connsiteX17" fmla="*/ 353012 w 747955"/>
                  <a:gd name="connsiteY17" fmla="*/ 1162184 h 1860882"/>
                  <a:gd name="connsiteX18" fmla="*/ 330336 w 747955"/>
                  <a:gd name="connsiteY18" fmla="*/ 1183095 h 1860882"/>
                  <a:gd name="connsiteX19" fmla="*/ 330336 w 747955"/>
                  <a:gd name="connsiteY19" fmla="*/ 1204005 h 1860882"/>
                  <a:gd name="connsiteX20" fmla="*/ 333806 w 747955"/>
                  <a:gd name="connsiteY20" fmla="*/ 1788305 h 1860882"/>
                  <a:gd name="connsiteX21" fmla="*/ 255103 w 747955"/>
                  <a:gd name="connsiteY21" fmla="*/ 1860882 h 1860882"/>
                  <a:gd name="connsiteX22" fmla="*/ 255103 w 747955"/>
                  <a:gd name="connsiteY22" fmla="*/ 1860881 h 1860882"/>
                  <a:gd name="connsiteX23" fmla="*/ 176400 w 747955"/>
                  <a:gd name="connsiteY23" fmla="*/ 1788305 h 1860882"/>
                  <a:gd name="connsiteX24" fmla="*/ 176134 w 747955"/>
                  <a:gd name="connsiteY24" fmla="*/ 724482 h 1860882"/>
                  <a:gd name="connsiteX25" fmla="*/ 137138 w 747955"/>
                  <a:gd name="connsiteY25" fmla="*/ 688522 h 1860882"/>
                  <a:gd name="connsiteX26" fmla="*/ 98142 w 747955"/>
                  <a:gd name="connsiteY26" fmla="*/ 724482 h 1860882"/>
                  <a:gd name="connsiteX27" fmla="*/ 102557 w 747955"/>
                  <a:gd name="connsiteY27" fmla="*/ 1043065 h 1860882"/>
                  <a:gd name="connsiteX28" fmla="*/ 53811 w 747955"/>
                  <a:gd name="connsiteY28" fmla="*/ 1075143 h 1860882"/>
                  <a:gd name="connsiteX29" fmla="*/ 0 w 747955"/>
                  <a:gd name="connsiteY29" fmla="*/ 1037915 h 1860882"/>
                  <a:gd name="connsiteX30" fmla="*/ 2533 w 747955"/>
                  <a:gd name="connsiteY30" fmla="*/ 822418 h 1860882"/>
                  <a:gd name="connsiteX31" fmla="*/ 2533 w 747955"/>
                  <a:gd name="connsiteY31" fmla="*/ 578527 h 1860882"/>
                  <a:gd name="connsiteX32" fmla="*/ 2533 w 747955"/>
                  <a:gd name="connsiteY32" fmla="*/ 513688 h 1860882"/>
                  <a:gd name="connsiteX33" fmla="*/ 167038 w 747955"/>
                  <a:gd name="connsiteY33" fmla="*/ 361990 h 1860882"/>
                  <a:gd name="connsiteX34" fmla="*/ 366931 w 747955"/>
                  <a:gd name="connsiteY34" fmla="*/ 0 h 1860882"/>
                  <a:gd name="connsiteX35" fmla="*/ 526414 w 747955"/>
                  <a:gd name="connsiteY35" fmla="*/ 159483 h 1860882"/>
                  <a:gd name="connsiteX36" fmla="*/ 366931 w 747955"/>
                  <a:gd name="connsiteY36" fmla="*/ 318966 h 1860882"/>
                  <a:gd name="connsiteX37" fmla="*/ 207448 w 747955"/>
                  <a:gd name="connsiteY37" fmla="*/ 159483 h 1860882"/>
                  <a:gd name="connsiteX38" fmla="*/ 366931 w 747955"/>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38855 w 747955"/>
                  <a:gd name="connsiteY9" fmla="*/ 906807 h 1860882"/>
                  <a:gd name="connsiteX10" fmla="*/ 641143 w 747955"/>
                  <a:gd name="connsiteY10" fmla="*/ 719987 h 1860882"/>
                  <a:gd name="connsiteX11" fmla="*/ 607021 w 747955"/>
                  <a:gd name="connsiteY11" fmla="*/ 688522 h 1860882"/>
                  <a:gd name="connsiteX12" fmla="*/ 572899 w 747955"/>
                  <a:gd name="connsiteY12" fmla="*/ 719987 h 1860882"/>
                  <a:gd name="connsiteX13" fmla="*/ 573503 w 747955"/>
                  <a:gd name="connsiteY13" fmla="*/ 1788305 h 1860882"/>
                  <a:gd name="connsiteX14" fmla="*/ 494799 w 747955"/>
                  <a:gd name="connsiteY14" fmla="*/ 1860882 h 1860882"/>
                  <a:gd name="connsiteX15" fmla="*/ 494800 w 747955"/>
                  <a:gd name="connsiteY15" fmla="*/ 1860881 h 1860882"/>
                  <a:gd name="connsiteX16" fmla="*/ 416097 w 747955"/>
                  <a:gd name="connsiteY16" fmla="*/ 1788305 h 1860882"/>
                  <a:gd name="connsiteX17" fmla="*/ 413651 w 747955"/>
                  <a:gd name="connsiteY17" fmla="*/ 1183095 h 1860882"/>
                  <a:gd name="connsiteX18" fmla="*/ 390975 w 747955"/>
                  <a:gd name="connsiteY18" fmla="*/ 1162184 h 1860882"/>
                  <a:gd name="connsiteX19" fmla="*/ 353012 w 747955"/>
                  <a:gd name="connsiteY19" fmla="*/ 1162184 h 1860882"/>
                  <a:gd name="connsiteX20" fmla="*/ 330336 w 747955"/>
                  <a:gd name="connsiteY20" fmla="*/ 1183095 h 1860882"/>
                  <a:gd name="connsiteX21" fmla="*/ 330336 w 747955"/>
                  <a:gd name="connsiteY21" fmla="*/ 1204005 h 1860882"/>
                  <a:gd name="connsiteX22" fmla="*/ 333806 w 747955"/>
                  <a:gd name="connsiteY22" fmla="*/ 1788305 h 1860882"/>
                  <a:gd name="connsiteX23" fmla="*/ 255103 w 747955"/>
                  <a:gd name="connsiteY23" fmla="*/ 1860882 h 1860882"/>
                  <a:gd name="connsiteX24" fmla="*/ 255103 w 747955"/>
                  <a:gd name="connsiteY24" fmla="*/ 1860881 h 1860882"/>
                  <a:gd name="connsiteX25" fmla="*/ 176400 w 747955"/>
                  <a:gd name="connsiteY25" fmla="*/ 1788305 h 1860882"/>
                  <a:gd name="connsiteX26" fmla="*/ 176134 w 747955"/>
                  <a:gd name="connsiteY26" fmla="*/ 724482 h 1860882"/>
                  <a:gd name="connsiteX27" fmla="*/ 137138 w 747955"/>
                  <a:gd name="connsiteY27" fmla="*/ 688522 h 1860882"/>
                  <a:gd name="connsiteX28" fmla="*/ 98142 w 747955"/>
                  <a:gd name="connsiteY28" fmla="*/ 724482 h 1860882"/>
                  <a:gd name="connsiteX29" fmla="*/ 102557 w 747955"/>
                  <a:gd name="connsiteY29" fmla="*/ 1043065 h 1860882"/>
                  <a:gd name="connsiteX30" fmla="*/ 53811 w 747955"/>
                  <a:gd name="connsiteY30" fmla="*/ 1075143 h 1860882"/>
                  <a:gd name="connsiteX31" fmla="*/ 0 w 747955"/>
                  <a:gd name="connsiteY31" fmla="*/ 1037915 h 1860882"/>
                  <a:gd name="connsiteX32" fmla="*/ 2533 w 747955"/>
                  <a:gd name="connsiteY32" fmla="*/ 822418 h 1860882"/>
                  <a:gd name="connsiteX33" fmla="*/ 2533 w 747955"/>
                  <a:gd name="connsiteY33" fmla="*/ 578527 h 1860882"/>
                  <a:gd name="connsiteX34" fmla="*/ 2533 w 747955"/>
                  <a:gd name="connsiteY34" fmla="*/ 513688 h 1860882"/>
                  <a:gd name="connsiteX35" fmla="*/ 167038 w 747955"/>
                  <a:gd name="connsiteY35" fmla="*/ 361990 h 1860882"/>
                  <a:gd name="connsiteX36" fmla="*/ 366931 w 747955"/>
                  <a:gd name="connsiteY36" fmla="*/ 0 h 1860882"/>
                  <a:gd name="connsiteX37" fmla="*/ 526414 w 747955"/>
                  <a:gd name="connsiteY37" fmla="*/ 159483 h 1860882"/>
                  <a:gd name="connsiteX38" fmla="*/ 366931 w 747955"/>
                  <a:gd name="connsiteY38" fmla="*/ 318966 h 1860882"/>
                  <a:gd name="connsiteX39" fmla="*/ 207448 w 747955"/>
                  <a:gd name="connsiteY39" fmla="*/ 159483 h 1860882"/>
                  <a:gd name="connsiteX40" fmla="*/ 366931 w 747955"/>
                  <a:gd name="connsiteY40"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38855 w 747955"/>
                  <a:gd name="connsiteY8" fmla="*/ 906807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55595"/>
                  <a:gd name="connsiteY0" fmla="*/ 361990 h 1860882"/>
                  <a:gd name="connsiteX1" fmla="*/ 576950 w 755595"/>
                  <a:gd name="connsiteY1" fmla="*/ 361990 h 1860882"/>
                  <a:gd name="connsiteX2" fmla="*/ 741454 w 755595"/>
                  <a:gd name="connsiteY2" fmla="*/ 513688 h 1860882"/>
                  <a:gd name="connsiteX3" fmla="*/ 741454 w 755595"/>
                  <a:gd name="connsiteY3" fmla="*/ 578527 h 1860882"/>
                  <a:gd name="connsiteX4" fmla="*/ 741454 w 755595"/>
                  <a:gd name="connsiteY4" fmla="*/ 822418 h 1860882"/>
                  <a:gd name="connsiteX5" fmla="*/ 745871 w 755595"/>
                  <a:gd name="connsiteY5" fmla="*/ 919037 h 1860882"/>
                  <a:gd name="connsiteX6" fmla="*/ 747955 w 755595"/>
                  <a:gd name="connsiteY6" fmla="*/ 1012368 h 1860882"/>
                  <a:gd name="connsiteX7" fmla="*/ 638855 w 755595"/>
                  <a:gd name="connsiteY7" fmla="*/ 906807 h 1860882"/>
                  <a:gd name="connsiteX8" fmla="*/ 641143 w 755595"/>
                  <a:gd name="connsiteY8" fmla="*/ 719987 h 1860882"/>
                  <a:gd name="connsiteX9" fmla="*/ 607021 w 755595"/>
                  <a:gd name="connsiteY9" fmla="*/ 688522 h 1860882"/>
                  <a:gd name="connsiteX10" fmla="*/ 572899 w 755595"/>
                  <a:gd name="connsiteY10" fmla="*/ 719987 h 1860882"/>
                  <a:gd name="connsiteX11" fmla="*/ 573503 w 755595"/>
                  <a:gd name="connsiteY11" fmla="*/ 1788305 h 1860882"/>
                  <a:gd name="connsiteX12" fmla="*/ 494799 w 755595"/>
                  <a:gd name="connsiteY12" fmla="*/ 1860882 h 1860882"/>
                  <a:gd name="connsiteX13" fmla="*/ 494800 w 755595"/>
                  <a:gd name="connsiteY13" fmla="*/ 1860881 h 1860882"/>
                  <a:gd name="connsiteX14" fmla="*/ 416097 w 755595"/>
                  <a:gd name="connsiteY14" fmla="*/ 1788305 h 1860882"/>
                  <a:gd name="connsiteX15" fmla="*/ 413651 w 755595"/>
                  <a:gd name="connsiteY15" fmla="*/ 1183095 h 1860882"/>
                  <a:gd name="connsiteX16" fmla="*/ 390975 w 755595"/>
                  <a:gd name="connsiteY16" fmla="*/ 1162184 h 1860882"/>
                  <a:gd name="connsiteX17" fmla="*/ 353012 w 755595"/>
                  <a:gd name="connsiteY17" fmla="*/ 1162184 h 1860882"/>
                  <a:gd name="connsiteX18" fmla="*/ 330336 w 755595"/>
                  <a:gd name="connsiteY18" fmla="*/ 1183095 h 1860882"/>
                  <a:gd name="connsiteX19" fmla="*/ 330336 w 755595"/>
                  <a:gd name="connsiteY19" fmla="*/ 1204005 h 1860882"/>
                  <a:gd name="connsiteX20" fmla="*/ 333806 w 755595"/>
                  <a:gd name="connsiteY20" fmla="*/ 1788305 h 1860882"/>
                  <a:gd name="connsiteX21" fmla="*/ 255103 w 755595"/>
                  <a:gd name="connsiteY21" fmla="*/ 1860882 h 1860882"/>
                  <a:gd name="connsiteX22" fmla="*/ 255103 w 755595"/>
                  <a:gd name="connsiteY22" fmla="*/ 1860881 h 1860882"/>
                  <a:gd name="connsiteX23" fmla="*/ 176400 w 755595"/>
                  <a:gd name="connsiteY23" fmla="*/ 1788305 h 1860882"/>
                  <a:gd name="connsiteX24" fmla="*/ 176134 w 755595"/>
                  <a:gd name="connsiteY24" fmla="*/ 724482 h 1860882"/>
                  <a:gd name="connsiteX25" fmla="*/ 137138 w 755595"/>
                  <a:gd name="connsiteY25" fmla="*/ 688522 h 1860882"/>
                  <a:gd name="connsiteX26" fmla="*/ 98142 w 755595"/>
                  <a:gd name="connsiteY26" fmla="*/ 724482 h 1860882"/>
                  <a:gd name="connsiteX27" fmla="*/ 102557 w 755595"/>
                  <a:gd name="connsiteY27" fmla="*/ 1043065 h 1860882"/>
                  <a:gd name="connsiteX28" fmla="*/ 53811 w 755595"/>
                  <a:gd name="connsiteY28" fmla="*/ 1075143 h 1860882"/>
                  <a:gd name="connsiteX29" fmla="*/ 0 w 755595"/>
                  <a:gd name="connsiteY29" fmla="*/ 1037915 h 1860882"/>
                  <a:gd name="connsiteX30" fmla="*/ 2533 w 755595"/>
                  <a:gd name="connsiteY30" fmla="*/ 822418 h 1860882"/>
                  <a:gd name="connsiteX31" fmla="*/ 2533 w 755595"/>
                  <a:gd name="connsiteY31" fmla="*/ 578527 h 1860882"/>
                  <a:gd name="connsiteX32" fmla="*/ 2533 w 755595"/>
                  <a:gd name="connsiteY32" fmla="*/ 513688 h 1860882"/>
                  <a:gd name="connsiteX33" fmla="*/ 167038 w 755595"/>
                  <a:gd name="connsiteY33" fmla="*/ 361990 h 1860882"/>
                  <a:gd name="connsiteX34" fmla="*/ 366931 w 755595"/>
                  <a:gd name="connsiteY34" fmla="*/ 0 h 1860882"/>
                  <a:gd name="connsiteX35" fmla="*/ 526414 w 755595"/>
                  <a:gd name="connsiteY35" fmla="*/ 159483 h 1860882"/>
                  <a:gd name="connsiteX36" fmla="*/ 366931 w 755595"/>
                  <a:gd name="connsiteY36" fmla="*/ 318966 h 1860882"/>
                  <a:gd name="connsiteX37" fmla="*/ 207448 w 755595"/>
                  <a:gd name="connsiteY37" fmla="*/ 159483 h 1860882"/>
                  <a:gd name="connsiteX38" fmla="*/ 366931 w 755595"/>
                  <a:gd name="connsiteY38" fmla="*/ 0 h 1860882"/>
                  <a:gd name="connsiteX0" fmla="*/ 167038 w 751277"/>
                  <a:gd name="connsiteY0" fmla="*/ 361990 h 1860882"/>
                  <a:gd name="connsiteX1" fmla="*/ 576950 w 751277"/>
                  <a:gd name="connsiteY1" fmla="*/ 361990 h 1860882"/>
                  <a:gd name="connsiteX2" fmla="*/ 741454 w 751277"/>
                  <a:gd name="connsiteY2" fmla="*/ 513688 h 1860882"/>
                  <a:gd name="connsiteX3" fmla="*/ 741454 w 751277"/>
                  <a:gd name="connsiteY3" fmla="*/ 578527 h 1860882"/>
                  <a:gd name="connsiteX4" fmla="*/ 741454 w 751277"/>
                  <a:gd name="connsiteY4" fmla="*/ 822418 h 1860882"/>
                  <a:gd name="connsiteX5" fmla="*/ 745871 w 751277"/>
                  <a:gd name="connsiteY5" fmla="*/ 919037 h 1860882"/>
                  <a:gd name="connsiteX6" fmla="*/ 741840 w 751277"/>
                  <a:gd name="connsiteY6" fmla="*/ 946629 h 1860882"/>
                  <a:gd name="connsiteX7" fmla="*/ 638855 w 751277"/>
                  <a:gd name="connsiteY7" fmla="*/ 906807 h 1860882"/>
                  <a:gd name="connsiteX8" fmla="*/ 641143 w 751277"/>
                  <a:gd name="connsiteY8" fmla="*/ 719987 h 1860882"/>
                  <a:gd name="connsiteX9" fmla="*/ 607021 w 751277"/>
                  <a:gd name="connsiteY9" fmla="*/ 688522 h 1860882"/>
                  <a:gd name="connsiteX10" fmla="*/ 572899 w 751277"/>
                  <a:gd name="connsiteY10" fmla="*/ 719987 h 1860882"/>
                  <a:gd name="connsiteX11" fmla="*/ 573503 w 751277"/>
                  <a:gd name="connsiteY11" fmla="*/ 1788305 h 1860882"/>
                  <a:gd name="connsiteX12" fmla="*/ 494799 w 751277"/>
                  <a:gd name="connsiteY12" fmla="*/ 1860882 h 1860882"/>
                  <a:gd name="connsiteX13" fmla="*/ 494800 w 751277"/>
                  <a:gd name="connsiteY13" fmla="*/ 1860881 h 1860882"/>
                  <a:gd name="connsiteX14" fmla="*/ 416097 w 751277"/>
                  <a:gd name="connsiteY14" fmla="*/ 1788305 h 1860882"/>
                  <a:gd name="connsiteX15" fmla="*/ 413651 w 751277"/>
                  <a:gd name="connsiteY15" fmla="*/ 1183095 h 1860882"/>
                  <a:gd name="connsiteX16" fmla="*/ 390975 w 751277"/>
                  <a:gd name="connsiteY16" fmla="*/ 1162184 h 1860882"/>
                  <a:gd name="connsiteX17" fmla="*/ 353012 w 751277"/>
                  <a:gd name="connsiteY17" fmla="*/ 1162184 h 1860882"/>
                  <a:gd name="connsiteX18" fmla="*/ 330336 w 751277"/>
                  <a:gd name="connsiteY18" fmla="*/ 1183095 h 1860882"/>
                  <a:gd name="connsiteX19" fmla="*/ 330336 w 751277"/>
                  <a:gd name="connsiteY19" fmla="*/ 1204005 h 1860882"/>
                  <a:gd name="connsiteX20" fmla="*/ 333806 w 751277"/>
                  <a:gd name="connsiteY20" fmla="*/ 1788305 h 1860882"/>
                  <a:gd name="connsiteX21" fmla="*/ 255103 w 751277"/>
                  <a:gd name="connsiteY21" fmla="*/ 1860882 h 1860882"/>
                  <a:gd name="connsiteX22" fmla="*/ 255103 w 751277"/>
                  <a:gd name="connsiteY22" fmla="*/ 1860881 h 1860882"/>
                  <a:gd name="connsiteX23" fmla="*/ 176400 w 751277"/>
                  <a:gd name="connsiteY23" fmla="*/ 1788305 h 1860882"/>
                  <a:gd name="connsiteX24" fmla="*/ 176134 w 751277"/>
                  <a:gd name="connsiteY24" fmla="*/ 724482 h 1860882"/>
                  <a:gd name="connsiteX25" fmla="*/ 137138 w 751277"/>
                  <a:gd name="connsiteY25" fmla="*/ 688522 h 1860882"/>
                  <a:gd name="connsiteX26" fmla="*/ 98142 w 751277"/>
                  <a:gd name="connsiteY26" fmla="*/ 724482 h 1860882"/>
                  <a:gd name="connsiteX27" fmla="*/ 102557 w 751277"/>
                  <a:gd name="connsiteY27" fmla="*/ 1043065 h 1860882"/>
                  <a:gd name="connsiteX28" fmla="*/ 53811 w 751277"/>
                  <a:gd name="connsiteY28" fmla="*/ 1075143 h 1860882"/>
                  <a:gd name="connsiteX29" fmla="*/ 0 w 751277"/>
                  <a:gd name="connsiteY29" fmla="*/ 1037915 h 1860882"/>
                  <a:gd name="connsiteX30" fmla="*/ 2533 w 751277"/>
                  <a:gd name="connsiteY30" fmla="*/ 822418 h 1860882"/>
                  <a:gd name="connsiteX31" fmla="*/ 2533 w 751277"/>
                  <a:gd name="connsiteY31" fmla="*/ 578527 h 1860882"/>
                  <a:gd name="connsiteX32" fmla="*/ 2533 w 751277"/>
                  <a:gd name="connsiteY32" fmla="*/ 513688 h 1860882"/>
                  <a:gd name="connsiteX33" fmla="*/ 167038 w 751277"/>
                  <a:gd name="connsiteY33" fmla="*/ 361990 h 1860882"/>
                  <a:gd name="connsiteX34" fmla="*/ 366931 w 751277"/>
                  <a:gd name="connsiteY34" fmla="*/ 0 h 1860882"/>
                  <a:gd name="connsiteX35" fmla="*/ 526414 w 751277"/>
                  <a:gd name="connsiteY35" fmla="*/ 159483 h 1860882"/>
                  <a:gd name="connsiteX36" fmla="*/ 366931 w 751277"/>
                  <a:gd name="connsiteY36" fmla="*/ 318966 h 1860882"/>
                  <a:gd name="connsiteX37" fmla="*/ 207448 w 751277"/>
                  <a:gd name="connsiteY37" fmla="*/ 159483 h 1860882"/>
                  <a:gd name="connsiteX38" fmla="*/ 366931 w 751277"/>
                  <a:gd name="connsiteY38" fmla="*/ 0 h 1860882"/>
                  <a:gd name="connsiteX0" fmla="*/ 167038 w 747958"/>
                  <a:gd name="connsiteY0" fmla="*/ 361990 h 1860882"/>
                  <a:gd name="connsiteX1" fmla="*/ 576950 w 747958"/>
                  <a:gd name="connsiteY1" fmla="*/ 361990 h 1860882"/>
                  <a:gd name="connsiteX2" fmla="*/ 741454 w 747958"/>
                  <a:gd name="connsiteY2" fmla="*/ 513688 h 1860882"/>
                  <a:gd name="connsiteX3" fmla="*/ 741454 w 747958"/>
                  <a:gd name="connsiteY3" fmla="*/ 578527 h 1860882"/>
                  <a:gd name="connsiteX4" fmla="*/ 741454 w 747958"/>
                  <a:gd name="connsiteY4" fmla="*/ 822418 h 1860882"/>
                  <a:gd name="connsiteX5" fmla="*/ 745871 w 747958"/>
                  <a:gd name="connsiteY5" fmla="*/ 919037 h 1860882"/>
                  <a:gd name="connsiteX6" fmla="*/ 735725 w 747958"/>
                  <a:gd name="connsiteY6" fmla="*/ 946629 h 1860882"/>
                  <a:gd name="connsiteX7" fmla="*/ 638855 w 747958"/>
                  <a:gd name="connsiteY7" fmla="*/ 906807 h 1860882"/>
                  <a:gd name="connsiteX8" fmla="*/ 641143 w 747958"/>
                  <a:gd name="connsiteY8" fmla="*/ 719987 h 1860882"/>
                  <a:gd name="connsiteX9" fmla="*/ 607021 w 747958"/>
                  <a:gd name="connsiteY9" fmla="*/ 688522 h 1860882"/>
                  <a:gd name="connsiteX10" fmla="*/ 572899 w 747958"/>
                  <a:gd name="connsiteY10" fmla="*/ 719987 h 1860882"/>
                  <a:gd name="connsiteX11" fmla="*/ 573503 w 747958"/>
                  <a:gd name="connsiteY11" fmla="*/ 1788305 h 1860882"/>
                  <a:gd name="connsiteX12" fmla="*/ 494799 w 747958"/>
                  <a:gd name="connsiteY12" fmla="*/ 1860882 h 1860882"/>
                  <a:gd name="connsiteX13" fmla="*/ 494800 w 747958"/>
                  <a:gd name="connsiteY13" fmla="*/ 1860881 h 1860882"/>
                  <a:gd name="connsiteX14" fmla="*/ 416097 w 747958"/>
                  <a:gd name="connsiteY14" fmla="*/ 1788305 h 1860882"/>
                  <a:gd name="connsiteX15" fmla="*/ 413651 w 747958"/>
                  <a:gd name="connsiteY15" fmla="*/ 1183095 h 1860882"/>
                  <a:gd name="connsiteX16" fmla="*/ 390975 w 747958"/>
                  <a:gd name="connsiteY16" fmla="*/ 1162184 h 1860882"/>
                  <a:gd name="connsiteX17" fmla="*/ 353012 w 747958"/>
                  <a:gd name="connsiteY17" fmla="*/ 1162184 h 1860882"/>
                  <a:gd name="connsiteX18" fmla="*/ 330336 w 747958"/>
                  <a:gd name="connsiteY18" fmla="*/ 1183095 h 1860882"/>
                  <a:gd name="connsiteX19" fmla="*/ 330336 w 747958"/>
                  <a:gd name="connsiteY19" fmla="*/ 1204005 h 1860882"/>
                  <a:gd name="connsiteX20" fmla="*/ 333806 w 747958"/>
                  <a:gd name="connsiteY20" fmla="*/ 1788305 h 1860882"/>
                  <a:gd name="connsiteX21" fmla="*/ 255103 w 747958"/>
                  <a:gd name="connsiteY21" fmla="*/ 1860882 h 1860882"/>
                  <a:gd name="connsiteX22" fmla="*/ 255103 w 747958"/>
                  <a:gd name="connsiteY22" fmla="*/ 1860881 h 1860882"/>
                  <a:gd name="connsiteX23" fmla="*/ 176400 w 747958"/>
                  <a:gd name="connsiteY23" fmla="*/ 1788305 h 1860882"/>
                  <a:gd name="connsiteX24" fmla="*/ 176134 w 747958"/>
                  <a:gd name="connsiteY24" fmla="*/ 724482 h 1860882"/>
                  <a:gd name="connsiteX25" fmla="*/ 137138 w 747958"/>
                  <a:gd name="connsiteY25" fmla="*/ 688522 h 1860882"/>
                  <a:gd name="connsiteX26" fmla="*/ 98142 w 747958"/>
                  <a:gd name="connsiteY26" fmla="*/ 724482 h 1860882"/>
                  <a:gd name="connsiteX27" fmla="*/ 102557 w 747958"/>
                  <a:gd name="connsiteY27" fmla="*/ 1043065 h 1860882"/>
                  <a:gd name="connsiteX28" fmla="*/ 53811 w 747958"/>
                  <a:gd name="connsiteY28" fmla="*/ 1075143 h 1860882"/>
                  <a:gd name="connsiteX29" fmla="*/ 0 w 747958"/>
                  <a:gd name="connsiteY29" fmla="*/ 1037915 h 1860882"/>
                  <a:gd name="connsiteX30" fmla="*/ 2533 w 747958"/>
                  <a:gd name="connsiteY30" fmla="*/ 822418 h 1860882"/>
                  <a:gd name="connsiteX31" fmla="*/ 2533 w 747958"/>
                  <a:gd name="connsiteY31" fmla="*/ 578527 h 1860882"/>
                  <a:gd name="connsiteX32" fmla="*/ 2533 w 747958"/>
                  <a:gd name="connsiteY32" fmla="*/ 513688 h 1860882"/>
                  <a:gd name="connsiteX33" fmla="*/ 167038 w 747958"/>
                  <a:gd name="connsiteY33" fmla="*/ 361990 h 1860882"/>
                  <a:gd name="connsiteX34" fmla="*/ 366931 w 747958"/>
                  <a:gd name="connsiteY34" fmla="*/ 0 h 1860882"/>
                  <a:gd name="connsiteX35" fmla="*/ 526414 w 747958"/>
                  <a:gd name="connsiteY35" fmla="*/ 159483 h 1860882"/>
                  <a:gd name="connsiteX36" fmla="*/ 366931 w 747958"/>
                  <a:gd name="connsiteY36" fmla="*/ 318966 h 1860882"/>
                  <a:gd name="connsiteX37" fmla="*/ 207448 w 747958"/>
                  <a:gd name="connsiteY37" fmla="*/ 159483 h 1860882"/>
                  <a:gd name="connsiteX38" fmla="*/ 366931 w 747958"/>
                  <a:gd name="connsiteY38" fmla="*/ 0 h 1860882"/>
                  <a:gd name="connsiteX0" fmla="*/ 167038 w 746083"/>
                  <a:gd name="connsiteY0" fmla="*/ 361990 h 1860882"/>
                  <a:gd name="connsiteX1" fmla="*/ 576950 w 746083"/>
                  <a:gd name="connsiteY1" fmla="*/ 361990 h 1860882"/>
                  <a:gd name="connsiteX2" fmla="*/ 741454 w 746083"/>
                  <a:gd name="connsiteY2" fmla="*/ 513688 h 1860882"/>
                  <a:gd name="connsiteX3" fmla="*/ 741454 w 746083"/>
                  <a:gd name="connsiteY3" fmla="*/ 578527 h 1860882"/>
                  <a:gd name="connsiteX4" fmla="*/ 741454 w 746083"/>
                  <a:gd name="connsiteY4" fmla="*/ 822418 h 1860882"/>
                  <a:gd name="connsiteX5" fmla="*/ 745871 w 746083"/>
                  <a:gd name="connsiteY5" fmla="*/ 919037 h 1860882"/>
                  <a:gd name="connsiteX6" fmla="*/ 726552 w 746083"/>
                  <a:gd name="connsiteY6" fmla="*/ 937457 h 1860882"/>
                  <a:gd name="connsiteX7" fmla="*/ 638855 w 746083"/>
                  <a:gd name="connsiteY7" fmla="*/ 906807 h 1860882"/>
                  <a:gd name="connsiteX8" fmla="*/ 641143 w 746083"/>
                  <a:gd name="connsiteY8" fmla="*/ 719987 h 1860882"/>
                  <a:gd name="connsiteX9" fmla="*/ 607021 w 746083"/>
                  <a:gd name="connsiteY9" fmla="*/ 688522 h 1860882"/>
                  <a:gd name="connsiteX10" fmla="*/ 572899 w 746083"/>
                  <a:gd name="connsiteY10" fmla="*/ 719987 h 1860882"/>
                  <a:gd name="connsiteX11" fmla="*/ 573503 w 746083"/>
                  <a:gd name="connsiteY11" fmla="*/ 1788305 h 1860882"/>
                  <a:gd name="connsiteX12" fmla="*/ 494799 w 746083"/>
                  <a:gd name="connsiteY12" fmla="*/ 1860882 h 1860882"/>
                  <a:gd name="connsiteX13" fmla="*/ 494800 w 746083"/>
                  <a:gd name="connsiteY13" fmla="*/ 1860881 h 1860882"/>
                  <a:gd name="connsiteX14" fmla="*/ 416097 w 746083"/>
                  <a:gd name="connsiteY14" fmla="*/ 1788305 h 1860882"/>
                  <a:gd name="connsiteX15" fmla="*/ 413651 w 746083"/>
                  <a:gd name="connsiteY15" fmla="*/ 1183095 h 1860882"/>
                  <a:gd name="connsiteX16" fmla="*/ 390975 w 746083"/>
                  <a:gd name="connsiteY16" fmla="*/ 1162184 h 1860882"/>
                  <a:gd name="connsiteX17" fmla="*/ 353012 w 746083"/>
                  <a:gd name="connsiteY17" fmla="*/ 1162184 h 1860882"/>
                  <a:gd name="connsiteX18" fmla="*/ 330336 w 746083"/>
                  <a:gd name="connsiteY18" fmla="*/ 1183095 h 1860882"/>
                  <a:gd name="connsiteX19" fmla="*/ 330336 w 746083"/>
                  <a:gd name="connsiteY19" fmla="*/ 1204005 h 1860882"/>
                  <a:gd name="connsiteX20" fmla="*/ 333806 w 746083"/>
                  <a:gd name="connsiteY20" fmla="*/ 1788305 h 1860882"/>
                  <a:gd name="connsiteX21" fmla="*/ 255103 w 746083"/>
                  <a:gd name="connsiteY21" fmla="*/ 1860882 h 1860882"/>
                  <a:gd name="connsiteX22" fmla="*/ 255103 w 746083"/>
                  <a:gd name="connsiteY22" fmla="*/ 1860881 h 1860882"/>
                  <a:gd name="connsiteX23" fmla="*/ 176400 w 746083"/>
                  <a:gd name="connsiteY23" fmla="*/ 1788305 h 1860882"/>
                  <a:gd name="connsiteX24" fmla="*/ 176134 w 746083"/>
                  <a:gd name="connsiteY24" fmla="*/ 724482 h 1860882"/>
                  <a:gd name="connsiteX25" fmla="*/ 137138 w 746083"/>
                  <a:gd name="connsiteY25" fmla="*/ 688522 h 1860882"/>
                  <a:gd name="connsiteX26" fmla="*/ 98142 w 746083"/>
                  <a:gd name="connsiteY26" fmla="*/ 724482 h 1860882"/>
                  <a:gd name="connsiteX27" fmla="*/ 102557 w 746083"/>
                  <a:gd name="connsiteY27" fmla="*/ 1043065 h 1860882"/>
                  <a:gd name="connsiteX28" fmla="*/ 53811 w 746083"/>
                  <a:gd name="connsiteY28" fmla="*/ 1075143 h 1860882"/>
                  <a:gd name="connsiteX29" fmla="*/ 0 w 746083"/>
                  <a:gd name="connsiteY29" fmla="*/ 1037915 h 1860882"/>
                  <a:gd name="connsiteX30" fmla="*/ 2533 w 746083"/>
                  <a:gd name="connsiteY30" fmla="*/ 822418 h 1860882"/>
                  <a:gd name="connsiteX31" fmla="*/ 2533 w 746083"/>
                  <a:gd name="connsiteY31" fmla="*/ 578527 h 1860882"/>
                  <a:gd name="connsiteX32" fmla="*/ 2533 w 746083"/>
                  <a:gd name="connsiteY32" fmla="*/ 513688 h 1860882"/>
                  <a:gd name="connsiteX33" fmla="*/ 167038 w 746083"/>
                  <a:gd name="connsiteY33" fmla="*/ 361990 h 1860882"/>
                  <a:gd name="connsiteX34" fmla="*/ 366931 w 746083"/>
                  <a:gd name="connsiteY34" fmla="*/ 0 h 1860882"/>
                  <a:gd name="connsiteX35" fmla="*/ 526414 w 746083"/>
                  <a:gd name="connsiteY35" fmla="*/ 159483 h 1860882"/>
                  <a:gd name="connsiteX36" fmla="*/ 366931 w 746083"/>
                  <a:gd name="connsiteY36" fmla="*/ 318966 h 1860882"/>
                  <a:gd name="connsiteX37" fmla="*/ 207448 w 746083"/>
                  <a:gd name="connsiteY37" fmla="*/ 159483 h 1860882"/>
                  <a:gd name="connsiteX38" fmla="*/ 366931 w 746083"/>
                  <a:gd name="connsiteY38"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41143 w 745871"/>
                  <a:gd name="connsiteY7" fmla="*/ 719987 h 1860882"/>
                  <a:gd name="connsiteX8" fmla="*/ 607021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45871" h="1860882">
                    <a:moveTo>
                      <a:pt x="167038" y="361990"/>
                    </a:moveTo>
                    <a:lnTo>
                      <a:pt x="576950" y="361990"/>
                    </a:lnTo>
                    <a:cubicBezTo>
                      <a:pt x="667803" y="361990"/>
                      <a:pt x="741454" y="429907"/>
                      <a:pt x="741454" y="513688"/>
                    </a:cubicBezTo>
                    <a:lnTo>
                      <a:pt x="741454" y="578527"/>
                    </a:lnTo>
                    <a:lnTo>
                      <a:pt x="741454" y="822418"/>
                    </a:lnTo>
                    <a:lnTo>
                      <a:pt x="745871" y="919037"/>
                    </a:lnTo>
                    <a:cubicBezTo>
                      <a:pt x="728771" y="933102"/>
                      <a:pt x="656310" y="939982"/>
                      <a:pt x="638855" y="906807"/>
                    </a:cubicBezTo>
                    <a:cubicBezTo>
                      <a:pt x="638965" y="863736"/>
                      <a:pt x="646449" y="756368"/>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cubicBezTo>
                      <a:pt x="415282" y="1586568"/>
                      <a:pt x="414466" y="1384832"/>
                      <a:pt x="413651" y="1183095"/>
                    </a:cubicBezTo>
                    <a:cubicBezTo>
                      <a:pt x="413651" y="1171546"/>
                      <a:pt x="403499" y="1162184"/>
                      <a:pt x="390975" y="1162184"/>
                    </a:cubicBezTo>
                    <a:lnTo>
                      <a:pt x="353012" y="1162184"/>
                    </a:lnTo>
                    <a:cubicBezTo>
                      <a:pt x="340488" y="1162184"/>
                      <a:pt x="330336" y="1171546"/>
                      <a:pt x="330336" y="1183095"/>
                    </a:cubicBezTo>
                    <a:lnTo>
                      <a:pt x="330336" y="1204005"/>
                    </a:lnTo>
                    <a:cubicBezTo>
                      <a:pt x="331493" y="1398772"/>
                      <a:pt x="332649" y="1593538"/>
                      <a:pt x="333806" y="1788305"/>
                    </a:cubicBezTo>
                    <a:cubicBezTo>
                      <a:pt x="333806" y="1828388"/>
                      <a:pt x="298569" y="1860882"/>
                      <a:pt x="255103" y="1860882"/>
                    </a:cubicBezTo>
                    <a:lnTo>
                      <a:pt x="255103" y="1860881"/>
                    </a:lnTo>
                    <a:cubicBezTo>
                      <a:pt x="211636" y="1860881"/>
                      <a:pt x="176400" y="1828388"/>
                      <a:pt x="176400" y="1788305"/>
                    </a:cubicBezTo>
                    <a:cubicBezTo>
                      <a:pt x="176311" y="1433697"/>
                      <a:pt x="176223" y="1079090"/>
                      <a:pt x="176134" y="724482"/>
                    </a:cubicBez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cubicBezTo>
                      <a:pt x="844" y="966083"/>
                      <a:pt x="1689" y="894250"/>
                      <a:pt x="2533" y="822418"/>
                    </a:cubicBez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571" tIns="44786" rIns="44786" bIns="89571"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115" rtl="0" eaLnBrk="1" fontAlgn="base" latinLnBrk="0" hangingPunct="1">
                  <a:lnSpc>
                    <a:spcPct val="100000"/>
                  </a:lnSpc>
                  <a:spcBef>
                    <a:spcPct val="0"/>
                  </a:spcBef>
                  <a:spcAft>
                    <a:spcPct val="0"/>
                  </a:spcAft>
                  <a:buClrTx/>
                  <a:buSzTx/>
                  <a:buFontTx/>
                  <a:buNone/>
                  <a:tabLst/>
                  <a:defRPr/>
                </a:pPr>
                <a:endParaRPr kumimoji="0" lang="en-US" sz="1763"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134" name="Rectangle 133"/>
              <p:cNvSpPr/>
              <p:nvPr/>
            </p:nvSpPr>
            <p:spPr bwMode="auto">
              <a:xfrm>
                <a:off x="-826435" y="4011406"/>
                <a:ext cx="160667" cy="70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35" name="Rectangle 25"/>
              <p:cNvSpPr/>
              <p:nvPr/>
            </p:nvSpPr>
            <p:spPr bwMode="auto">
              <a:xfrm rot="685676">
                <a:off x="-756296" y="3869132"/>
                <a:ext cx="335544" cy="232448"/>
              </a:xfrm>
              <a:custGeom>
                <a:avLst/>
                <a:gdLst>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531611 w 2953954"/>
                  <a:gd name="connsiteY25" fmla="*/ 2046352 h 2046352"/>
                  <a:gd name="connsiteX26" fmla="*/ 1621444 w 2953954"/>
                  <a:gd name="connsiteY26" fmla="*/ 1281519 h 2046352"/>
                  <a:gd name="connsiteX27" fmla="*/ 1621444 w 2953954"/>
                  <a:gd name="connsiteY27" fmla="*/ 2046352 h 2046352"/>
                  <a:gd name="connsiteX28" fmla="*/ 1531611 w 2953954"/>
                  <a:gd name="connsiteY28" fmla="*/ 2046352 h 2046352"/>
                  <a:gd name="connsiteX29" fmla="*/ 0 w 2953954"/>
                  <a:gd name="connsiteY29" fmla="*/ 0 h 2046352"/>
                  <a:gd name="connsiteX30" fmla="*/ 2947156 w 2953954"/>
                  <a:gd name="connsiteY30" fmla="*/ 0 h 2046352"/>
                  <a:gd name="connsiteX31" fmla="*/ 2953954 w 2953954"/>
                  <a:gd name="connsiteY31" fmla="*/ 363720 h 2046352"/>
                  <a:gd name="connsiteX32" fmla="*/ 2648021 w 2953954"/>
                  <a:gd name="connsiteY32" fmla="*/ 1009579 h 2046352"/>
                  <a:gd name="connsiteX33" fmla="*/ 1407293 w 2953954"/>
                  <a:gd name="connsiteY33" fmla="*/ 1009579 h 2046352"/>
                  <a:gd name="connsiteX34" fmla="*/ 1233930 w 2953954"/>
                  <a:gd name="connsiteY34" fmla="*/ 1346105 h 2046352"/>
                  <a:gd name="connsiteX35" fmla="*/ 1094561 w 2953954"/>
                  <a:gd name="connsiteY35" fmla="*/ 1305314 h 2046352"/>
                  <a:gd name="connsiteX36" fmla="*/ 815822 w 2953954"/>
                  <a:gd name="connsiteY36" fmla="*/ 2029356 h 2046352"/>
                  <a:gd name="connsiteX37" fmla="*/ 370519 w 2953954"/>
                  <a:gd name="connsiteY37" fmla="*/ 2046352 h 2046352"/>
                  <a:gd name="connsiteX38" fmla="*/ 608467 w 2953954"/>
                  <a:gd name="connsiteY38" fmla="*/ 1026575 h 2046352"/>
                  <a:gd name="connsiteX39" fmla="*/ 0 w 2953954"/>
                  <a:gd name="connsiteY39" fmla="*/ 1026575 h 2046352"/>
                  <a:gd name="connsiteX40" fmla="*/ 0 w 2953954"/>
                  <a:gd name="connsiteY4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621444 w 2953954"/>
                  <a:gd name="connsiteY25" fmla="*/ 2046352 h 2046352"/>
                  <a:gd name="connsiteX26" fmla="*/ 1621444 w 2953954"/>
                  <a:gd name="connsiteY26" fmla="*/ 1281519 h 2046352"/>
                  <a:gd name="connsiteX27" fmla="*/ 1621444 w 2953954"/>
                  <a:gd name="connsiteY27" fmla="*/ 2046352 h 2046352"/>
                  <a:gd name="connsiteX28" fmla="*/ 0 w 2953954"/>
                  <a:gd name="connsiteY28" fmla="*/ 0 h 2046352"/>
                  <a:gd name="connsiteX29" fmla="*/ 2947156 w 2953954"/>
                  <a:gd name="connsiteY29" fmla="*/ 0 h 2046352"/>
                  <a:gd name="connsiteX30" fmla="*/ 2953954 w 2953954"/>
                  <a:gd name="connsiteY30" fmla="*/ 363720 h 2046352"/>
                  <a:gd name="connsiteX31" fmla="*/ 2648021 w 2953954"/>
                  <a:gd name="connsiteY31" fmla="*/ 1009579 h 2046352"/>
                  <a:gd name="connsiteX32" fmla="*/ 1407293 w 2953954"/>
                  <a:gd name="connsiteY32" fmla="*/ 1009579 h 2046352"/>
                  <a:gd name="connsiteX33" fmla="*/ 1233930 w 2953954"/>
                  <a:gd name="connsiteY33" fmla="*/ 1346105 h 2046352"/>
                  <a:gd name="connsiteX34" fmla="*/ 1094561 w 2953954"/>
                  <a:gd name="connsiteY34" fmla="*/ 1305314 h 2046352"/>
                  <a:gd name="connsiteX35" fmla="*/ 815822 w 2953954"/>
                  <a:gd name="connsiteY35" fmla="*/ 2029356 h 2046352"/>
                  <a:gd name="connsiteX36" fmla="*/ 370519 w 2953954"/>
                  <a:gd name="connsiteY36" fmla="*/ 2046352 h 2046352"/>
                  <a:gd name="connsiteX37" fmla="*/ 608467 w 2953954"/>
                  <a:gd name="connsiteY37" fmla="*/ 1026575 h 2046352"/>
                  <a:gd name="connsiteX38" fmla="*/ 0 w 2953954"/>
                  <a:gd name="connsiteY38" fmla="*/ 1026575 h 2046352"/>
                  <a:gd name="connsiteX39" fmla="*/ 0 w 2953954"/>
                  <a:gd name="connsiteY3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0 w 2953954"/>
                  <a:gd name="connsiteY25" fmla="*/ 0 h 2046352"/>
                  <a:gd name="connsiteX26" fmla="*/ 2947156 w 2953954"/>
                  <a:gd name="connsiteY26" fmla="*/ 0 h 2046352"/>
                  <a:gd name="connsiteX27" fmla="*/ 2953954 w 2953954"/>
                  <a:gd name="connsiteY27" fmla="*/ 363720 h 2046352"/>
                  <a:gd name="connsiteX28" fmla="*/ 2648021 w 2953954"/>
                  <a:gd name="connsiteY28" fmla="*/ 1009579 h 2046352"/>
                  <a:gd name="connsiteX29" fmla="*/ 1407293 w 2953954"/>
                  <a:gd name="connsiteY29" fmla="*/ 1009579 h 2046352"/>
                  <a:gd name="connsiteX30" fmla="*/ 1233930 w 2953954"/>
                  <a:gd name="connsiteY30" fmla="*/ 1346105 h 2046352"/>
                  <a:gd name="connsiteX31" fmla="*/ 1094561 w 2953954"/>
                  <a:gd name="connsiteY31" fmla="*/ 1305314 h 2046352"/>
                  <a:gd name="connsiteX32" fmla="*/ 815822 w 2953954"/>
                  <a:gd name="connsiteY32" fmla="*/ 2029356 h 2046352"/>
                  <a:gd name="connsiteX33" fmla="*/ 370519 w 2953954"/>
                  <a:gd name="connsiteY33" fmla="*/ 2046352 h 2046352"/>
                  <a:gd name="connsiteX34" fmla="*/ 608467 w 2953954"/>
                  <a:gd name="connsiteY34" fmla="*/ 1026575 h 2046352"/>
                  <a:gd name="connsiteX35" fmla="*/ 0 w 2953954"/>
                  <a:gd name="connsiteY35" fmla="*/ 1026575 h 2046352"/>
                  <a:gd name="connsiteX36" fmla="*/ 0 w 2953954"/>
                  <a:gd name="connsiteY36"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648639 w 2953954"/>
                  <a:gd name="connsiteY22" fmla="*/ 2046352 h 2046352"/>
                  <a:gd name="connsiteX23" fmla="*/ 1648639 w 2953954"/>
                  <a:gd name="connsiteY23" fmla="*/ 1281519 h 2046352"/>
                  <a:gd name="connsiteX24" fmla="*/ 0 w 2953954"/>
                  <a:gd name="connsiteY24" fmla="*/ 0 h 2046352"/>
                  <a:gd name="connsiteX25" fmla="*/ 2947156 w 2953954"/>
                  <a:gd name="connsiteY25" fmla="*/ 0 h 2046352"/>
                  <a:gd name="connsiteX26" fmla="*/ 2953954 w 2953954"/>
                  <a:gd name="connsiteY26" fmla="*/ 363720 h 2046352"/>
                  <a:gd name="connsiteX27" fmla="*/ 2648021 w 2953954"/>
                  <a:gd name="connsiteY27" fmla="*/ 1009579 h 2046352"/>
                  <a:gd name="connsiteX28" fmla="*/ 1407293 w 2953954"/>
                  <a:gd name="connsiteY28" fmla="*/ 1009579 h 2046352"/>
                  <a:gd name="connsiteX29" fmla="*/ 1233930 w 2953954"/>
                  <a:gd name="connsiteY29" fmla="*/ 1346105 h 2046352"/>
                  <a:gd name="connsiteX30" fmla="*/ 1094561 w 2953954"/>
                  <a:gd name="connsiteY30" fmla="*/ 1305314 h 2046352"/>
                  <a:gd name="connsiteX31" fmla="*/ 815822 w 2953954"/>
                  <a:gd name="connsiteY31" fmla="*/ 2029356 h 2046352"/>
                  <a:gd name="connsiteX32" fmla="*/ 370519 w 2953954"/>
                  <a:gd name="connsiteY32" fmla="*/ 2046352 h 2046352"/>
                  <a:gd name="connsiteX33" fmla="*/ 608467 w 2953954"/>
                  <a:gd name="connsiteY33" fmla="*/ 1026575 h 2046352"/>
                  <a:gd name="connsiteX34" fmla="*/ 0 w 2953954"/>
                  <a:gd name="connsiteY34" fmla="*/ 1026575 h 2046352"/>
                  <a:gd name="connsiteX35" fmla="*/ 0 w 2953954"/>
                  <a:gd name="connsiteY3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1281519 h 2046352"/>
                  <a:gd name="connsiteX19" fmla="*/ 1648639 w 2953954"/>
                  <a:gd name="connsiteY19" fmla="*/ 1281519 h 2046352"/>
                  <a:gd name="connsiteX20" fmla="*/ 1869590 w 2953954"/>
                  <a:gd name="connsiteY20" fmla="*/ 1281519 h 2046352"/>
                  <a:gd name="connsiteX21" fmla="*/ 1648639 w 2953954"/>
                  <a:gd name="connsiteY21" fmla="*/ 2046352 h 2046352"/>
                  <a:gd name="connsiteX22" fmla="*/ 1648639 w 2953954"/>
                  <a:gd name="connsiteY22" fmla="*/ 1281519 h 2046352"/>
                  <a:gd name="connsiteX23" fmla="*/ 0 w 2953954"/>
                  <a:gd name="connsiteY23" fmla="*/ 0 h 2046352"/>
                  <a:gd name="connsiteX24" fmla="*/ 2947156 w 2953954"/>
                  <a:gd name="connsiteY24" fmla="*/ 0 h 2046352"/>
                  <a:gd name="connsiteX25" fmla="*/ 2953954 w 2953954"/>
                  <a:gd name="connsiteY25" fmla="*/ 363720 h 2046352"/>
                  <a:gd name="connsiteX26" fmla="*/ 2648021 w 2953954"/>
                  <a:gd name="connsiteY26" fmla="*/ 1009579 h 2046352"/>
                  <a:gd name="connsiteX27" fmla="*/ 1407293 w 2953954"/>
                  <a:gd name="connsiteY27" fmla="*/ 1009579 h 2046352"/>
                  <a:gd name="connsiteX28" fmla="*/ 1233930 w 2953954"/>
                  <a:gd name="connsiteY28" fmla="*/ 1346105 h 2046352"/>
                  <a:gd name="connsiteX29" fmla="*/ 1094561 w 2953954"/>
                  <a:gd name="connsiteY29" fmla="*/ 1305314 h 2046352"/>
                  <a:gd name="connsiteX30" fmla="*/ 815822 w 2953954"/>
                  <a:gd name="connsiteY30" fmla="*/ 2029356 h 2046352"/>
                  <a:gd name="connsiteX31" fmla="*/ 370519 w 2953954"/>
                  <a:gd name="connsiteY31" fmla="*/ 2046352 h 2046352"/>
                  <a:gd name="connsiteX32" fmla="*/ 608467 w 2953954"/>
                  <a:gd name="connsiteY32" fmla="*/ 1026575 h 2046352"/>
                  <a:gd name="connsiteX33" fmla="*/ 0 w 2953954"/>
                  <a:gd name="connsiteY33" fmla="*/ 1026575 h 2046352"/>
                  <a:gd name="connsiteX34" fmla="*/ 0 w 2953954"/>
                  <a:gd name="connsiteY3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1923980 w 2953954"/>
                  <a:gd name="connsiteY17" fmla="*/ 1281519 h 2046352"/>
                  <a:gd name="connsiteX18" fmla="*/ 1648639 w 2953954"/>
                  <a:gd name="connsiteY18" fmla="*/ 1281519 h 2046352"/>
                  <a:gd name="connsiteX19" fmla="*/ 1869590 w 2953954"/>
                  <a:gd name="connsiteY19" fmla="*/ 1281519 h 2046352"/>
                  <a:gd name="connsiteX20" fmla="*/ 1648639 w 2953954"/>
                  <a:gd name="connsiteY20" fmla="*/ 2046352 h 2046352"/>
                  <a:gd name="connsiteX21" fmla="*/ 1648639 w 2953954"/>
                  <a:gd name="connsiteY21" fmla="*/ 1281519 h 2046352"/>
                  <a:gd name="connsiteX22" fmla="*/ 0 w 2953954"/>
                  <a:gd name="connsiteY22" fmla="*/ 0 h 2046352"/>
                  <a:gd name="connsiteX23" fmla="*/ 2947156 w 2953954"/>
                  <a:gd name="connsiteY23" fmla="*/ 0 h 2046352"/>
                  <a:gd name="connsiteX24" fmla="*/ 2953954 w 2953954"/>
                  <a:gd name="connsiteY24" fmla="*/ 363720 h 2046352"/>
                  <a:gd name="connsiteX25" fmla="*/ 2648021 w 2953954"/>
                  <a:gd name="connsiteY25" fmla="*/ 1009579 h 2046352"/>
                  <a:gd name="connsiteX26" fmla="*/ 1407293 w 2953954"/>
                  <a:gd name="connsiteY26" fmla="*/ 1009579 h 2046352"/>
                  <a:gd name="connsiteX27" fmla="*/ 1233930 w 2953954"/>
                  <a:gd name="connsiteY27" fmla="*/ 1346105 h 2046352"/>
                  <a:gd name="connsiteX28" fmla="*/ 1094561 w 2953954"/>
                  <a:gd name="connsiteY28" fmla="*/ 1305314 h 2046352"/>
                  <a:gd name="connsiteX29" fmla="*/ 815822 w 2953954"/>
                  <a:gd name="connsiteY29" fmla="*/ 2029356 h 2046352"/>
                  <a:gd name="connsiteX30" fmla="*/ 370519 w 2953954"/>
                  <a:gd name="connsiteY30" fmla="*/ 2046352 h 2046352"/>
                  <a:gd name="connsiteX31" fmla="*/ 608467 w 2953954"/>
                  <a:gd name="connsiteY31" fmla="*/ 1026575 h 2046352"/>
                  <a:gd name="connsiteX32" fmla="*/ 0 w 2953954"/>
                  <a:gd name="connsiteY32" fmla="*/ 1026575 h 2046352"/>
                  <a:gd name="connsiteX33" fmla="*/ 0 w 2953954"/>
                  <a:gd name="connsiteY33"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1281519 h 2046352"/>
                  <a:gd name="connsiteX14" fmla="*/ 1923980 w 2953954"/>
                  <a:gd name="connsiteY14" fmla="*/ 1281519 h 2046352"/>
                  <a:gd name="connsiteX15" fmla="*/ 2015760 w 2953954"/>
                  <a:gd name="connsiteY15" fmla="*/ 1281519 h 2046352"/>
                  <a:gd name="connsiteX16" fmla="*/ 1923980 w 2953954"/>
                  <a:gd name="connsiteY16" fmla="*/ 1281519 h 2046352"/>
                  <a:gd name="connsiteX17" fmla="*/ 1648639 w 2953954"/>
                  <a:gd name="connsiteY17" fmla="*/ 1281519 h 2046352"/>
                  <a:gd name="connsiteX18" fmla="*/ 1869590 w 2953954"/>
                  <a:gd name="connsiteY18" fmla="*/ 1281519 h 2046352"/>
                  <a:gd name="connsiteX19" fmla="*/ 1648639 w 2953954"/>
                  <a:gd name="connsiteY19" fmla="*/ 2046352 h 2046352"/>
                  <a:gd name="connsiteX20" fmla="*/ 1648639 w 2953954"/>
                  <a:gd name="connsiteY20" fmla="*/ 1281519 h 2046352"/>
                  <a:gd name="connsiteX21" fmla="*/ 0 w 2953954"/>
                  <a:gd name="connsiteY21" fmla="*/ 0 h 2046352"/>
                  <a:gd name="connsiteX22" fmla="*/ 2947156 w 2953954"/>
                  <a:gd name="connsiteY22" fmla="*/ 0 h 2046352"/>
                  <a:gd name="connsiteX23" fmla="*/ 2953954 w 2953954"/>
                  <a:gd name="connsiteY23" fmla="*/ 363720 h 2046352"/>
                  <a:gd name="connsiteX24" fmla="*/ 2648021 w 2953954"/>
                  <a:gd name="connsiteY24" fmla="*/ 1009579 h 2046352"/>
                  <a:gd name="connsiteX25" fmla="*/ 1407293 w 2953954"/>
                  <a:gd name="connsiteY25" fmla="*/ 1009579 h 2046352"/>
                  <a:gd name="connsiteX26" fmla="*/ 1233930 w 2953954"/>
                  <a:gd name="connsiteY26" fmla="*/ 1346105 h 2046352"/>
                  <a:gd name="connsiteX27" fmla="*/ 1094561 w 2953954"/>
                  <a:gd name="connsiteY27" fmla="*/ 1305314 h 2046352"/>
                  <a:gd name="connsiteX28" fmla="*/ 815822 w 2953954"/>
                  <a:gd name="connsiteY28" fmla="*/ 2029356 h 2046352"/>
                  <a:gd name="connsiteX29" fmla="*/ 370519 w 2953954"/>
                  <a:gd name="connsiteY29" fmla="*/ 2046352 h 2046352"/>
                  <a:gd name="connsiteX30" fmla="*/ 608467 w 2953954"/>
                  <a:gd name="connsiteY30" fmla="*/ 1026575 h 2046352"/>
                  <a:gd name="connsiteX31" fmla="*/ 0 w 2953954"/>
                  <a:gd name="connsiteY31" fmla="*/ 1026575 h 2046352"/>
                  <a:gd name="connsiteX32" fmla="*/ 0 w 2953954"/>
                  <a:gd name="connsiteY32"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314894 w 2953954"/>
                  <a:gd name="connsiteY10" fmla="*/ 2046352 h 2046352"/>
                  <a:gd name="connsiteX11" fmla="*/ 2314894 w 2953954"/>
                  <a:gd name="connsiteY11" fmla="*/ 1281519 h 2046352"/>
                  <a:gd name="connsiteX12" fmla="*/ 2314894 w 2953954"/>
                  <a:gd name="connsiteY12" fmla="*/ 2046352 h 2046352"/>
                  <a:gd name="connsiteX13" fmla="*/ 1923980 w 2953954"/>
                  <a:gd name="connsiteY13" fmla="*/ 1281519 h 2046352"/>
                  <a:gd name="connsiteX14" fmla="*/ 2015760 w 2953954"/>
                  <a:gd name="connsiteY14" fmla="*/ 1281519 h 2046352"/>
                  <a:gd name="connsiteX15" fmla="*/ 1923980 w 2953954"/>
                  <a:gd name="connsiteY15" fmla="*/ 1281519 h 2046352"/>
                  <a:gd name="connsiteX16" fmla="*/ 1648639 w 2953954"/>
                  <a:gd name="connsiteY16" fmla="*/ 1281519 h 2046352"/>
                  <a:gd name="connsiteX17" fmla="*/ 1869590 w 2953954"/>
                  <a:gd name="connsiteY17" fmla="*/ 1281519 h 2046352"/>
                  <a:gd name="connsiteX18" fmla="*/ 1648639 w 2953954"/>
                  <a:gd name="connsiteY18" fmla="*/ 2046352 h 2046352"/>
                  <a:gd name="connsiteX19" fmla="*/ 1648639 w 2953954"/>
                  <a:gd name="connsiteY19" fmla="*/ 1281519 h 2046352"/>
                  <a:gd name="connsiteX20" fmla="*/ 0 w 2953954"/>
                  <a:gd name="connsiteY20" fmla="*/ 0 h 2046352"/>
                  <a:gd name="connsiteX21" fmla="*/ 2947156 w 2953954"/>
                  <a:gd name="connsiteY21" fmla="*/ 0 h 2046352"/>
                  <a:gd name="connsiteX22" fmla="*/ 2953954 w 2953954"/>
                  <a:gd name="connsiteY22" fmla="*/ 363720 h 2046352"/>
                  <a:gd name="connsiteX23" fmla="*/ 2648021 w 2953954"/>
                  <a:gd name="connsiteY23" fmla="*/ 1009579 h 2046352"/>
                  <a:gd name="connsiteX24" fmla="*/ 1407293 w 2953954"/>
                  <a:gd name="connsiteY24" fmla="*/ 1009579 h 2046352"/>
                  <a:gd name="connsiteX25" fmla="*/ 1233930 w 2953954"/>
                  <a:gd name="connsiteY25" fmla="*/ 1346105 h 2046352"/>
                  <a:gd name="connsiteX26" fmla="*/ 1094561 w 2953954"/>
                  <a:gd name="connsiteY26" fmla="*/ 1305314 h 2046352"/>
                  <a:gd name="connsiteX27" fmla="*/ 815822 w 2953954"/>
                  <a:gd name="connsiteY27" fmla="*/ 2029356 h 2046352"/>
                  <a:gd name="connsiteX28" fmla="*/ 370519 w 2953954"/>
                  <a:gd name="connsiteY28" fmla="*/ 2046352 h 2046352"/>
                  <a:gd name="connsiteX29" fmla="*/ 608467 w 2953954"/>
                  <a:gd name="connsiteY29" fmla="*/ 1026575 h 2046352"/>
                  <a:gd name="connsiteX30" fmla="*/ 0 w 2953954"/>
                  <a:gd name="connsiteY30" fmla="*/ 1026575 h 2046352"/>
                  <a:gd name="connsiteX31" fmla="*/ 0 w 2953954"/>
                  <a:gd name="connsiteY3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923980 w 2953954"/>
                  <a:gd name="connsiteY10" fmla="*/ 1281519 h 2046352"/>
                  <a:gd name="connsiteX11" fmla="*/ 2015760 w 2953954"/>
                  <a:gd name="connsiteY11" fmla="*/ 1281519 h 2046352"/>
                  <a:gd name="connsiteX12" fmla="*/ 1923980 w 2953954"/>
                  <a:gd name="connsiteY12" fmla="*/ 1281519 h 2046352"/>
                  <a:gd name="connsiteX13" fmla="*/ 1648639 w 2953954"/>
                  <a:gd name="connsiteY13" fmla="*/ 1281519 h 2046352"/>
                  <a:gd name="connsiteX14" fmla="*/ 1869590 w 2953954"/>
                  <a:gd name="connsiteY14" fmla="*/ 1281519 h 2046352"/>
                  <a:gd name="connsiteX15" fmla="*/ 1648639 w 2953954"/>
                  <a:gd name="connsiteY15" fmla="*/ 2046352 h 2046352"/>
                  <a:gd name="connsiteX16" fmla="*/ 1648639 w 2953954"/>
                  <a:gd name="connsiteY16" fmla="*/ 1281519 h 2046352"/>
                  <a:gd name="connsiteX17" fmla="*/ 0 w 2953954"/>
                  <a:gd name="connsiteY17" fmla="*/ 0 h 2046352"/>
                  <a:gd name="connsiteX18" fmla="*/ 2947156 w 2953954"/>
                  <a:gd name="connsiteY18" fmla="*/ 0 h 2046352"/>
                  <a:gd name="connsiteX19" fmla="*/ 2953954 w 2953954"/>
                  <a:gd name="connsiteY19" fmla="*/ 363720 h 2046352"/>
                  <a:gd name="connsiteX20" fmla="*/ 2648021 w 2953954"/>
                  <a:gd name="connsiteY20" fmla="*/ 1009579 h 2046352"/>
                  <a:gd name="connsiteX21" fmla="*/ 1407293 w 2953954"/>
                  <a:gd name="connsiteY21" fmla="*/ 1009579 h 2046352"/>
                  <a:gd name="connsiteX22" fmla="*/ 1233930 w 2953954"/>
                  <a:gd name="connsiteY22" fmla="*/ 1346105 h 2046352"/>
                  <a:gd name="connsiteX23" fmla="*/ 1094561 w 2953954"/>
                  <a:gd name="connsiteY23" fmla="*/ 1305314 h 2046352"/>
                  <a:gd name="connsiteX24" fmla="*/ 815822 w 2953954"/>
                  <a:gd name="connsiteY24" fmla="*/ 2029356 h 2046352"/>
                  <a:gd name="connsiteX25" fmla="*/ 370519 w 2953954"/>
                  <a:gd name="connsiteY25" fmla="*/ 2046352 h 2046352"/>
                  <a:gd name="connsiteX26" fmla="*/ 608467 w 2953954"/>
                  <a:gd name="connsiteY26" fmla="*/ 1026575 h 2046352"/>
                  <a:gd name="connsiteX27" fmla="*/ 0 w 2953954"/>
                  <a:gd name="connsiteY27" fmla="*/ 1026575 h 2046352"/>
                  <a:gd name="connsiteX28" fmla="*/ 0 w 2953954"/>
                  <a:gd name="connsiteY28"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869590 w 2953954"/>
                  <a:gd name="connsiteY11" fmla="*/ 1281519 h 2046352"/>
                  <a:gd name="connsiteX12" fmla="*/ 1648639 w 2953954"/>
                  <a:gd name="connsiteY12" fmla="*/ 2046352 h 2046352"/>
                  <a:gd name="connsiteX13" fmla="*/ 1648639 w 2953954"/>
                  <a:gd name="connsiteY13" fmla="*/ 1281519 h 2046352"/>
                  <a:gd name="connsiteX14" fmla="*/ 0 w 2953954"/>
                  <a:gd name="connsiteY14" fmla="*/ 0 h 2046352"/>
                  <a:gd name="connsiteX15" fmla="*/ 2947156 w 2953954"/>
                  <a:gd name="connsiteY15" fmla="*/ 0 h 2046352"/>
                  <a:gd name="connsiteX16" fmla="*/ 2953954 w 2953954"/>
                  <a:gd name="connsiteY16" fmla="*/ 363720 h 2046352"/>
                  <a:gd name="connsiteX17" fmla="*/ 2648021 w 2953954"/>
                  <a:gd name="connsiteY17" fmla="*/ 1009579 h 2046352"/>
                  <a:gd name="connsiteX18" fmla="*/ 1407293 w 2953954"/>
                  <a:gd name="connsiteY18" fmla="*/ 1009579 h 2046352"/>
                  <a:gd name="connsiteX19" fmla="*/ 1233930 w 2953954"/>
                  <a:gd name="connsiteY19" fmla="*/ 1346105 h 2046352"/>
                  <a:gd name="connsiteX20" fmla="*/ 1094561 w 2953954"/>
                  <a:gd name="connsiteY20" fmla="*/ 1305314 h 2046352"/>
                  <a:gd name="connsiteX21" fmla="*/ 815822 w 2953954"/>
                  <a:gd name="connsiteY21" fmla="*/ 2029356 h 2046352"/>
                  <a:gd name="connsiteX22" fmla="*/ 370519 w 2953954"/>
                  <a:gd name="connsiteY22" fmla="*/ 2046352 h 2046352"/>
                  <a:gd name="connsiteX23" fmla="*/ 608467 w 2953954"/>
                  <a:gd name="connsiteY23" fmla="*/ 1026575 h 2046352"/>
                  <a:gd name="connsiteX24" fmla="*/ 0 w 2953954"/>
                  <a:gd name="connsiteY24" fmla="*/ 1026575 h 2046352"/>
                  <a:gd name="connsiteX25" fmla="*/ 0 w 2953954"/>
                  <a:gd name="connsiteY2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648639 w 2953954"/>
                  <a:gd name="connsiteY11" fmla="*/ 2046352 h 2046352"/>
                  <a:gd name="connsiteX12" fmla="*/ 1648639 w 2953954"/>
                  <a:gd name="connsiteY12" fmla="*/ 1281519 h 2046352"/>
                  <a:gd name="connsiteX13" fmla="*/ 0 w 2953954"/>
                  <a:gd name="connsiteY13" fmla="*/ 0 h 2046352"/>
                  <a:gd name="connsiteX14" fmla="*/ 2947156 w 2953954"/>
                  <a:gd name="connsiteY14" fmla="*/ 0 h 2046352"/>
                  <a:gd name="connsiteX15" fmla="*/ 2953954 w 2953954"/>
                  <a:gd name="connsiteY15" fmla="*/ 363720 h 2046352"/>
                  <a:gd name="connsiteX16" fmla="*/ 2648021 w 2953954"/>
                  <a:gd name="connsiteY16" fmla="*/ 1009579 h 2046352"/>
                  <a:gd name="connsiteX17" fmla="*/ 1407293 w 2953954"/>
                  <a:gd name="connsiteY17" fmla="*/ 1009579 h 2046352"/>
                  <a:gd name="connsiteX18" fmla="*/ 1233930 w 2953954"/>
                  <a:gd name="connsiteY18" fmla="*/ 1346105 h 2046352"/>
                  <a:gd name="connsiteX19" fmla="*/ 1094561 w 2953954"/>
                  <a:gd name="connsiteY19" fmla="*/ 1305314 h 2046352"/>
                  <a:gd name="connsiteX20" fmla="*/ 815822 w 2953954"/>
                  <a:gd name="connsiteY20" fmla="*/ 2029356 h 2046352"/>
                  <a:gd name="connsiteX21" fmla="*/ 370519 w 2953954"/>
                  <a:gd name="connsiteY21" fmla="*/ 2046352 h 2046352"/>
                  <a:gd name="connsiteX22" fmla="*/ 608467 w 2953954"/>
                  <a:gd name="connsiteY22" fmla="*/ 1026575 h 2046352"/>
                  <a:gd name="connsiteX23" fmla="*/ 0 w 2953954"/>
                  <a:gd name="connsiteY23" fmla="*/ 1026575 h 2046352"/>
                  <a:gd name="connsiteX24" fmla="*/ 0 w 2953954"/>
                  <a:gd name="connsiteY2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0 w 2953954"/>
                  <a:gd name="connsiteY10" fmla="*/ 0 h 2046352"/>
                  <a:gd name="connsiteX11" fmla="*/ 2947156 w 2953954"/>
                  <a:gd name="connsiteY11" fmla="*/ 0 h 2046352"/>
                  <a:gd name="connsiteX12" fmla="*/ 2953954 w 2953954"/>
                  <a:gd name="connsiteY12" fmla="*/ 363720 h 2046352"/>
                  <a:gd name="connsiteX13" fmla="*/ 2648021 w 2953954"/>
                  <a:gd name="connsiteY13" fmla="*/ 1009579 h 2046352"/>
                  <a:gd name="connsiteX14" fmla="*/ 1407293 w 2953954"/>
                  <a:gd name="connsiteY14" fmla="*/ 1009579 h 2046352"/>
                  <a:gd name="connsiteX15" fmla="*/ 1233930 w 2953954"/>
                  <a:gd name="connsiteY15" fmla="*/ 1346105 h 2046352"/>
                  <a:gd name="connsiteX16" fmla="*/ 1094561 w 2953954"/>
                  <a:gd name="connsiteY16" fmla="*/ 1305314 h 2046352"/>
                  <a:gd name="connsiteX17" fmla="*/ 815822 w 2953954"/>
                  <a:gd name="connsiteY17" fmla="*/ 2029356 h 2046352"/>
                  <a:gd name="connsiteX18" fmla="*/ 370519 w 2953954"/>
                  <a:gd name="connsiteY18" fmla="*/ 2046352 h 2046352"/>
                  <a:gd name="connsiteX19" fmla="*/ 608467 w 2953954"/>
                  <a:gd name="connsiteY19" fmla="*/ 1026575 h 2046352"/>
                  <a:gd name="connsiteX20" fmla="*/ 0 w 2953954"/>
                  <a:gd name="connsiteY20" fmla="*/ 1026575 h 2046352"/>
                  <a:gd name="connsiteX21" fmla="*/ 0 w 2953954"/>
                  <a:gd name="connsiteY2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1281519 h 2046352"/>
                  <a:gd name="connsiteX9" fmla="*/ 0 w 2953954"/>
                  <a:gd name="connsiteY9" fmla="*/ 0 h 2046352"/>
                  <a:gd name="connsiteX10" fmla="*/ 2947156 w 2953954"/>
                  <a:gd name="connsiteY10" fmla="*/ 0 h 2046352"/>
                  <a:gd name="connsiteX11" fmla="*/ 2953954 w 2953954"/>
                  <a:gd name="connsiteY11" fmla="*/ 363720 h 2046352"/>
                  <a:gd name="connsiteX12" fmla="*/ 2648021 w 2953954"/>
                  <a:gd name="connsiteY12" fmla="*/ 1009579 h 2046352"/>
                  <a:gd name="connsiteX13" fmla="*/ 1407293 w 2953954"/>
                  <a:gd name="connsiteY13" fmla="*/ 1009579 h 2046352"/>
                  <a:gd name="connsiteX14" fmla="*/ 1233930 w 2953954"/>
                  <a:gd name="connsiteY14" fmla="*/ 1346105 h 2046352"/>
                  <a:gd name="connsiteX15" fmla="*/ 1094561 w 2953954"/>
                  <a:gd name="connsiteY15" fmla="*/ 1305314 h 2046352"/>
                  <a:gd name="connsiteX16" fmla="*/ 815822 w 2953954"/>
                  <a:gd name="connsiteY16" fmla="*/ 2029356 h 2046352"/>
                  <a:gd name="connsiteX17" fmla="*/ 370519 w 2953954"/>
                  <a:gd name="connsiteY17" fmla="*/ 2046352 h 2046352"/>
                  <a:gd name="connsiteX18" fmla="*/ 608467 w 2953954"/>
                  <a:gd name="connsiteY18" fmla="*/ 1026575 h 2046352"/>
                  <a:gd name="connsiteX19" fmla="*/ 0 w 2953954"/>
                  <a:gd name="connsiteY19" fmla="*/ 1026575 h 2046352"/>
                  <a:gd name="connsiteX20" fmla="*/ 0 w 2953954"/>
                  <a:gd name="connsiteY2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620827 w 2953954"/>
                  <a:gd name="connsiteY7" fmla="*/ 1281519 h 2046352"/>
                  <a:gd name="connsiteX8" fmla="*/ 0 w 2953954"/>
                  <a:gd name="connsiteY8" fmla="*/ 0 h 2046352"/>
                  <a:gd name="connsiteX9" fmla="*/ 2947156 w 2953954"/>
                  <a:gd name="connsiteY9" fmla="*/ 0 h 2046352"/>
                  <a:gd name="connsiteX10" fmla="*/ 2953954 w 2953954"/>
                  <a:gd name="connsiteY10" fmla="*/ 363720 h 2046352"/>
                  <a:gd name="connsiteX11" fmla="*/ 2648021 w 2953954"/>
                  <a:gd name="connsiteY11" fmla="*/ 1009579 h 2046352"/>
                  <a:gd name="connsiteX12" fmla="*/ 1407293 w 2953954"/>
                  <a:gd name="connsiteY12" fmla="*/ 1009579 h 2046352"/>
                  <a:gd name="connsiteX13" fmla="*/ 1233930 w 2953954"/>
                  <a:gd name="connsiteY13" fmla="*/ 1346105 h 2046352"/>
                  <a:gd name="connsiteX14" fmla="*/ 1094561 w 2953954"/>
                  <a:gd name="connsiteY14" fmla="*/ 1305314 h 2046352"/>
                  <a:gd name="connsiteX15" fmla="*/ 815822 w 2953954"/>
                  <a:gd name="connsiteY15" fmla="*/ 2029356 h 2046352"/>
                  <a:gd name="connsiteX16" fmla="*/ 370519 w 2953954"/>
                  <a:gd name="connsiteY16" fmla="*/ 2046352 h 2046352"/>
                  <a:gd name="connsiteX17" fmla="*/ 608467 w 2953954"/>
                  <a:gd name="connsiteY17" fmla="*/ 1026575 h 2046352"/>
                  <a:gd name="connsiteX18" fmla="*/ 0 w 2953954"/>
                  <a:gd name="connsiteY18" fmla="*/ 1026575 h 2046352"/>
                  <a:gd name="connsiteX19" fmla="*/ 0 w 2953954"/>
                  <a:gd name="connsiteY1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1281519 h 2046352"/>
                  <a:gd name="connsiteX4" fmla="*/ 2620827 w 2953954"/>
                  <a:gd name="connsiteY4" fmla="*/ 1281519 h 2046352"/>
                  <a:gd name="connsiteX5" fmla="*/ 2712607 w 2953954"/>
                  <a:gd name="connsiteY5" fmla="*/ 1281519 h 2046352"/>
                  <a:gd name="connsiteX6" fmla="*/ 2620827 w 2953954"/>
                  <a:gd name="connsiteY6" fmla="*/ 1281519 h 2046352"/>
                  <a:gd name="connsiteX7" fmla="*/ 0 w 2953954"/>
                  <a:gd name="connsiteY7" fmla="*/ 0 h 2046352"/>
                  <a:gd name="connsiteX8" fmla="*/ 2947156 w 2953954"/>
                  <a:gd name="connsiteY8" fmla="*/ 0 h 2046352"/>
                  <a:gd name="connsiteX9" fmla="*/ 2953954 w 2953954"/>
                  <a:gd name="connsiteY9" fmla="*/ 363720 h 2046352"/>
                  <a:gd name="connsiteX10" fmla="*/ 2648021 w 2953954"/>
                  <a:gd name="connsiteY10" fmla="*/ 1009579 h 2046352"/>
                  <a:gd name="connsiteX11" fmla="*/ 1407293 w 2953954"/>
                  <a:gd name="connsiteY11" fmla="*/ 1009579 h 2046352"/>
                  <a:gd name="connsiteX12" fmla="*/ 1233930 w 2953954"/>
                  <a:gd name="connsiteY12" fmla="*/ 1346105 h 2046352"/>
                  <a:gd name="connsiteX13" fmla="*/ 1094561 w 2953954"/>
                  <a:gd name="connsiteY13" fmla="*/ 1305314 h 2046352"/>
                  <a:gd name="connsiteX14" fmla="*/ 815822 w 2953954"/>
                  <a:gd name="connsiteY14" fmla="*/ 2029356 h 2046352"/>
                  <a:gd name="connsiteX15" fmla="*/ 370519 w 2953954"/>
                  <a:gd name="connsiteY15" fmla="*/ 2046352 h 2046352"/>
                  <a:gd name="connsiteX16" fmla="*/ 608467 w 2953954"/>
                  <a:gd name="connsiteY16" fmla="*/ 1026575 h 2046352"/>
                  <a:gd name="connsiteX17" fmla="*/ 0 w 2953954"/>
                  <a:gd name="connsiteY17" fmla="*/ 1026575 h 2046352"/>
                  <a:gd name="connsiteX18" fmla="*/ 0 w 2953954"/>
                  <a:gd name="connsiteY18" fmla="*/ 0 h 2046352"/>
                  <a:gd name="connsiteX0" fmla="*/ 2765016 w 2953954"/>
                  <a:gd name="connsiteY0" fmla="*/ 1281519 h 2046352"/>
                  <a:gd name="connsiteX1" fmla="*/ 2953954 w 2953954"/>
                  <a:gd name="connsiteY1" fmla="*/ 1281519 h 2046352"/>
                  <a:gd name="connsiteX2" fmla="*/ 2765016 w 2953954"/>
                  <a:gd name="connsiteY2" fmla="*/ 1281519 h 2046352"/>
                  <a:gd name="connsiteX3" fmla="*/ 2620827 w 2953954"/>
                  <a:gd name="connsiteY3" fmla="*/ 1281519 h 2046352"/>
                  <a:gd name="connsiteX4" fmla="*/ 2712607 w 2953954"/>
                  <a:gd name="connsiteY4" fmla="*/ 1281519 h 2046352"/>
                  <a:gd name="connsiteX5" fmla="*/ 2620827 w 2953954"/>
                  <a:gd name="connsiteY5" fmla="*/ 1281519 h 2046352"/>
                  <a:gd name="connsiteX6" fmla="*/ 0 w 2953954"/>
                  <a:gd name="connsiteY6" fmla="*/ 0 h 2046352"/>
                  <a:gd name="connsiteX7" fmla="*/ 2947156 w 2953954"/>
                  <a:gd name="connsiteY7" fmla="*/ 0 h 2046352"/>
                  <a:gd name="connsiteX8" fmla="*/ 2953954 w 2953954"/>
                  <a:gd name="connsiteY8" fmla="*/ 363720 h 2046352"/>
                  <a:gd name="connsiteX9" fmla="*/ 2648021 w 2953954"/>
                  <a:gd name="connsiteY9" fmla="*/ 1009579 h 2046352"/>
                  <a:gd name="connsiteX10" fmla="*/ 1407293 w 2953954"/>
                  <a:gd name="connsiteY10" fmla="*/ 1009579 h 2046352"/>
                  <a:gd name="connsiteX11" fmla="*/ 1233930 w 2953954"/>
                  <a:gd name="connsiteY11" fmla="*/ 1346105 h 2046352"/>
                  <a:gd name="connsiteX12" fmla="*/ 1094561 w 2953954"/>
                  <a:gd name="connsiteY12" fmla="*/ 1305314 h 2046352"/>
                  <a:gd name="connsiteX13" fmla="*/ 815822 w 2953954"/>
                  <a:gd name="connsiteY13" fmla="*/ 2029356 h 2046352"/>
                  <a:gd name="connsiteX14" fmla="*/ 370519 w 2953954"/>
                  <a:gd name="connsiteY14" fmla="*/ 2046352 h 2046352"/>
                  <a:gd name="connsiteX15" fmla="*/ 608467 w 2953954"/>
                  <a:gd name="connsiteY15" fmla="*/ 1026575 h 2046352"/>
                  <a:gd name="connsiteX16" fmla="*/ 0 w 2953954"/>
                  <a:gd name="connsiteY16" fmla="*/ 1026575 h 2046352"/>
                  <a:gd name="connsiteX17" fmla="*/ 0 w 2953954"/>
                  <a:gd name="connsiteY17" fmla="*/ 0 h 2046352"/>
                  <a:gd name="connsiteX0" fmla="*/ 2620827 w 2953954"/>
                  <a:gd name="connsiteY0" fmla="*/ 1281519 h 2046352"/>
                  <a:gd name="connsiteX1" fmla="*/ 2712607 w 2953954"/>
                  <a:gd name="connsiteY1" fmla="*/ 1281519 h 2046352"/>
                  <a:gd name="connsiteX2" fmla="*/ 2620827 w 2953954"/>
                  <a:gd name="connsiteY2" fmla="*/ 1281519 h 2046352"/>
                  <a:gd name="connsiteX3" fmla="*/ 0 w 2953954"/>
                  <a:gd name="connsiteY3" fmla="*/ 0 h 2046352"/>
                  <a:gd name="connsiteX4" fmla="*/ 2947156 w 2953954"/>
                  <a:gd name="connsiteY4" fmla="*/ 0 h 2046352"/>
                  <a:gd name="connsiteX5" fmla="*/ 2953954 w 2953954"/>
                  <a:gd name="connsiteY5" fmla="*/ 363720 h 2046352"/>
                  <a:gd name="connsiteX6" fmla="*/ 2648021 w 2953954"/>
                  <a:gd name="connsiteY6" fmla="*/ 1009579 h 2046352"/>
                  <a:gd name="connsiteX7" fmla="*/ 1407293 w 2953954"/>
                  <a:gd name="connsiteY7" fmla="*/ 1009579 h 2046352"/>
                  <a:gd name="connsiteX8" fmla="*/ 1233930 w 2953954"/>
                  <a:gd name="connsiteY8" fmla="*/ 1346105 h 2046352"/>
                  <a:gd name="connsiteX9" fmla="*/ 1094561 w 2953954"/>
                  <a:gd name="connsiteY9" fmla="*/ 1305314 h 2046352"/>
                  <a:gd name="connsiteX10" fmla="*/ 815822 w 2953954"/>
                  <a:gd name="connsiteY10" fmla="*/ 2029356 h 2046352"/>
                  <a:gd name="connsiteX11" fmla="*/ 370519 w 2953954"/>
                  <a:gd name="connsiteY11" fmla="*/ 2046352 h 2046352"/>
                  <a:gd name="connsiteX12" fmla="*/ 608467 w 2953954"/>
                  <a:gd name="connsiteY12" fmla="*/ 1026575 h 2046352"/>
                  <a:gd name="connsiteX13" fmla="*/ 0 w 2953954"/>
                  <a:gd name="connsiteY13" fmla="*/ 1026575 h 2046352"/>
                  <a:gd name="connsiteX14" fmla="*/ 0 w 2953954"/>
                  <a:gd name="connsiteY14" fmla="*/ 0 h 2046352"/>
                  <a:gd name="connsiteX0" fmla="*/ 0 w 2953954"/>
                  <a:gd name="connsiteY0" fmla="*/ 0 h 2046352"/>
                  <a:gd name="connsiteX1" fmla="*/ 2947156 w 2953954"/>
                  <a:gd name="connsiteY1" fmla="*/ 0 h 2046352"/>
                  <a:gd name="connsiteX2" fmla="*/ 2953954 w 2953954"/>
                  <a:gd name="connsiteY2" fmla="*/ 363720 h 2046352"/>
                  <a:gd name="connsiteX3" fmla="*/ 2648021 w 2953954"/>
                  <a:gd name="connsiteY3" fmla="*/ 1009579 h 2046352"/>
                  <a:gd name="connsiteX4" fmla="*/ 1407293 w 2953954"/>
                  <a:gd name="connsiteY4" fmla="*/ 1009579 h 2046352"/>
                  <a:gd name="connsiteX5" fmla="*/ 1233930 w 2953954"/>
                  <a:gd name="connsiteY5" fmla="*/ 1346105 h 2046352"/>
                  <a:gd name="connsiteX6" fmla="*/ 1094561 w 2953954"/>
                  <a:gd name="connsiteY6" fmla="*/ 1305314 h 2046352"/>
                  <a:gd name="connsiteX7" fmla="*/ 815822 w 2953954"/>
                  <a:gd name="connsiteY7" fmla="*/ 2029356 h 2046352"/>
                  <a:gd name="connsiteX8" fmla="*/ 370519 w 2953954"/>
                  <a:gd name="connsiteY8" fmla="*/ 2046352 h 2046352"/>
                  <a:gd name="connsiteX9" fmla="*/ 608467 w 2953954"/>
                  <a:gd name="connsiteY9" fmla="*/ 1026575 h 2046352"/>
                  <a:gd name="connsiteX10" fmla="*/ 0 w 2953954"/>
                  <a:gd name="connsiteY10" fmla="*/ 1026575 h 2046352"/>
                  <a:gd name="connsiteX11" fmla="*/ 0 w 2953954"/>
                  <a:gd name="connsiteY11" fmla="*/ 0 h 204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3954" h="2046352">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lnTo>
                      <a:pt x="0" y="0"/>
                    </a:ln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0" tIns="45696" rIns="45696" bIns="9139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474"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grpSp>
        <p:sp>
          <p:nvSpPr>
            <p:cNvPr id="131" name="Oval 130"/>
            <p:cNvSpPr/>
            <p:nvPr/>
          </p:nvSpPr>
          <p:spPr bwMode="auto">
            <a:xfrm>
              <a:off x="4968733" y="5462331"/>
              <a:ext cx="27042" cy="28388"/>
            </a:xfrm>
            <a:prstGeom prst="ellipse">
              <a:avLst/>
            </a:prstGeom>
            <a:solidFill>
              <a:srgbClr val="679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sp>
          <p:nvSpPr>
            <p:cNvPr id="132" name="Rectangle 131"/>
            <p:cNvSpPr/>
            <p:nvPr/>
          </p:nvSpPr>
          <p:spPr bwMode="auto">
            <a:xfrm rot="685209">
              <a:off x="4819675" y="5450887"/>
              <a:ext cx="136231" cy="12039"/>
            </a:xfrm>
            <a:prstGeom prst="rect">
              <a:avLst/>
            </a:prstGeom>
            <a:solidFill>
              <a:srgbClr val="679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Century Gothic" panose="020F0302020204030204"/>
                <a:ea typeface="+mn-ea"/>
                <a:cs typeface="Arial" charset="0"/>
              </a:endParaRPr>
            </a:p>
          </p:txBody>
        </p:sp>
      </p:grpSp>
      <p:sp>
        <p:nvSpPr>
          <p:cNvPr id="129" name="Oval 5"/>
          <p:cNvSpPr/>
          <p:nvPr/>
        </p:nvSpPr>
        <p:spPr bwMode="auto">
          <a:xfrm>
            <a:off x="3905129" y="4010471"/>
            <a:ext cx="288889" cy="283000"/>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entury Gothic" panose="020F0302020204030204"/>
              <a:ea typeface="Segoe UI" pitchFamily="34" charset="0"/>
              <a:cs typeface="Segoe UI" pitchFamily="34" charset="0"/>
            </a:endParaRPr>
          </a:p>
        </p:txBody>
      </p:sp>
      <p:sp>
        <p:nvSpPr>
          <p:cNvPr id="597" name="Title 1"/>
          <p:cNvSpPr>
            <a:spLocks noGrp="1"/>
          </p:cNvSpPr>
          <p:nvPr>
            <p:ph type="title" idx="4294967295"/>
          </p:nvPr>
        </p:nvSpPr>
        <p:spPr>
          <a:xfrm>
            <a:off x="338799" y="152875"/>
            <a:ext cx="10260013" cy="344487"/>
          </a:xfrm>
        </p:spPr>
        <p:txBody>
          <a:bodyPr/>
          <a:lstStyle/>
          <a:p>
            <a:r>
              <a:rPr lang="en-US" dirty="0"/>
              <a:t>A few business cases</a:t>
            </a:r>
          </a:p>
        </p:txBody>
      </p:sp>
    </p:spTree>
    <p:extLst>
      <p:ext uri="{BB962C8B-B14F-4D97-AF65-F5344CB8AC3E}">
        <p14:creationId xmlns:p14="http://schemas.microsoft.com/office/powerpoint/2010/main" val="81072832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1663716" y="6424327"/>
            <a:ext cx="452084" cy="4336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p:cNvSpPr>
            <a:spLocks noGrp="1"/>
          </p:cNvSpPr>
          <p:nvPr>
            <p:ph type="title"/>
          </p:nvPr>
        </p:nvSpPr>
        <p:spPr>
          <a:xfrm>
            <a:off x="194264" y="202527"/>
            <a:ext cx="10259568" cy="344710"/>
          </a:xfrm>
        </p:spPr>
        <p:txBody>
          <a:bodyPr>
            <a:normAutofit/>
          </a:bodyPr>
          <a:lstStyle/>
          <a:p>
            <a:r>
              <a:rPr lang="en-US" dirty="0">
                <a:solidFill>
                  <a:srgbClr val="6CC04A"/>
                </a:solidFill>
              </a:rPr>
              <a:t>Complete </a:t>
            </a:r>
            <a:r>
              <a:rPr lang="en-US" dirty="0" err="1">
                <a:solidFill>
                  <a:srgbClr val="6CC04A"/>
                </a:solidFill>
              </a:rPr>
              <a:t>iot</a:t>
            </a:r>
            <a:r>
              <a:rPr lang="en-US" dirty="0">
                <a:solidFill>
                  <a:srgbClr val="6CC04A"/>
                </a:solidFill>
              </a:rPr>
              <a:t> platform capabilities</a:t>
            </a:r>
          </a:p>
        </p:txBody>
      </p:sp>
      <p:sp>
        <p:nvSpPr>
          <p:cNvPr id="9" name="AutoShape 2" descr="Image result for synchronize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p:cNvPicPr>
            <a:picLocks noChangeAspect="1"/>
          </p:cNvPicPr>
          <p:nvPr/>
        </p:nvPicPr>
        <p:blipFill rotWithShape="1">
          <a:blip r:embed="rId3"/>
          <a:srcRect r="1080"/>
          <a:stretch/>
        </p:blipFill>
        <p:spPr>
          <a:xfrm>
            <a:off x="194264" y="694462"/>
            <a:ext cx="11645368" cy="5469076"/>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23297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1663716" y="6424327"/>
            <a:ext cx="452084" cy="4336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p:cNvSpPr>
            <a:spLocks noGrp="1"/>
          </p:cNvSpPr>
          <p:nvPr>
            <p:ph type="title"/>
          </p:nvPr>
        </p:nvSpPr>
        <p:spPr>
          <a:xfrm>
            <a:off x="194264" y="202527"/>
            <a:ext cx="10259568" cy="344710"/>
          </a:xfrm>
        </p:spPr>
        <p:txBody>
          <a:bodyPr>
            <a:normAutofit/>
          </a:bodyPr>
          <a:lstStyle/>
          <a:p>
            <a:r>
              <a:rPr lang="en-US">
                <a:solidFill>
                  <a:srgbClr val="6CC04A"/>
                </a:solidFill>
              </a:rPr>
              <a:t>Demo thingworx platform</a:t>
            </a:r>
            <a:endParaRPr lang="en-US" dirty="0">
              <a:solidFill>
                <a:srgbClr val="6CC04A"/>
              </a:solidFill>
            </a:endParaRPr>
          </a:p>
        </p:txBody>
      </p:sp>
      <p:sp>
        <p:nvSpPr>
          <p:cNvPr id="9" name="AutoShape 2" descr="Image result for synchronize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a:extLst>
              <a:ext uri="{FF2B5EF4-FFF2-40B4-BE49-F238E27FC236}">
                <a16:creationId xmlns:a16="http://schemas.microsoft.com/office/drawing/2014/main" id="{C6618054-A8B0-4DC3-A04F-D0DCF7C77E66}"/>
              </a:ext>
            </a:extLst>
          </p:cNvPr>
          <p:cNvPicPr>
            <a:picLocks noChangeAspect="1"/>
          </p:cNvPicPr>
          <p:nvPr/>
        </p:nvPicPr>
        <p:blipFill>
          <a:blip r:embed="rId3"/>
          <a:stretch>
            <a:fillRect/>
          </a:stretch>
        </p:blipFill>
        <p:spPr>
          <a:xfrm>
            <a:off x="0" y="862320"/>
            <a:ext cx="12192000" cy="5630510"/>
          </a:xfrm>
          <a:prstGeom prst="rect">
            <a:avLst/>
          </a:prstGeom>
        </p:spPr>
      </p:pic>
    </p:spTree>
    <p:extLst>
      <p:ext uri="{BB962C8B-B14F-4D97-AF65-F5344CB8AC3E}">
        <p14:creationId xmlns:p14="http://schemas.microsoft.com/office/powerpoint/2010/main" val="3106604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nderstanding Industrial digital innovation</a:t>
            </a:r>
          </a:p>
        </p:txBody>
      </p:sp>
      <p:sp>
        <p:nvSpPr>
          <p:cNvPr id="8" name="Rectangle 7"/>
          <p:cNvSpPr>
            <a:spLocks noChangeArrowheads="1"/>
          </p:cNvSpPr>
          <p:nvPr/>
        </p:nvSpPr>
        <p:spPr bwMode="auto">
          <a:xfrm>
            <a:off x="651521" y="4465973"/>
            <a:ext cx="2926080" cy="1723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1217249"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ysClr val="windowText" lastClr="000000"/>
                </a:solidFill>
                <a:effectLst/>
                <a:uLnTx/>
                <a:uFillTx/>
                <a:latin typeface="Century Gothic" panose="020F0302020204030204"/>
                <a:ea typeface="+mn-ea"/>
                <a:cs typeface="+mn-cs"/>
              </a:rPr>
              <a:t>“Smart, connected products</a:t>
            </a:r>
          </a:p>
          <a:p>
            <a:pPr marL="0" marR="0" lvl="0" indent="0" algn="ctr" defTabSz="1217249"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ysClr val="windowText" lastClr="000000"/>
                </a:solidFill>
                <a:effectLst/>
                <a:uLnTx/>
                <a:uFillTx/>
                <a:latin typeface="Century Gothic" panose="020F0302020204030204"/>
                <a:ea typeface="+mn-ea"/>
                <a:cs typeface="+mn-cs"/>
              </a:rPr>
              <a:t>raise a new set of strategic</a:t>
            </a:r>
          </a:p>
          <a:p>
            <a:pPr marL="0" marR="0" lvl="0" indent="0" algn="ctr" defTabSz="1217249"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ysClr val="windowText" lastClr="000000"/>
                </a:solidFill>
                <a:effectLst/>
                <a:uLnTx/>
                <a:uFillTx/>
                <a:latin typeface="Century Gothic" panose="020F0302020204030204"/>
                <a:ea typeface="+mn-ea"/>
                <a:cs typeface="+mn-cs"/>
              </a:rPr>
              <a:t>choices about how value</a:t>
            </a:r>
          </a:p>
          <a:p>
            <a:pPr marL="0" marR="0" lvl="0" indent="0" algn="ctr" defTabSz="1217249"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ysClr val="windowText" lastClr="000000"/>
                </a:solidFill>
                <a:effectLst/>
                <a:uLnTx/>
                <a:uFillTx/>
                <a:latin typeface="Century Gothic" panose="020F0302020204030204"/>
                <a:ea typeface="+mn-ea"/>
                <a:cs typeface="+mn-cs"/>
              </a:rPr>
              <a:t>is created and captured, and how companies secure competitive advantage as the new capabilities reshape industry boundaries.”</a:t>
            </a:r>
          </a:p>
        </p:txBody>
      </p:sp>
      <p:sp>
        <p:nvSpPr>
          <p:cNvPr id="9" name="Rectangle 8"/>
          <p:cNvSpPr>
            <a:spLocks noChangeArrowheads="1"/>
          </p:cNvSpPr>
          <p:nvPr/>
        </p:nvSpPr>
        <p:spPr bwMode="auto">
          <a:xfrm>
            <a:off x="4587238" y="4464971"/>
            <a:ext cx="3017520" cy="1723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1217249"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ysClr val="windowText" lastClr="000000"/>
                </a:solidFill>
                <a:effectLst/>
                <a:uLnTx/>
                <a:uFillTx/>
                <a:latin typeface="Century Gothic" panose="020F0302020204030204"/>
                <a:ea typeface="+mn-ea"/>
                <a:cs typeface="+mn-cs"/>
              </a:rPr>
              <a:t>“Smart connected products are not only redefining competition but how we run companies across the value chain.  New kinds of cross functional integration and coordination are necessary, and whole new organizational units are being created.”</a:t>
            </a:r>
          </a:p>
        </p:txBody>
      </p:sp>
      <p:sp>
        <p:nvSpPr>
          <p:cNvPr id="16" name="TextBox 15"/>
          <p:cNvSpPr txBox="1"/>
          <p:nvPr/>
        </p:nvSpPr>
        <p:spPr>
          <a:xfrm>
            <a:off x="7630926" y="5544445"/>
            <a:ext cx="304800" cy="304800"/>
          </a:xfrm>
          <a:prstGeom prst="rect">
            <a:avLst/>
          </a:prstGeom>
          <a:noFill/>
        </p:spPr>
        <p:txBody>
          <a:bodyPr wrap="square" lIns="0" tIns="0" rIns="0" bIns="0" rtlCol="0">
            <a:normAutofit/>
          </a:bodyPr>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D4647">
                  <a:lumMod val="75000"/>
                </a:srgbClr>
              </a:solidFill>
              <a:effectLst/>
              <a:uLnTx/>
              <a:uFillTx/>
              <a:latin typeface="Franklin Gothic Book"/>
              <a:ea typeface="+mn-ea"/>
              <a:cs typeface="+mn-cs"/>
            </a:endParaRPr>
          </a:p>
        </p:txBody>
      </p:sp>
      <p:sp>
        <p:nvSpPr>
          <p:cNvPr id="20" name="Rectangle 19"/>
          <p:cNvSpPr>
            <a:spLocks noChangeArrowheads="1"/>
          </p:cNvSpPr>
          <p:nvPr/>
        </p:nvSpPr>
        <p:spPr bwMode="auto">
          <a:xfrm>
            <a:off x="8637601" y="4464971"/>
            <a:ext cx="2926080" cy="1723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1217249"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ysClr val="windowText" lastClr="000000"/>
                </a:solidFill>
                <a:effectLst/>
                <a:uLnTx/>
                <a:uFillTx/>
                <a:latin typeface="Century Gothic" panose="020F0302020204030204"/>
                <a:ea typeface="+mn-ea"/>
                <a:cs typeface="+mn-cs"/>
              </a:rPr>
              <a:t>“There is a fundamental disconnect between the </a:t>
            </a:r>
            <a:br>
              <a:rPr kumimoji="0" lang="en-US" sz="1400" b="0" i="1" u="none" strike="noStrike" kern="0" cap="none" spc="0" normalizeH="0" baseline="0" noProof="0" dirty="0">
                <a:ln>
                  <a:noFill/>
                </a:ln>
                <a:solidFill>
                  <a:sysClr val="windowText" lastClr="000000"/>
                </a:solidFill>
                <a:effectLst/>
                <a:uLnTx/>
                <a:uFillTx/>
                <a:latin typeface="Century Gothic" panose="020F0302020204030204"/>
                <a:ea typeface="+mn-ea"/>
                <a:cs typeface="+mn-cs"/>
              </a:rPr>
            </a:br>
            <a:r>
              <a:rPr kumimoji="0" lang="en-US" sz="1400" b="0" i="1" u="none" strike="noStrike" kern="0" cap="none" spc="0" normalizeH="0" baseline="0" noProof="0" dirty="0">
                <a:ln>
                  <a:noFill/>
                </a:ln>
                <a:solidFill>
                  <a:sysClr val="windowText" lastClr="000000"/>
                </a:solidFill>
                <a:effectLst/>
                <a:uLnTx/>
                <a:uFillTx/>
                <a:latin typeface="Century Gothic" panose="020F0302020204030204"/>
                <a:ea typeface="+mn-ea"/>
                <a:cs typeface="+mn-cs"/>
              </a:rPr>
              <a:t>wealth of digital data available to us and the physical world in which we apply it. AR solves this problem by putting information directly into the context in which we’ll apply it.”</a:t>
            </a:r>
          </a:p>
        </p:txBody>
      </p:sp>
      <p:sp>
        <p:nvSpPr>
          <p:cNvPr id="12" name="TextBox 11"/>
          <p:cNvSpPr txBox="1"/>
          <p:nvPr/>
        </p:nvSpPr>
        <p:spPr>
          <a:xfrm>
            <a:off x="936354" y="3937027"/>
            <a:ext cx="2356414"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ACC8"/>
                </a:solidFill>
                <a:effectLst/>
                <a:uLnTx/>
                <a:uFillTx/>
                <a:latin typeface="Century Gothic" panose="020B0502020202020204" pitchFamily="34" charset="0"/>
                <a:ea typeface="+mn-ea"/>
                <a:cs typeface="+mn-cs"/>
              </a:rPr>
              <a:t>November 2014</a:t>
            </a:r>
          </a:p>
        </p:txBody>
      </p:sp>
      <p:sp>
        <p:nvSpPr>
          <p:cNvPr id="23" name="TextBox 22"/>
          <p:cNvSpPr txBox="1"/>
          <p:nvPr/>
        </p:nvSpPr>
        <p:spPr>
          <a:xfrm>
            <a:off x="5075688" y="3937027"/>
            <a:ext cx="2040623"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ACC8"/>
                </a:solidFill>
                <a:effectLst/>
                <a:uLnTx/>
                <a:uFillTx/>
                <a:latin typeface="Century Gothic" panose="020B0502020202020204" pitchFamily="34" charset="0"/>
                <a:ea typeface="+mn-ea"/>
                <a:cs typeface="+mn-cs"/>
              </a:rPr>
              <a:t>October 2015</a:t>
            </a:r>
          </a:p>
        </p:txBody>
      </p:sp>
      <p:sp>
        <p:nvSpPr>
          <p:cNvPr id="24" name="TextBox 23"/>
          <p:cNvSpPr txBox="1"/>
          <p:nvPr/>
        </p:nvSpPr>
        <p:spPr>
          <a:xfrm>
            <a:off x="8922434" y="3937027"/>
            <a:ext cx="2356414"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ACC8"/>
                </a:solidFill>
                <a:effectLst/>
                <a:uLnTx/>
                <a:uFillTx/>
                <a:latin typeface="Century Gothic" panose="020B0502020202020204" pitchFamily="34" charset="0"/>
                <a:ea typeface="+mn-ea"/>
                <a:cs typeface="+mn-cs"/>
              </a:rPr>
              <a:t>November 2017</a:t>
            </a:r>
          </a:p>
        </p:txBody>
      </p:sp>
      <p:pic>
        <p:nvPicPr>
          <p:cNvPr id="29" name="Picture 28"/>
          <p:cNvPicPr preferRelativeResize="0">
            <a:picLocks noChangeArrowheads="1"/>
          </p:cNvPicPr>
          <p:nvPr/>
        </p:nvPicPr>
        <p:blipFill rotWithShape="1">
          <a:blip r:embed="rId3" cstate="print">
            <a:extLst>
              <a:ext uri="{28A0092B-C50C-407E-A947-70E740481C1C}">
                <a14:useLocalDpi xmlns:a14="http://schemas.microsoft.com/office/drawing/2010/main" val="0"/>
              </a:ext>
            </a:extLst>
          </a:blip>
          <a:srcRect l="1739" t="1073" r="2020" b="1988"/>
          <a:stretch/>
        </p:blipFill>
        <p:spPr bwMode="auto">
          <a:xfrm>
            <a:off x="1155044" y="1283865"/>
            <a:ext cx="1919037" cy="248231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32" name="Picture 3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140851" y="1283865"/>
            <a:ext cx="1916155" cy="248604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9" name="Picture 18"/>
          <p:cNvPicPr>
            <a:picLocks noChangeAspect="1"/>
          </p:cNvPicPr>
          <p:nvPr/>
        </p:nvPicPr>
        <p:blipFill>
          <a:blip r:embed="rId5"/>
          <a:stretch>
            <a:fillRect/>
          </a:stretch>
        </p:blipFill>
        <p:spPr>
          <a:xfrm>
            <a:off x="9123776" y="1283865"/>
            <a:ext cx="1952879" cy="2482312"/>
          </a:xfrm>
          <a:prstGeom prst="rect">
            <a:avLst/>
          </a:prstGeom>
          <a:noFill/>
          <a:ln w="9525">
            <a:solidFill>
              <a:schemeClr val="tx1"/>
            </a:solidFill>
            <a:miter lim="800000"/>
            <a:headEnd/>
            <a:tailEnd/>
          </a:ln>
          <a:effectLst/>
        </p:spPr>
      </p:pic>
    </p:spTree>
    <p:extLst>
      <p:ext uri="{BB962C8B-B14F-4D97-AF65-F5344CB8AC3E}">
        <p14:creationId xmlns:p14="http://schemas.microsoft.com/office/powerpoint/2010/main" val="163946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63DDBB-1715-4117-A26E-00250060A835}"/>
              </a:ext>
            </a:extLst>
          </p:cNvPr>
          <p:cNvPicPr>
            <a:picLocks noChangeAspect="1"/>
          </p:cNvPicPr>
          <p:nvPr/>
        </p:nvPicPr>
        <p:blipFill>
          <a:blip r:embed="rId2"/>
          <a:stretch>
            <a:fillRect/>
          </a:stretch>
        </p:blipFill>
        <p:spPr>
          <a:xfrm>
            <a:off x="533400" y="228600"/>
            <a:ext cx="10309230" cy="6255038"/>
          </a:xfrm>
          <a:prstGeom prst="rect">
            <a:avLst/>
          </a:prstGeom>
        </p:spPr>
      </p:pic>
    </p:spTree>
    <p:extLst>
      <p:ext uri="{BB962C8B-B14F-4D97-AF65-F5344CB8AC3E}">
        <p14:creationId xmlns:p14="http://schemas.microsoft.com/office/powerpoint/2010/main" val="986179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026920" y="4961820"/>
            <a:ext cx="8138160" cy="408904"/>
            <a:chOff x="2253820" y="4765374"/>
            <a:chExt cx="8138160" cy="408904"/>
          </a:xfrm>
        </p:grpSpPr>
        <p:sp>
          <p:nvSpPr>
            <p:cNvPr id="27" name="Rectangle 26"/>
            <p:cNvSpPr/>
            <p:nvPr/>
          </p:nvSpPr>
          <p:spPr>
            <a:xfrm>
              <a:off x="2253820" y="4765374"/>
              <a:ext cx="8138160" cy="4089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840" marR="0" lvl="0" indent="0" algn="l" defTabSz="1086775" rtl="0" eaLnBrk="1" fontAlgn="auto" latinLnBrk="0" hangingPunct="1">
                <a:lnSpc>
                  <a:spcPct val="100000"/>
                </a:lnSpc>
                <a:spcBef>
                  <a:spcPts val="0"/>
                </a:spcBef>
                <a:spcAft>
                  <a:spcPts val="0"/>
                </a:spcAft>
                <a:buClrTx/>
                <a:buSzTx/>
                <a:buFontTx/>
                <a:buNone/>
                <a:tabLst/>
                <a:defRPr/>
              </a:pPr>
              <a:endParaRPr kumimoji="0" lang="en-US" sz="1397"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sp>
          <p:nvSpPr>
            <p:cNvPr id="28" name="TextBox 27"/>
            <p:cNvSpPr txBox="1"/>
            <p:nvPr/>
          </p:nvSpPr>
          <p:spPr>
            <a:xfrm>
              <a:off x="5701736" y="4831712"/>
              <a:ext cx="1242328" cy="276229"/>
            </a:xfrm>
            <a:prstGeom prst="rect">
              <a:avLst/>
            </a:prstGeom>
          </p:spPr>
          <p:txBody>
            <a:bodyPr wrap="non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795" b="0" i="0" u="none" strike="noStrike" kern="1200" cap="none" spc="0" normalizeH="0" baseline="0" noProof="0" dirty="0">
                  <a:ln>
                    <a:noFill/>
                  </a:ln>
                  <a:solidFill>
                    <a:srgbClr val="FFFFFF"/>
                  </a:solidFill>
                  <a:effectLst/>
                  <a:uLnTx/>
                  <a:uFillTx/>
                  <a:latin typeface="Century Gothic" panose="020F0302020204030204"/>
                  <a:ea typeface="+mn-ea"/>
                  <a:cs typeface="+mn-cs"/>
                </a:rPr>
                <a:t>FAST FACTS</a:t>
              </a:r>
            </a:p>
          </p:txBody>
        </p:sp>
      </p:grpSp>
      <p:pic>
        <p:nvPicPr>
          <p:cNvPr id="12" name="Picture 11"/>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243524" y="1929206"/>
            <a:ext cx="5674509" cy="2797636"/>
          </a:xfrm>
          <a:prstGeom prst="rect">
            <a:avLst/>
          </a:prstGeom>
        </p:spPr>
      </p:pic>
      <p:sp>
        <p:nvSpPr>
          <p:cNvPr id="2" name="Title 1"/>
          <p:cNvSpPr>
            <a:spLocks noGrp="1"/>
          </p:cNvSpPr>
          <p:nvPr>
            <p:ph type="title"/>
          </p:nvPr>
        </p:nvSpPr>
        <p:spPr/>
        <p:txBody>
          <a:bodyPr>
            <a:normAutofit/>
          </a:bodyPr>
          <a:lstStyle/>
          <a:p>
            <a:r>
              <a:rPr lang="en-US" dirty="0"/>
              <a:t>We are a Global technology company</a:t>
            </a:r>
          </a:p>
        </p:txBody>
      </p:sp>
      <p:grpSp>
        <p:nvGrpSpPr>
          <p:cNvPr id="4" name="Group 3"/>
          <p:cNvGrpSpPr/>
          <p:nvPr/>
        </p:nvGrpSpPr>
        <p:grpSpPr>
          <a:xfrm>
            <a:off x="433144" y="1261553"/>
            <a:ext cx="5212080" cy="408904"/>
            <a:chOff x="418063" y="1261553"/>
            <a:chExt cx="5212080" cy="408904"/>
          </a:xfrm>
        </p:grpSpPr>
        <p:sp>
          <p:nvSpPr>
            <p:cNvPr id="24" name="Rectangle 23"/>
            <p:cNvSpPr/>
            <p:nvPr/>
          </p:nvSpPr>
          <p:spPr>
            <a:xfrm>
              <a:off x="418063" y="1261553"/>
              <a:ext cx="5212080" cy="4089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840" marR="0" lvl="0" indent="0" algn="l" defTabSz="1086775" rtl="0" eaLnBrk="1" fontAlgn="auto" latinLnBrk="0" hangingPunct="1">
                <a:lnSpc>
                  <a:spcPct val="100000"/>
                </a:lnSpc>
                <a:spcBef>
                  <a:spcPts val="0"/>
                </a:spcBef>
                <a:spcAft>
                  <a:spcPts val="0"/>
                </a:spcAft>
                <a:buClrTx/>
                <a:buSzTx/>
                <a:buFontTx/>
                <a:buNone/>
                <a:tabLst/>
                <a:defRPr/>
              </a:pPr>
              <a:endParaRPr kumimoji="0" lang="en-US" sz="1397"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sp>
          <p:nvSpPr>
            <p:cNvPr id="50" name="TextBox 49"/>
            <p:cNvSpPr txBox="1"/>
            <p:nvPr/>
          </p:nvSpPr>
          <p:spPr>
            <a:xfrm>
              <a:off x="1726441" y="1327891"/>
              <a:ext cx="2425344" cy="276229"/>
            </a:xfrm>
            <a:prstGeom prst="rect">
              <a:avLst/>
            </a:prstGeom>
          </p:spPr>
          <p:txBody>
            <a:bodyPr wrap="non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795" b="0" i="0" u="none" strike="noStrike" kern="1200" cap="none" spc="0" normalizeH="0" baseline="0" noProof="0" dirty="0">
                  <a:ln>
                    <a:noFill/>
                  </a:ln>
                  <a:solidFill>
                    <a:srgbClr val="FFFFFF"/>
                  </a:solidFill>
                  <a:effectLst/>
                  <a:uLnTx/>
                  <a:uFillTx/>
                  <a:latin typeface="Century Gothic" panose="020F0302020204030204"/>
                  <a:ea typeface="+mn-ea"/>
                  <a:cs typeface="+mn-cs"/>
                </a:rPr>
                <a:t>REVENUE BY VERTICAL</a:t>
              </a:r>
            </a:p>
          </p:txBody>
        </p:sp>
      </p:grpSp>
      <p:graphicFrame>
        <p:nvGraphicFramePr>
          <p:cNvPr id="51" name="Content Placeholder 8"/>
          <p:cNvGraphicFramePr>
            <a:graphicFrameLocks/>
          </p:cNvGraphicFramePr>
          <p:nvPr/>
        </p:nvGraphicFramePr>
        <p:xfrm>
          <a:off x="300798" y="2046614"/>
          <a:ext cx="5260258" cy="2309768"/>
        </p:xfrm>
        <a:graphic>
          <a:graphicData uri="http://schemas.openxmlformats.org/drawingml/2006/chart">
            <c:chart xmlns:c="http://schemas.openxmlformats.org/drawingml/2006/chart" xmlns:r="http://schemas.openxmlformats.org/officeDocument/2006/relationships" r:id="rId4"/>
          </a:graphicData>
        </a:graphic>
      </p:graphicFrame>
      <p:sp>
        <p:nvSpPr>
          <p:cNvPr id="53" name="TextBox 52"/>
          <p:cNvSpPr txBox="1"/>
          <p:nvPr/>
        </p:nvSpPr>
        <p:spPr>
          <a:xfrm>
            <a:off x="3056226" y="1994452"/>
            <a:ext cx="948978" cy="460447"/>
          </a:xfrm>
          <a:prstGeom prst="rect">
            <a:avLst/>
          </a:prstGeom>
          <a:noFill/>
        </p:spPr>
        <p:txBody>
          <a:bodyPr wrap="non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3D4647"/>
                </a:solidFill>
                <a:effectLst/>
                <a:uLnTx/>
                <a:uFillTx/>
                <a:latin typeface="Century Gothic" panose="020F0302020204030204"/>
                <a:ea typeface="+mn-ea"/>
                <a:cs typeface="+mn-cs"/>
              </a:rPr>
              <a:t>Life Sciences</a:t>
            </a: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795" b="0" i="0" u="none" strike="noStrike" kern="1200" cap="none" spc="0" normalizeH="0" baseline="0" noProof="0" dirty="0">
                <a:ln>
                  <a:noFill/>
                </a:ln>
                <a:solidFill>
                  <a:srgbClr val="3D4647"/>
                </a:solidFill>
                <a:effectLst/>
                <a:uLnTx/>
                <a:uFillTx/>
                <a:latin typeface="Century Gothic" panose="020F0302020204030204"/>
                <a:ea typeface="+mn-ea"/>
                <a:cs typeface="+mn-cs"/>
              </a:rPr>
              <a:t>5</a:t>
            </a:r>
            <a:r>
              <a:rPr kumimoji="0" lang="en-US" sz="1795" b="0" i="0" u="none" strike="noStrike" kern="1200" cap="none" spc="0" normalizeH="0" baseline="30000" noProof="0" dirty="0">
                <a:ln>
                  <a:noFill/>
                </a:ln>
                <a:solidFill>
                  <a:srgbClr val="3D4647"/>
                </a:solidFill>
                <a:effectLst/>
                <a:uLnTx/>
                <a:uFillTx/>
                <a:latin typeface="Century Gothic" panose="020F0302020204030204"/>
                <a:ea typeface="+mn-ea"/>
                <a:cs typeface="+mn-cs"/>
              </a:rPr>
              <a:t>%</a:t>
            </a:r>
          </a:p>
        </p:txBody>
      </p:sp>
      <p:sp>
        <p:nvSpPr>
          <p:cNvPr id="54" name="TextBox 53"/>
          <p:cNvSpPr txBox="1"/>
          <p:nvPr/>
        </p:nvSpPr>
        <p:spPr>
          <a:xfrm>
            <a:off x="3723169" y="2861845"/>
            <a:ext cx="1545510" cy="460523"/>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3D4647"/>
                </a:solidFill>
                <a:effectLst/>
                <a:uLnTx/>
                <a:uFillTx/>
                <a:latin typeface="Century Gothic" panose="020F0302020204030204"/>
                <a:ea typeface="+mn-ea"/>
                <a:cs typeface="+mn-cs"/>
              </a:rPr>
              <a:t>Industrial Products</a:t>
            </a: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795" b="0" i="0" u="none" strike="noStrike" kern="1200" cap="none" spc="0" normalizeH="0" baseline="0" noProof="0" dirty="0">
                <a:ln>
                  <a:noFill/>
                </a:ln>
                <a:solidFill>
                  <a:srgbClr val="3D4647"/>
                </a:solidFill>
                <a:effectLst/>
                <a:uLnTx/>
                <a:uFillTx/>
                <a:latin typeface="Century Gothic" panose="020F0302020204030204"/>
                <a:ea typeface="+mn-ea"/>
                <a:cs typeface="+mn-cs"/>
              </a:rPr>
              <a:t>32</a:t>
            </a:r>
            <a:r>
              <a:rPr kumimoji="0" lang="en-US" sz="1795" b="0" i="0" u="none" strike="noStrike" kern="1200" cap="none" spc="0" normalizeH="0" baseline="30000" noProof="0" dirty="0">
                <a:ln>
                  <a:noFill/>
                </a:ln>
                <a:solidFill>
                  <a:srgbClr val="3D4647"/>
                </a:solidFill>
                <a:effectLst/>
                <a:uLnTx/>
                <a:uFillTx/>
                <a:latin typeface="Century Gothic" panose="020F0302020204030204"/>
                <a:ea typeface="+mn-ea"/>
                <a:cs typeface="+mn-cs"/>
              </a:rPr>
              <a:t>%</a:t>
            </a:r>
          </a:p>
        </p:txBody>
      </p:sp>
      <p:sp>
        <p:nvSpPr>
          <p:cNvPr id="74" name="TextBox 73"/>
          <p:cNvSpPr txBox="1"/>
          <p:nvPr/>
        </p:nvSpPr>
        <p:spPr>
          <a:xfrm>
            <a:off x="3123576" y="3934843"/>
            <a:ext cx="2437480" cy="460523"/>
          </a:xfrm>
          <a:prstGeom prst="rect">
            <a:avLst/>
          </a:prstGeom>
          <a:noFill/>
        </p:spPr>
        <p:txBody>
          <a:bodyPr wrap="square" lIns="0" tIns="0" rIns="0" bIns="0" rtlCol="0">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3D4647"/>
                </a:solidFill>
                <a:effectLst/>
                <a:uLnTx/>
                <a:uFillTx/>
                <a:latin typeface="Century Gothic" panose="020F0302020204030204"/>
                <a:ea typeface="+mn-ea"/>
                <a:cs typeface="+mn-cs"/>
              </a:rPr>
              <a:t>Federal, Aerospace &amp; Defense</a:t>
            </a: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795" b="0" i="0" u="none" strike="noStrike" kern="1200" cap="none" spc="0" normalizeH="0" baseline="0" noProof="0" dirty="0">
                <a:ln>
                  <a:noFill/>
                </a:ln>
                <a:solidFill>
                  <a:srgbClr val="3D4647"/>
                </a:solidFill>
                <a:effectLst/>
                <a:uLnTx/>
                <a:uFillTx/>
                <a:latin typeface="Century Gothic" panose="020F0302020204030204"/>
                <a:ea typeface="+mn-ea"/>
                <a:cs typeface="+mn-cs"/>
              </a:rPr>
              <a:t>16</a:t>
            </a:r>
            <a:r>
              <a:rPr kumimoji="0" lang="en-US" sz="1795" b="0" i="0" u="none" strike="noStrike" kern="1200" cap="none" spc="0" normalizeH="0" baseline="30000" noProof="0" dirty="0">
                <a:ln>
                  <a:noFill/>
                </a:ln>
                <a:solidFill>
                  <a:srgbClr val="3D4647"/>
                </a:solidFill>
                <a:effectLst/>
                <a:uLnTx/>
                <a:uFillTx/>
                <a:latin typeface="Century Gothic" panose="020F0302020204030204"/>
                <a:ea typeface="+mn-ea"/>
                <a:cs typeface="+mn-cs"/>
              </a:rPr>
              <a:t>%</a:t>
            </a:r>
          </a:p>
        </p:txBody>
      </p:sp>
      <p:sp>
        <p:nvSpPr>
          <p:cNvPr id="75" name="TextBox 74"/>
          <p:cNvSpPr txBox="1"/>
          <p:nvPr/>
        </p:nvSpPr>
        <p:spPr>
          <a:xfrm>
            <a:off x="501057" y="3765966"/>
            <a:ext cx="1850270" cy="460523"/>
          </a:xfrm>
          <a:prstGeom prst="rect">
            <a:avLst/>
          </a:prstGeom>
          <a:noFill/>
        </p:spPr>
        <p:txBody>
          <a:bodyPr wrap="square" lIns="0" tIns="0" rIns="0" bIns="0" rtlCol="0">
            <a:spAutoFit/>
          </a:bodyPr>
          <a:lstStyle/>
          <a:p>
            <a:pPr marL="0" marR="0" lvl="0" indent="0" algn="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3D4647"/>
                </a:solidFill>
                <a:effectLst/>
                <a:uLnTx/>
                <a:uFillTx/>
                <a:latin typeface="Century Gothic" panose="020F0302020204030204"/>
                <a:ea typeface="+mn-ea"/>
                <a:cs typeface="+mn-cs"/>
              </a:rPr>
              <a:t>Electronics &amp; High Tech</a:t>
            </a:r>
          </a:p>
          <a:p>
            <a:pPr marL="0" marR="0" lvl="0" indent="0" algn="r" defTabSz="1086775" rtl="0" eaLnBrk="1" fontAlgn="auto" latinLnBrk="0" hangingPunct="1">
              <a:lnSpc>
                <a:spcPct val="100000"/>
              </a:lnSpc>
              <a:spcBef>
                <a:spcPts val="0"/>
              </a:spcBef>
              <a:spcAft>
                <a:spcPts val="0"/>
              </a:spcAft>
              <a:buClrTx/>
              <a:buSzTx/>
              <a:buFontTx/>
              <a:buNone/>
              <a:tabLst/>
              <a:defRPr/>
            </a:pPr>
            <a:r>
              <a:rPr kumimoji="0" lang="en-US" sz="1795" b="0" i="0" u="none" strike="noStrike" kern="1200" cap="none" spc="0" normalizeH="0" baseline="0" noProof="0" dirty="0">
                <a:ln>
                  <a:noFill/>
                </a:ln>
                <a:solidFill>
                  <a:srgbClr val="3D4647"/>
                </a:solidFill>
                <a:effectLst/>
                <a:uLnTx/>
                <a:uFillTx/>
                <a:latin typeface="Century Gothic" panose="020F0302020204030204"/>
                <a:ea typeface="+mn-ea"/>
                <a:cs typeface="+mn-cs"/>
              </a:rPr>
              <a:t>15</a:t>
            </a:r>
            <a:r>
              <a:rPr kumimoji="0" lang="en-US" sz="1795" b="0" i="0" u="none" strike="noStrike" kern="1200" cap="none" spc="0" normalizeH="0" baseline="30000" noProof="0" dirty="0">
                <a:ln>
                  <a:noFill/>
                </a:ln>
                <a:solidFill>
                  <a:srgbClr val="3D4647"/>
                </a:solidFill>
                <a:effectLst/>
                <a:uLnTx/>
                <a:uFillTx/>
                <a:latin typeface="Century Gothic" panose="020F0302020204030204"/>
                <a:ea typeface="+mn-ea"/>
                <a:cs typeface="+mn-cs"/>
              </a:rPr>
              <a:t>%</a:t>
            </a:r>
          </a:p>
        </p:txBody>
      </p:sp>
      <p:sp>
        <p:nvSpPr>
          <p:cNvPr id="76" name="TextBox 75"/>
          <p:cNvSpPr txBox="1"/>
          <p:nvPr/>
        </p:nvSpPr>
        <p:spPr>
          <a:xfrm>
            <a:off x="1237996" y="2901259"/>
            <a:ext cx="870431" cy="460447"/>
          </a:xfrm>
          <a:prstGeom prst="rect">
            <a:avLst/>
          </a:prstGeom>
          <a:noFill/>
        </p:spPr>
        <p:txBody>
          <a:bodyPr wrap="none" lIns="0" tIns="0" rIns="0" bIns="0" rtlCol="0">
            <a:spAutoFit/>
          </a:bodyPr>
          <a:lstStyle/>
          <a:p>
            <a:pPr marL="0" marR="0" lvl="0" indent="0" algn="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3D4647"/>
                </a:solidFill>
                <a:effectLst/>
                <a:uLnTx/>
                <a:uFillTx/>
                <a:latin typeface="Century Gothic" panose="020F0302020204030204"/>
                <a:ea typeface="+mn-ea"/>
                <a:cs typeface="+mn-cs"/>
              </a:rPr>
              <a:t>Automotive</a:t>
            </a:r>
            <a:endParaRPr kumimoji="0" lang="en-US" sz="1047" b="0" i="0" u="none" strike="noStrike" kern="1200" cap="none" spc="0" normalizeH="0" baseline="0" noProof="0" dirty="0">
              <a:ln>
                <a:noFill/>
              </a:ln>
              <a:solidFill>
                <a:srgbClr val="3D4647"/>
              </a:solidFill>
              <a:effectLst/>
              <a:uLnTx/>
              <a:uFillTx/>
              <a:latin typeface="Century Gothic" panose="020F0302020204030204"/>
              <a:ea typeface="+mn-ea"/>
              <a:cs typeface="+mn-cs"/>
            </a:endParaRPr>
          </a:p>
          <a:p>
            <a:pPr marL="0" marR="0" lvl="0" indent="0" algn="r" defTabSz="1086775" rtl="0" eaLnBrk="1" fontAlgn="auto" latinLnBrk="0" hangingPunct="1">
              <a:lnSpc>
                <a:spcPct val="100000"/>
              </a:lnSpc>
              <a:spcBef>
                <a:spcPts val="0"/>
              </a:spcBef>
              <a:spcAft>
                <a:spcPts val="0"/>
              </a:spcAft>
              <a:buClrTx/>
              <a:buSzTx/>
              <a:buFontTx/>
              <a:buNone/>
              <a:tabLst/>
              <a:defRPr/>
            </a:pPr>
            <a:r>
              <a:rPr kumimoji="0" lang="en-US" sz="1795" b="0" i="0" u="none" strike="noStrike" kern="1200" cap="none" spc="0" normalizeH="0" baseline="0" noProof="0" dirty="0">
                <a:ln>
                  <a:noFill/>
                </a:ln>
                <a:solidFill>
                  <a:srgbClr val="3D4647"/>
                </a:solidFill>
                <a:effectLst/>
                <a:uLnTx/>
                <a:uFillTx/>
                <a:latin typeface="Century Gothic" panose="020F0302020204030204"/>
                <a:ea typeface="+mn-ea"/>
                <a:cs typeface="+mn-cs"/>
              </a:rPr>
              <a:t>14</a:t>
            </a:r>
            <a:r>
              <a:rPr kumimoji="0" lang="en-US" sz="1795" b="0" i="0" u="none" strike="noStrike" kern="1200" cap="none" spc="0" normalizeH="0" baseline="30000" noProof="0" dirty="0">
                <a:ln>
                  <a:noFill/>
                </a:ln>
                <a:solidFill>
                  <a:srgbClr val="3D4647"/>
                </a:solidFill>
                <a:effectLst/>
                <a:uLnTx/>
                <a:uFillTx/>
                <a:latin typeface="Century Gothic" panose="020F0302020204030204"/>
                <a:ea typeface="+mn-ea"/>
                <a:cs typeface="+mn-cs"/>
              </a:rPr>
              <a:t>%</a:t>
            </a:r>
          </a:p>
        </p:txBody>
      </p:sp>
      <p:sp>
        <p:nvSpPr>
          <p:cNvPr id="77" name="TextBox 76"/>
          <p:cNvSpPr txBox="1"/>
          <p:nvPr/>
        </p:nvSpPr>
        <p:spPr>
          <a:xfrm>
            <a:off x="961258" y="2292556"/>
            <a:ext cx="1372171" cy="460447"/>
          </a:xfrm>
          <a:prstGeom prst="rect">
            <a:avLst/>
          </a:prstGeom>
          <a:noFill/>
        </p:spPr>
        <p:txBody>
          <a:bodyPr wrap="none" lIns="0" tIns="0" rIns="0" bIns="0" rtlCol="0">
            <a:spAutoFit/>
          </a:bodyPr>
          <a:lstStyle/>
          <a:p>
            <a:pPr marL="0" marR="0" lvl="0" indent="0" algn="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3D4647"/>
                </a:solidFill>
                <a:effectLst/>
                <a:uLnTx/>
                <a:uFillTx/>
                <a:latin typeface="Century Gothic" panose="020F0302020204030204"/>
                <a:ea typeface="+mn-ea"/>
                <a:cs typeface="+mn-cs"/>
              </a:rPr>
              <a:t>Retail &amp; Consumer</a:t>
            </a:r>
          </a:p>
          <a:p>
            <a:pPr marL="0" marR="0" lvl="0" indent="0" algn="r" defTabSz="1086775" rtl="0" eaLnBrk="1" fontAlgn="auto" latinLnBrk="0" hangingPunct="1">
              <a:lnSpc>
                <a:spcPct val="100000"/>
              </a:lnSpc>
              <a:spcBef>
                <a:spcPts val="0"/>
              </a:spcBef>
              <a:spcAft>
                <a:spcPts val="0"/>
              </a:spcAft>
              <a:buClrTx/>
              <a:buSzTx/>
              <a:buFontTx/>
              <a:buNone/>
              <a:tabLst/>
              <a:defRPr/>
            </a:pPr>
            <a:r>
              <a:rPr kumimoji="0" lang="en-US" sz="1795" b="0" i="0" u="none" strike="noStrike" kern="1200" cap="none" spc="0" normalizeH="0" baseline="0" noProof="0" dirty="0">
                <a:ln>
                  <a:noFill/>
                </a:ln>
                <a:solidFill>
                  <a:srgbClr val="3D4647"/>
                </a:solidFill>
                <a:effectLst/>
                <a:uLnTx/>
                <a:uFillTx/>
                <a:latin typeface="Century Gothic" panose="020F0302020204030204"/>
                <a:ea typeface="+mn-ea"/>
                <a:cs typeface="+mn-cs"/>
              </a:rPr>
              <a:t>9</a:t>
            </a:r>
            <a:r>
              <a:rPr kumimoji="0" lang="en-US" sz="1795" b="0" i="0" u="none" strike="noStrike" kern="1200" cap="none" spc="0" normalizeH="0" baseline="30000" noProof="0" dirty="0">
                <a:ln>
                  <a:noFill/>
                </a:ln>
                <a:solidFill>
                  <a:srgbClr val="3D4647"/>
                </a:solidFill>
                <a:effectLst/>
                <a:uLnTx/>
                <a:uFillTx/>
                <a:latin typeface="Century Gothic" panose="020F0302020204030204"/>
                <a:ea typeface="+mn-ea"/>
                <a:cs typeface="+mn-cs"/>
              </a:rPr>
              <a:t>%</a:t>
            </a:r>
          </a:p>
        </p:txBody>
      </p:sp>
      <p:sp>
        <p:nvSpPr>
          <p:cNvPr id="78" name="TextBox 77"/>
          <p:cNvSpPr txBox="1"/>
          <p:nvPr/>
        </p:nvSpPr>
        <p:spPr>
          <a:xfrm>
            <a:off x="2398505" y="2002453"/>
            <a:ext cx="423193" cy="460447"/>
          </a:xfrm>
          <a:prstGeom prst="rect">
            <a:avLst/>
          </a:prstGeom>
          <a:noFill/>
        </p:spPr>
        <p:txBody>
          <a:bodyPr wrap="none" lIns="0" tIns="0" rIns="0" bIns="0" rtlCol="0">
            <a:spAutoFit/>
          </a:bodyPr>
          <a:lstStyle/>
          <a:p>
            <a:pPr marL="0" marR="0" lvl="0" indent="0" algn="r" defTabSz="1086775"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dirty="0">
                <a:ln>
                  <a:noFill/>
                </a:ln>
                <a:solidFill>
                  <a:srgbClr val="3D4647"/>
                </a:solidFill>
                <a:effectLst/>
                <a:uLnTx/>
                <a:uFillTx/>
                <a:latin typeface="Century Gothic" panose="020F0302020204030204"/>
                <a:ea typeface="+mn-ea"/>
                <a:cs typeface="+mn-cs"/>
              </a:rPr>
              <a:t>Other</a:t>
            </a:r>
            <a:endParaRPr kumimoji="0" lang="en-US" sz="1047" b="0" i="0" u="none" strike="noStrike" kern="1200" cap="none" spc="0" normalizeH="0" baseline="0" noProof="0" dirty="0">
              <a:ln>
                <a:noFill/>
              </a:ln>
              <a:solidFill>
                <a:srgbClr val="3D4647"/>
              </a:solidFill>
              <a:effectLst/>
              <a:uLnTx/>
              <a:uFillTx/>
              <a:latin typeface="Century Gothic" panose="020F0302020204030204"/>
              <a:ea typeface="+mn-ea"/>
              <a:cs typeface="+mn-cs"/>
            </a:endParaRPr>
          </a:p>
          <a:p>
            <a:pPr marL="0" marR="0" lvl="0" indent="0" algn="r" defTabSz="1086775" rtl="0" eaLnBrk="1" fontAlgn="auto" latinLnBrk="0" hangingPunct="1">
              <a:lnSpc>
                <a:spcPct val="100000"/>
              </a:lnSpc>
              <a:spcBef>
                <a:spcPts val="0"/>
              </a:spcBef>
              <a:spcAft>
                <a:spcPts val="0"/>
              </a:spcAft>
              <a:buClrTx/>
              <a:buSzTx/>
              <a:buFontTx/>
              <a:buNone/>
              <a:tabLst/>
              <a:defRPr/>
            </a:pPr>
            <a:r>
              <a:rPr kumimoji="0" lang="en-US" sz="1795" b="0" i="0" u="none" strike="noStrike" kern="1200" cap="none" spc="0" normalizeH="0" baseline="0" noProof="0" dirty="0">
                <a:ln>
                  <a:noFill/>
                </a:ln>
                <a:solidFill>
                  <a:srgbClr val="3D4647"/>
                </a:solidFill>
                <a:effectLst/>
                <a:uLnTx/>
                <a:uFillTx/>
                <a:latin typeface="Century Gothic" panose="020F0302020204030204"/>
                <a:ea typeface="+mn-ea"/>
                <a:cs typeface="+mn-cs"/>
              </a:rPr>
              <a:t>9</a:t>
            </a:r>
            <a:r>
              <a:rPr kumimoji="0" lang="en-US" sz="1795" b="0" i="0" u="none" strike="noStrike" kern="1200" cap="none" spc="0" normalizeH="0" baseline="30000" noProof="0" dirty="0">
                <a:ln>
                  <a:noFill/>
                </a:ln>
                <a:solidFill>
                  <a:srgbClr val="3D4647"/>
                </a:solidFill>
                <a:effectLst/>
                <a:uLnTx/>
                <a:uFillTx/>
                <a:latin typeface="Century Gothic" panose="020F0302020204030204"/>
                <a:ea typeface="+mn-ea"/>
                <a:cs typeface="+mn-cs"/>
              </a:rPr>
              <a:t>%</a:t>
            </a:r>
          </a:p>
        </p:txBody>
      </p:sp>
      <p:sp>
        <p:nvSpPr>
          <p:cNvPr id="82" name="TextBox 81"/>
          <p:cNvSpPr txBox="1"/>
          <p:nvPr/>
        </p:nvSpPr>
        <p:spPr>
          <a:xfrm>
            <a:off x="6625926" y="3319290"/>
            <a:ext cx="1114997" cy="615553"/>
          </a:xfrm>
          <a:prstGeom prst="rect">
            <a:avLst/>
          </a:prstGeom>
          <a:noFill/>
        </p:spPr>
        <p:txBody>
          <a:bodyPr wrap="square" lIns="0" tIns="0" rIns="0" bIns="0" rtlCol="0" anchor="b">
            <a:spAutoFit/>
          </a:bodyPr>
          <a:lstStyle/>
          <a:p>
            <a:pPr marL="0" marR="0" lvl="0" indent="0" algn="ctr" defTabSz="1086775" rtl="0" eaLnBrk="1" fontAlgn="auto" latinLnBrk="0" hangingPunct="1">
              <a:lnSpc>
                <a:spcPct val="100000"/>
              </a:lnSpc>
              <a:spcBef>
                <a:spcPts val="599"/>
              </a:spcBef>
              <a:spcAft>
                <a:spcPts val="0"/>
              </a:spcAft>
              <a:buClrTx/>
              <a:buSzTx/>
              <a:buFontTx/>
              <a:buNone/>
              <a:tabLst/>
              <a:defRPr/>
            </a:pPr>
            <a:r>
              <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rPr>
              <a:t>Americas</a:t>
            </a:r>
            <a:r>
              <a:rPr kumimoji="0" lang="en-US" sz="1600" b="0" i="0" u="none" strike="noStrike" kern="1200" cap="none" spc="0" normalizeH="0" baseline="0" noProof="0" dirty="0">
                <a:ln>
                  <a:noFill/>
                </a:ln>
                <a:solidFill>
                  <a:srgbClr val="3D4647"/>
                </a:solidFill>
                <a:effectLst/>
                <a:uLnTx/>
                <a:uFillTx/>
                <a:latin typeface="Century Gothic" panose="020F0302020204030204"/>
                <a:ea typeface="+mn-ea"/>
                <a:cs typeface="+mn-cs"/>
              </a:rPr>
              <a:t> </a:t>
            </a:r>
            <a:br>
              <a:rPr kumimoji="0" lang="en-US" sz="1600" b="0" i="0" u="none" strike="noStrike" kern="1200" cap="none" spc="0" normalizeH="0" baseline="0" noProof="0" dirty="0">
                <a:ln>
                  <a:noFill/>
                </a:ln>
                <a:solidFill>
                  <a:srgbClr val="3D4647"/>
                </a:solidFill>
                <a:effectLst/>
                <a:uLnTx/>
                <a:uFillTx/>
                <a:latin typeface="Century Gothic" panose="020F0302020204030204"/>
                <a:ea typeface="+mn-ea"/>
                <a:cs typeface="+mn-cs"/>
              </a:rPr>
            </a:br>
            <a:r>
              <a:rPr kumimoji="0" lang="en-US" sz="2400" b="0" i="0" u="none" strike="noStrike" kern="1200" cap="none" spc="0" normalizeH="0" baseline="0" noProof="0" dirty="0">
                <a:ln>
                  <a:noFill/>
                </a:ln>
                <a:solidFill>
                  <a:srgbClr val="236192"/>
                </a:solidFill>
                <a:effectLst/>
                <a:uLnTx/>
                <a:uFillTx/>
                <a:latin typeface="Century Gothic" panose="020F0302020204030204"/>
                <a:ea typeface="+mn-ea"/>
                <a:cs typeface="+mn-cs"/>
              </a:rPr>
              <a:t>43</a:t>
            </a:r>
            <a:r>
              <a:rPr kumimoji="0" lang="en-US" sz="2400" b="0" i="0" u="none" strike="noStrike" kern="1200" cap="none" spc="0" normalizeH="0" baseline="30000" noProof="0" dirty="0">
                <a:ln>
                  <a:noFill/>
                </a:ln>
                <a:solidFill>
                  <a:srgbClr val="236192"/>
                </a:solidFill>
                <a:effectLst/>
                <a:uLnTx/>
                <a:uFillTx/>
                <a:latin typeface="Century Gothic" panose="020F0302020204030204"/>
                <a:ea typeface="+mn-ea"/>
                <a:cs typeface="+mn-cs"/>
              </a:rPr>
              <a:t>%</a:t>
            </a:r>
            <a:endParaRPr kumimoji="0" lang="en-US" sz="2400" b="0" i="0" u="none" strike="noStrike" kern="1200" cap="none" spc="0" normalizeH="0" baseline="0" noProof="0" dirty="0">
              <a:ln>
                <a:noFill/>
              </a:ln>
              <a:solidFill>
                <a:srgbClr val="236192"/>
              </a:solidFill>
              <a:effectLst/>
              <a:uLnTx/>
              <a:uFillTx/>
              <a:latin typeface="Century Gothic" panose="020F0302020204030204"/>
              <a:ea typeface="+mn-ea"/>
              <a:cs typeface="+mn-cs"/>
            </a:endParaRPr>
          </a:p>
        </p:txBody>
      </p:sp>
      <p:sp>
        <p:nvSpPr>
          <p:cNvPr id="83" name="TextBox 82"/>
          <p:cNvSpPr txBox="1"/>
          <p:nvPr/>
        </p:nvSpPr>
        <p:spPr>
          <a:xfrm>
            <a:off x="8311587" y="2707944"/>
            <a:ext cx="615553" cy="584775"/>
          </a:xfrm>
          <a:prstGeom prst="rect">
            <a:avLst/>
          </a:prstGeom>
          <a:noFill/>
        </p:spPr>
        <p:txBody>
          <a:bodyPr wrap="none" lIns="0" tIns="0" rIns="0" bIns="0" rtlCol="0" anchor="b">
            <a:spAutoFit/>
          </a:bodyPr>
          <a:lstStyle/>
          <a:p>
            <a:pPr marL="0" marR="0" lvl="0" indent="0" algn="ctr" defTabSz="1086775" rtl="0" eaLnBrk="1" fontAlgn="auto" latinLnBrk="0" hangingPunct="1">
              <a:lnSpc>
                <a:spcPct val="100000"/>
              </a:lnSpc>
              <a:spcBef>
                <a:spcPts val="599"/>
              </a:spcBef>
              <a:spcAft>
                <a:spcPts val="0"/>
              </a:spcAft>
              <a:buClrTx/>
              <a:buSzTx/>
              <a:buFontTx/>
              <a:buNone/>
              <a:tabLst/>
              <a:defRPr/>
            </a:pPr>
            <a:r>
              <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rPr>
              <a:t>Europe</a:t>
            </a:r>
            <a:br>
              <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rPr>
            </a:br>
            <a:r>
              <a:rPr kumimoji="0" lang="en-US" sz="2400" b="0" i="0" u="none" strike="noStrike" kern="1200" cap="none" spc="0" normalizeH="0" baseline="0" noProof="0" dirty="0">
                <a:ln>
                  <a:noFill/>
                </a:ln>
                <a:solidFill>
                  <a:srgbClr val="236192"/>
                </a:solidFill>
                <a:effectLst/>
                <a:uLnTx/>
                <a:uFillTx/>
                <a:latin typeface="Century Gothic" panose="020F0302020204030204"/>
                <a:ea typeface="+mn-ea"/>
                <a:cs typeface="+mn-cs"/>
              </a:rPr>
              <a:t>37</a:t>
            </a:r>
            <a:r>
              <a:rPr kumimoji="0" lang="en-US" sz="2400" b="0" i="0" u="none" strike="noStrike" kern="1200" cap="none" spc="0" normalizeH="0" baseline="30000" noProof="0" dirty="0">
                <a:ln>
                  <a:noFill/>
                </a:ln>
                <a:solidFill>
                  <a:srgbClr val="236192"/>
                </a:solidFill>
                <a:effectLst/>
                <a:uLnTx/>
                <a:uFillTx/>
                <a:latin typeface="Century Gothic" panose="020F0302020204030204"/>
                <a:ea typeface="+mn-ea"/>
                <a:cs typeface="+mn-cs"/>
              </a:rPr>
              <a:t>%</a:t>
            </a:r>
            <a:endParaRPr kumimoji="0" lang="en-US" sz="2400" b="0" i="0" u="none" strike="noStrike" kern="1200" cap="none" spc="0" normalizeH="0" baseline="0" noProof="0" dirty="0">
              <a:ln>
                <a:noFill/>
              </a:ln>
              <a:solidFill>
                <a:srgbClr val="236192"/>
              </a:solidFill>
              <a:effectLst/>
              <a:uLnTx/>
              <a:uFillTx/>
              <a:latin typeface="Century Gothic" panose="020F0302020204030204"/>
              <a:ea typeface="+mn-ea"/>
              <a:cs typeface="+mn-cs"/>
            </a:endParaRPr>
          </a:p>
        </p:txBody>
      </p:sp>
      <p:sp>
        <p:nvSpPr>
          <p:cNvPr id="92" name="TextBox 91"/>
          <p:cNvSpPr txBox="1"/>
          <p:nvPr/>
        </p:nvSpPr>
        <p:spPr>
          <a:xfrm>
            <a:off x="10675557" y="3119182"/>
            <a:ext cx="997068" cy="584775"/>
          </a:xfrm>
          <a:prstGeom prst="rect">
            <a:avLst/>
          </a:prstGeom>
          <a:noFill/>
        </p:spPr>
        <p:txBody>
          <a:bodyPr wrap="none" lIns="0" tIns="0" rIns="0" bIns="0" rtlCol="0" anchor="b">
            <a:spAutoFit/>
          </a:bodyPr>
          <a:lstStyle/>
          <a:p>
            <a:pPr marL="0" marR="0" lvl="0" indent="0" algn="ctr" defTabSz="1086775" rtl="0" eaLnBrk="1" fontAlgn="auto" latinLnBrk="0" hangingPunct="1">
              <a:lnSpc>
                <a:spcPct val="100000"/>
              </a:lnSpc>
              <a:spcBef>
                <a:spcPts val="599"/>
              </a:spcBef>
              <a:spcAft>
                <a:spcPts val="0"/>
              </a:spcAft>
              <a:buClrTx/>
              <a:buSzTx/>
              <a:buFontTx/>
              <a:buNone/>
              <a:tabLst/>
              <a:defRPr/>
            </a:pPr>
            <a:r>
              <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rPr>
              <a:t>Asia Pacific</a:t>
            </a:r>
            <a:br>
              <a:rPr kumimoji="0" lang="en-US" sz="1400" b="0" i="0" u="none" strike="noStrike" kern="1200" cap="none" spc="0" normalizeH="0" baseline="0" noProof="0" dirty="0">
                <a:ln>
                  <a:noFill/>
                </a:ln>
                <a:solidFill>
                  <a:srgbClr val="3D4647"/>
                </a:solidFill>
                <a:effectLst/>
                <a:uLnTx/>
                <a:uFillTx/>
                <a:latin typeface="Century Gothic" panose="020F0302020204030204"/>
                <a:ea typeface="+mn-ea"/>
                <a:cs typeface="+mn-cs"/>
              </a:rPr>
            </a:br>
            <a:r>
              <a:rPr kumimoji="0" lang="en-US" sz="2400" b="0" i="0" u="none" strike="noStrike" kern="1200" cap="none" spc="0" normalizeH="0" baseline="0" noProof="0" dirty="0">
                <a:ln>
                  <a:noFill/>
                </a:ln>
                <a:solidFill>
                  <a:srgbClr val="236192"/>
                </a:solidFill>
                <a:effectLst/>
                <a:uLnTx/>
                <a:uFillTx/>
                <a:latin typeface="Century Gothic" panose="020F0302020204030204"/>
                <a:ea typeface="+mn-ea"/>
                <a:cs typeface="+mn-cs"/>
              </a:rPr>
              <a:t>20</a:t>
            </a:r>
            <a:r>
              <a:rPr kumimoji="0" lang="en-US" sz="2400" b="0" i="0" u="none" strike="noStrike" kern="1200" cap="none" spc="0" normalizeH="0" baseline="30000" noProof="0" dirty="0">
                <a:ln>
                  <a:noFill/>
                </a:ln>
                <a:solidFill>
                  <a:srgbClr val="236192"/>
                </a:solidFill>
                <a:effectLst/>
                <a:uLnTx/>
                <a:uFillTx/>
                <a:latin typeface="Century Gothic" panose="020F0302020204030204"/>
                <a:ea typeface="+mn-ea"/>
                <a:cs typeface="+mn-cs"/>
              </a:rPr>
              <a:t>%</a:t>
            </a:r>
            <a:endParaRPr kumimoji="0" lang="en-US" sz="2400" b="0" i="0" u="none" strike="noStrike" kern="1200" cap="none" spc="0" normalizeH="0" baseline="0" noProof="0" dirty="0">
              <a:ln>
                <a:noFill/>
              </a:ln>
              <a:solidFill>
                <a:srgbClr val="236192"/>
              </a:solidFill>
              <a:effectLst/>
              <a:uLnTx/>
              <a:uFillTx/>
              <a:latin typeface="Century Gothic" panose="020F0302020204030204"/>
              <a:ea typeface="+mn-ea"/>
              <a:cs typeface="+mn-cs"/>
            </a:endParaRPr>
          </a:p>
        </p:txBody>
      </p:sp>
      <p:sp>
        <p:nvSpPr>
          <p:cNvPr id="30" name="TextBox 29"/>
          <p:cNvSpPr txBox="1"/>
          <p:nvPr/>
        </p:nvSpPr>
        <p:spPr>
          <a:xfrm>
            <a:off x="4546312" y="5528696"/>
            <a:ext cx="1101579" cy="677108"/>
          </a:xfrm>
          <a:prstGeom prst="rect">
            <a:avLst/>
          </a:prstGeom>
          <a:noFill/>
        </p:spPr>
        <p:txBody>
          <a:bodyPr wrap="square" lIns="0" tIns="0" rIns="0" bIns="0" rtlCol="0" anchor="t">
            <a:spAutoFit/>
          </a:bodyPr>
          <a:lstStyle/>
          <a:p>
            <a:pPr marL="0" marR="0" lvl="0" indent="0" algn="ctr" defTabSz="1086775" rtl="0" eaLnBrk="1" fontAlgn="auto" latinLnBrk="0" hangingPunct="1">
              <a:lnSpc>
                <a:spcPct val="100000"/>
              </a:lnSpc>
              <a:spcBef>
                <a:spcPts val="0"/>
              </a:spcBef>
              <a:spcAft>
                <a:spcPts val="399"/>
              </a:spcAft>
              <a:buClrTx/>
              <a:buSzTx/>
              <a:buFontTx/>
              <a:buNone/>
              <a:tabLst/>
              <a:defRPr/>
            </a:pPr>
            <a:r>
              <a:rPr kumimoji="0" lang="en-US" sz="2800" b="0" i="0" u="none" strike="noStrike" kern="1200" cap="none" spc="0" normalizeH="0" baseline="0" noProof="0" dirty="0">
                <a:ln>
                  <a:noFill/>
                </a:ln>
                <a:solidFill>
                  <a:srgbClr val="236192"/>
                </a:solidFill>
                <a:effectLst/>
                <a:uLnTx/>
                <a:uFillTx/>
                <a:latin typeface="Century Gothic" panose="020F0302020204030204"/>
                <a:ea typeface="+mn-ea"/>
                <a:cs typeface="+mn-cs"/>
              </a:rPr>
              <a:t>6K+</a:t>
            </a:r>
            <a:br>
              <a:rPr kumimoji="0" lang="en-US" sz="3600" b="0" i="0" u="none" strike="noStrike" kern="1200" cap="none" spc="0" normalizeH="0" baseline="0" noProof="0" dirty="0">
                <a:ln>
                  <a:noFill/>
                </a:ln>
                <a:solidFill>
                  <a:srgbClr val="3D4647"/>
                </a:solidFill>
                <a:effectLst/>
                <a:uLnTx/>
                <a:uFillTx/>
                <a:latin typeface="Century Gothic" panose="020F0302020204030204"/>
                <a:ea typeface="+mn-ea"/>
                <a:cs typeface="+mn-cs"/>
              </a:rPr>
            </a:br>
            <a:r>
              <a:rPr kumimoji="0" lang="en-US" sz="1600" b="0" i="0" u="none" strike="noStrike" kern="1200" cap="none" spc="0" normalizeH="0" baseline="0" noProof="0" dirty="0">
                <a:ln>
                  <a:noFill/>
                </a:ln>
                <a:solidFill>
                  <a:srgbClr val="3D4647"/>
                </a:solidFill>
                <a:effectLst/>
                <a:uLnTx/>
                <a:uFillTx/>
                <a:latin typeface="Century Gothic" panose="020F0302020204030204"/>
                <a:ea typeface="+mn-ea"/>
                <a:cs typeface="+mn-cs"/>
              </a:rPr>
              <a:t>employees</a:t>
            </a:r>
          </a:p>
        </p:txBody>
      </p:sp>
      <p:sp>
        <p:nvSpPr>
          <p:cNvPr id="35" name="TextBox 34"/>
          <p:cNvSpPr txBox="1"/>
          <p:nvPr/>
        </p:nvSpPr>
        <p:spPr>
          <a:xfrm>
            <a:off x="7928243" y="5528696"/>
            <a:ext cx="2235351" cy="677108"/>
          </a:xfrm>
          <a:prstGeom prst="rect">
            <a:avLst/>
          </a:prstGeom>
          <a:noFill/>
        </p:spPr>
        <p:txBody>
          <a:bodyPr wrap="square" lIns="0" tIns="0" rIns="0" bIns="0" rtlCol="0" anchor="t">
            <a:spAutoFit/>
          </a:bodyPr>
          <a:lstStyle/>
          <a:p>
            <a:pPr marL="0" marR="0" lvl="0" indent="0" algn="ctr" defTabSz="1086775" rtl="0" eaLnBrk="1" fontAlgn="auto" latinLnBrk="0" hangingPunct="1">
              <a:lnSpc>
                <a:spcPct val="100000"/>
              </a:lnSpc>
              <a:spcBef>
                <a:spcPts val="0"/>
              </a:spcBef>
              <a:spcAft>
                <a:spcPts val="399"/>
              </a:spcAft>
              <a:buClrTx/>
              <a:buSzTx/>
              <a:buFontTx/>
              <a:buNone/>
              <a:tabLst/>
              <a:defRPr/>
            </a:pPr>
            <a:r>
              <a:rPr lang="en-US" sz="2800" dirty="0">
                <a:solidFill>
                  <a:srgbClr val="236192"/>
                </a:solidFill>
                <a:latin typeface="Century Gothic" panose="020F0302020204030204"/>
              </a:rPr>
              <a:t>55</a:t>
            </a:r>
            <a:r>
              <a:rPr kumimoji="0" lang="en-US" sz="2800" b="0" i="0" u="none" strike="noStrike" kern="1200" cap="none" spc="0" normalizeH="0" baseline="0" noProof="0" dirty="0">
                <a:ln>
                  <a:noFill/>
                </a:ln>
                <a:solidFill>
                  <a:srgbClr val="236192"/>
                </a:solidFill>
                <a:effectLst/>
                <a:uLnTx/>
                <a:uFillTx/>
                <a:latin typeface="Century Gothic" panose="020F0302020204030204"/>
                <a:ea typeface="+mn-ea"/>
                <a:cs typeface="+mn-cs"/>
              </a:rPr>
              <a:t>0K+</a:t>
            </a:r>
            <a:br>
              <a:rPr kumimoji="0" lang="en-US" sz="2594" b="0" i="0" u="none" strike="noStrike" kern="1200" cap="none" spc="0" normalizeH="0" baseline="0" noProof="0" dirty="0">
                <a:ln>
                  <a:noFill/>
                </a:ln>
                <a:solidFill>
                  <a:srgbClr val="3D4647"/>
                </a:solidFill>
                <a:effectLst/>
                <a:uLnTx/>
                <a:uFillTx/>
                <a:latin typeface="Century Gothic" panose="020F0302020204030204"/>
                <a:ea typeface="+mn-ea"/>
                <a:cs typeface="+mn-cs"/>
              </a:rPr>
            </a:br>
            <a:r>
              <a:rPr kumimoji="0" lang="en-US" sz="1600" b="0" i="0" u="none" strike="noStrike" kern="1200" cap="none" spc="0" normalizeH="0" baseline="0" noProof="0" dirty="0">
                <a:ln>
                  <a:noFill/>
                </a:ln>
                <a:solidFill>
                  <a:srgbClr val="3D4647"/>
                </a:solidFill>
                <a:effectLst/>
                <a:uLnTx/>
                <a:uFillTx/>
                <a:latin typeface="Century Gothic" panose="020F0302020204030204"/>
                <a:ea typeface="+mn-ea"/>
                <a:cs typeface="+mn-cs"/>
              </a:rPr>
              <a:t>ecosystem developers</a:t>
            </a:r>
          </a:p>
        </p:txBody>
      </p:sp>
      <p:sp>
        <p:nvSpPr>
          <p:cNvPr id="36" name="TextBox 35"/>
          <p:cNvSpPr txBox="1"/>
          <p:nvPr/>
        </p:nvSpPr>
        <p:spPr>
          <a:xfrm>
            <a:off x="2026920" y="5503113"/>
            <a:ext cx="1930004" cy="974626"/>
          </a:xfrm>
          <a:prstGeom prst="rect">
            <a:avLst/>
          </a:prstGeom>
          <a:noFill/>
        </p:spPr>
        <p:txBody>
          <a:bodyPr wrap="square" lIns="0" tIns="0" rIns="0" bIns="0" rtlCol="0" anchor="t">
            <a:spAutoFit/>
          </a:bodyPr>
          <a:lstStyle/>
          <a:p>
            <a:pPr marL="0" marR="0" lvl="0" indent="0" algn="ctr" defTabSz="1086775" rtl="0" eaLnBrk="1" fontAlgn="auto" latinLnBrk="0" hangingPunct="1">
              <a:lnSpc>
                <a:spcPct val="100000"/>
              </a:lnSpc>
              <a:spcBef>
                <a:spcPts val="0"/>
              </a:spcBef>
              <a:spcAft>
                <a:spcPts val="399"/>
              </a:spcAft>
              <a:buClrTx/>
              <a:buSzTx/>
              <a:buFontTx/>
              <a:buNone/>
              <a:tabLst/>
              <a:defRPr/>
            </a:pPr>
            <a:r>
              <a:rPr kumimoji="0" lang="en-US" sz="2800" b="0" i="0" u="none" strike="noStrike" kern="1200" cap="none" spc="0" normalizeH="0" baseline="0" noProof="0" dirty="0">
                <a:ln>
                  <a:noFill/>
                </a:ln>
                <a:solidFill>
                  <a:srgbClr val="236192"/>
                </a:solidFill>
                <a:effectLst/>
                <a:uLnTx/>
                <a:uFillTx/>
                <a:latin typeface="Century Gothic" panose="020F0302020204030204"/>
                <a:ea typeface="+mn-ea"/>
                <a:cs typeface="+mn-cs"/>
              </a:rPr>
              <a:t>$1.24B</a:t>
            </a:r>
          </a:p>
          <a:p>
            <a:pPr marL="0" marR="0" lvl="0" indent="0" algn="ctr" defTabSz="1086775" rtl="0" eaLnBrk="1" fontAlgn="auto" latinLnBrk="0" hangingPunct="1">
              <a:lnSpc>
                <a:spcPct val="100000"/>
              </a:lnSpc>
              <a:spcBef>
                <a:spcPts val="0"/>
              </a:spcBef>
              <a:spcAft>
                <a:spcPts val="399"/>
              </a:spcAft>
              <a:buClrTx/>
              <a:buSzTx/>
              <a:buFontTx/>
              <a:buNone/>
              <a:tabLst/>
              <a:defRPr/>
            </a:pPr>
            <a:r>
              <a:rPr kumimoji="0" lang="en-US" sz="1600" b="0" i="0" u="none" strike="noStrike" kern="1200" cap="none" spc="0" normalizeH="0" baseline="0" noProof="0" dirty="0">
                <a:ln>
                  <a:noFill/>
                </a:ln>
                <a:solidFill>
                  <a:srgbClr val="3D4647"/>
                </a:solidFill>
                <a:effectLst/>
                <a:uLnTx/>
                <a:uFillTx/>
                <a:latin typeface="Century Gothic" panose="020F0302020204030204"/>
                <a:ea typeface="+mn-ea"/>
                <a:cs typeface="+mn-cs"/>
              </a:rPr>
              <a:t>FY 2018 total revenue</a:t>
            </a:r>
          </a:p>
        </p:txBody>
      </p:sp>
      <p:grpSp>
        <p:nvGrpSpPr>
          <p:cNvPr id="5" name="Group 4"/>
          <p:cNvGrpSpPr/>
          <p:nvPr/>
        </p:nvGrpSpPr>
        <p:grpSpPr>
          <a:xfrm>
            <a:off x="6542797" y="1261553"/>
            <a:ext cx="5212080" cy="408904"/>
            <a:chOff x="6527716" y="1261553"/>
            <a:chExt cx="5212080" cy="408904"/>
          </a:xfrm>
        </p:grpSpPr>
        <p:sp>
          <p:nvSpPr>
            <p:cNvPr id="25" name="Rectangle 24"/>
            <p:cNvSpPr/>
            <p:nvPr/>
          </p:nvSpPr>
          <p:spPr>
            <a:xfrm>
              <a:off x="6527716" y="1261553"/>
              <a:ext cx="5212080" cy="4089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840" marR="0" lvl="0" indent="0" algn="l" defTabSz="1086775" rtl="0" eaLnBrk="1" fontAlgn="auto" latinLnBrk="0" hangingPunct="1">
                <a:lnSpc>
                  <a:spcPct val="100000"/>
                </a:lnSpc>
                <a:spcBef>
                  <a:spcPts val="0"/>
                </a:spcBef>
                <a:spcAft>
                  <a:spcPts val="0"/>
                </a:spcAft>
                <a:buClrTx/>
                <a:buSzTx/>
                <a:buFontTx/>
                <a:buNone/>
                <a:tabLst/>
                <a:defRPr/>
              </a:pPr>
              <a:endParaRPr kumimoji="0" lang="en-US" sz="1397" b="1" i="0" u="none" strike="noStrike" kern="1200" cap="none" spc="0" normalizeH="0" baseline="0" noProof="0" dirty="0">
                <a:ln>
                  <a:noFill/>
                </a:ln>
                <a:solidFill>
                  <a:srgbClr val="6CC04A"/>
                </a:solidFill>
                <a:effectLst/>
                <a:uLnTx/>
                <a:uFillTx/>
                <a:latin typeface="Century Gothic" panose="020F0302020204030204"/>
                <a:ea typeface="+mn-ea"/>
                <a:cs typeface="+mn-cs"/>
              </a:endParaRPr>
            </a:p>
          </p:txBody>
        </p:sp>
        <p:sp>
          <p:nvSpPr>
            <p:cNvPr id="26" name="TextBox 25"/>
            <p:cNvSpPr txBox="1"/>
            <p:nvPr/>
          </p:nvSpPr>
          <p:spPr>
            <a:xfrm>
              <a:off x="7912237" y="1327891"/>
              <a:ext cx="2273059" cy="276229"/>
            </a:xfrm>
            <a:prstGeom prst="rect">
              <a:avLst/>
            </a:prstGeom>
          </p:spPr>
          <p:txBody>
            <a:bodyPr wrap="none" lIns="0" tIns="0" rIns="0" bIns="0" rtlCol="0">
              <a:spAutoFit/>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kumimoji="0" lang="en-US" sz="1795" b="0" i="0" u="none" strike="noStrike" kern="1200" cap="none" spc="0" normalizeH="0" baseline="0" noProof="0" dirty="0">
                  <a:ln>
                    <a:noFill/>
                  </a:ln>
                  <a:solidFill>
                    <a:srgbClr val="FFFFFF"/>
                  </a:solidFill>
                  <a:effectLst/>
                  <a:uLnTx/>
                  <a:uFillTx/>
                  <a:latin typeface="Century Gothic" panose="020F0302020204030204"/>
                  <a:ea typeface="+mn-ea"/>
                  <a:cs typeface="+mn-cs"/>
                </a:rPr>
                <a:t>REVENUE BY REGION</a:t>
              </a:r>
            </a:p>
          </p:txBody>
        </p:sp>
      </p:grpSp>
      <p:sp>
        <p:nvSpPr>
          <p:cNvPr id="29" name="TextBox 28"/>
          <p:cNvSpPr txBox="1"/>
          <p:nvPr/>
        </p:nvSpPr>
        <p:spPr>
          <a:xfrm>
            <a:off x="6237278" y="5528696"/>
            <a:ext cx="1101579" cy="677108"/>
          </a:xfrm>
          <a:prstGeom prst="rect">
            <a:avLst/>
          </a:prstGeom>
          <a:noFill/>
        </p:spPr>
        <p:txBody>
          <a:bodyPr wrap="square" lIns="0" tIns="0" rIns="0" bIns="0" rtlCol="0" anchor="t">
            <a:spAutoFit/>
          </a:bodyPr>
          <a:lstStyle/>
          <a:p>
            <a:pPr marL="0" marR="0" lvl="0" indent="0" algn="ctr" defTabSz="1086775" rtl="0" eaLnBrk="1" fontAlgn="auto" latinLnBrk="0" hangingPunct="1">
              <a:lnSpc>
                <a:spcPct val="100000"/>
              </a:lnSpc>
              <a:spcBef>
                <a:spcPts val="0"/>
              </a:spcBef>
              <a:spcAft>
                <a:spcPts val="399"/>
              </a:spcAft>
              <a:buClrTx/>
              <a:buSzTx/>
              <a:buFontTx/>
              <a:buNone/>
              <a:tabLst/>
              <a:defRPr/>
            </a:pPr>
            <a:r>
              <a:rPr kumimoji="0" lang="en-US" sz="2800" b="0" i="0" u="none" strike="noStrike" kern="1200" cap="none" spc="0" normalizeH="0" baseline="0" noProof="0" dirty="0">
                <a:ln>
                  <a:noFill/>
                </a:ln>
                <a:solidFill>
                  <a:srgbClr val="236192"/>
                </a:solidFill>
                <a:effectLst/>
                <a:uLnTx/>
                <a:uFillTx/>
                <a:latin typeface="Century Gothic" panose="020F0302020204030204"/>
                <a:ea typeface="+mn-ea"/>
                <a:cs typeface="+mn-cs"/>
              </a:rPr>
              <a:t>1K+</a:t>
            </a:r>
            <a:br>
              <a:rPr kumimoji="0" lang="en-US" sz="3600" b="0" i="0" u="none" strike="noStrike" kern="1200" cap="none" spc="0" normalizeH="0" baseline="0" noProof="0" dirty="0">
                <a:ln>
                  <a:noFill/>
                </a:ln>
                <a:solidFill>
                  <a:srgbClr val="3D4647"/>
                </a:solidFill>
                <a:effectLst/>
                <a:uLnTx/>
                <a:uFillTx/>
                <a:latin typeface="Century Gothic" panose="020F0302020204030204"/>
                <a:ea typeface="+mn-ea"/>
                <a:cs typeface="+mn-cs"/>
              </a:rPr>
            </a:br>
            <a:r>
              <a:rPr kumimoji="0" lang="en-US" sz="1600" b="0" i="0" u="none" strike="noStrike" kern="1200" cap="none" spc="0" normalizeH="0" baseline="0" noProof="0" dirty="0">
                <a:ln>
                  <a:noFill/>
                </a:ln>
                <a:solidFill>
                  <a:srgbClr val="3D4647"/>
                </a:solidFill>
                <a:effectLst/>
                <a:uLnTx/>
                <a:uFillTx/>
                <a:latin typeface="Century Gothic" panose="020F0302020204030204"/>
                <a:ea typeface="+mn-ea"/>
                <a:cs typeface="+mn-cs"/>
              </a:rPr>
              <a:t>partners</a:t>
            </a:r>
          </a:p>
        </p:txBody>
      </p:sp>
    </p:spTree>
    <p:extLst>
      <p:ext uri="{BB962C8B-B14F-4D97-AF65-F5344CB8AC3E}">
        <p14:creationId xmlns:p14="http://schemas.microsoft.com/office/powerpoint/2010/main" val="636877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5EB77C1-5BA1-4478-853B-3A539B90E4D2}"/>
              </a:ext>
            </a:extLst>
          </p:cNvPr>
          <p:cNvPicPr>
            <a:picLocks noChangeAspect="1"/>
          </p:cNvPicPr>
          <p:nvPr/>
        </p:nvPicPr>
        <p:blipFill>
          <a:blip r:embed="rId2"/>
          <a:stretch>
            <a:fillRect/>
          </a:stretch>
        </p:blipFill>
        <p:spPr>
          <a:xfrm>
            <a:off x="3556796" y="307300"/>
            <a:ext cx="5078408" cy="6322100"/>
          </a:xfrm>
          <a:prstGeom prst="rect">
            <a:avLst/>
          </a:prstGeom>
        </p:spPr>
      </p:pic>
    </p:spTree>
    <p:extLst>
      <p:ext uri="{BB962C8B-B14F-4D97-AF65-F5344CB8AC3E}">
        <p14:creationId xmlns:p14="http://schemas.microsoft.com/office/powerpoint/2010/main" val="3475644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a:xfrm>
            <a:off x="-1" y="781039"/>
            <a:ext cx="12191681" cy="6076961"/>
          </a:xfrm>
        </p:spPr>
      </p:pic>
      <p:sp>
        <p:nvSpPr>
          <p:cNvPr id="3" name="Title 2"/>
          <p:cNvSpPr>
            <a:spLocks noGrp="1"/>
          </p:cNvSpPr>
          <p:nvPr>
            <p:ph type="title"/>
          </p:nvPr>
        </p:nvSpPr>
        <p:spPr/>
        <p:txBody>
          <a:bodyPr>
            <a:normAutofit/>
          </a:bodyPr>
          <a:lstStyle/>
          <a:p>
            <a:r>
              <a:rPr lang="en-US" dirty="0"/>
              <a:t>A global FOOD leader increases productivity</a:t>
            </a:r>
          </a:p>
        </p:txBody>
      </p:sp>
      <p:sp>
        <p:nvSpPr>
          <p:cNvPr id="9" name="Rectangle 8"/>
          <p:cNvSpPr/>
          <p:nvPr/>
        </p:nvSpPr>
        <p:spPr>
          <a:xfrm>
            <a:off x="0" y="4620458"/>
            <a:ext cx="12192000" cy="1072322"/>
          </a:xfrm>
          <a:prstGeom prst="rect">
            <a:avLst/>
          </a:prstGeom>
          <a:solidFill>
            <a:srgbClr val="000000">
              <a:alpha val="85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6078" tIns="38039" rIns="76078" bIns="274320" rtlCol="0" anchor="b"/>
          <a:lstStyle>
            <a:defPPr>
              <a:defRPr lang="en-US"/>
            </a:defPPr>
            <a:lvl1pPr marL="0" algn="l" defTabSz="1086775" rtl="0" eaLnBrk="1" latinLnBrk="0" hangingPunct="1">
              <a:defRPr sz="2200" kern="1200">
                <a:solidFill>
                  <a:schemeClr val="lt1"/>
                </a:solidFill>
                <a:latin typeface="+mn-lt"/>
                <a:ea typeface="+mn-ea"/>
                <a:cs typeface="+mn-cs"/>
              </a:defRPr>
            </a:lvl1pPr>
            <a:lvl2pPr marL="543388" algn="l" defTabSz="1086775" rtl="0" eaLnBrk="1" latinLnBrk="0" hangingPunct="1">
              <a:defRPr sz="2200" kern="1200">
                <a:solidFill>
                  <a:schemeClr val="lt1"/>
                </a:solidFill>
                <a:latin typeface="+mn-lt"/>
                <a:ea typeface="+mn-ea"/>
                <a:cs typeface="+mn-cs"/>
              </a:defRPr>
            </a:lvl2pPr>
            <a:lvl3pPr marL="1086775" algn="l" defTabSz="1086775" rtl="0" eaLnBrk="1" latinLnBrk="0" hangingPunct="1">
              <a:defRPr sz="2200" kern="1200">
                <a:solidFill>
                  <a:schemeClr val="lt1"/>
                </a:solidFill>
                <a:latin typeface="+mn-lt"/>
                <a:ea typeface="+mn-ea"/>
                <a:cs typeface="+mn-cs"/>
              </a:defRPr>
            </a:lvl3pPr>
            <a:lvl4pPr marL="1630163" algn="l" defTabSz="1086775" rtl="0" eaLnBrk="1" latinLnBrk="0" hangingPunct="1">
              <a:defRPr sz="2200" kern="1200">
                <a:solidFill>
                  <a:schemeClr val="lt1"/>
                </a:solidFill>
                <a:latin typeface="+mn-lt"/>
                <a:ea typeface="+mn-ea"/>
                <a:cs typeface="+mn-cs"/>
              </a:defRPr>
            </a:lvl4pPr>
            <a:lvl5pPr marL="2173551" algn="l" defTabSz="1086775" rtl="0" eaLnBrk="1" latinLnBrk="0" hangingPunct="1">
              <a:defRPr sz="2200" kern="1200">
                <a:solidFill>
                  <a:schemeClr val="lt1"/>
                </a:solidFill>
                <a:latin typeface="+mn-lt"/>
                <a:ea typeface="+mn-ea"/>
                <a:cs typeface="+mn-cs"/>
              </a:defRPr>
            </a:lvl5pPr>
            <a:lvl6pPr marL="2716938" algn="l" defTabSz="1086775" rtl="0" eaLnBrk="1" latinLnBrk="0" hangingPunct="1">
              <a:defRPr sz="2200" kern="1200">
                <a:solidFill>
                  <a:schemeClr val="lt1"/>
                </a:solidFill>
                <a:latin typeface="+mn-lt"/>
                <a:ea typeface="+mn-ea"/>
                <a:cs typeface="+mn-cs"/>
              </a:defRPr>
            </a:lvl6pPr>
            <a:lvl7pPr marL="3260326" algn="l" defTabSz="1086775" rtl="0" eaLnBrk="1" latinLnBrk="0" hangingPunct="1">
              <a:defRPr sz="2200" kern="1200">
                <a:solidFill>
                  <a:schemeClr val="lt1"/>
                </a:solidFill>
                <a:latin typeface="+mn-lt"/>
                <a:ea typeface="+mn-ea"/>
                <a:cs typeface="+mn-cs"/>
              </a:defRPr>
            </a:lvl7pPr>
            <a:lvl8pPr marL="3803713" algn="l" defTabSz="1086775" rtl="0" eaLnBrk="1" latinLnBrk="0" hangingPunct="1">
              <a:defRPr sz="2200" kern="1200">
                <a:solidFill>
                  <a:schemeClr val="lt1"/>
                </a:solidFill>
                <a:latin typeface="+mn-lt"/>
                <a:ea typeface="+mn-ea"/>
                <a:cs typeface="+mn-cs"/>
              </a:defRPr>
            </a:lvl8pPr>
            <a:lvl9pPr marL="4347102" algn="l" defTabSz="1086775" rtl="0" eaLnBrk="1" latinLnBrk="0" hangingPunct="1">
              <a:defRPr sz="2200" kern="1200">
                <a:solidFill>
                  <a:schemeClr val="lt1"/>
                </a:solidFill>
                <a:latin typeface="+mn-lt"/>
                <a:ea typeface="+mn-ea"/>
                <a:cs typeface="+mn-cs"/>
              </a:defRPr>
            </a:lvl9pP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0" name="TextBox 9"/>
          <p:cNvSpPr txBox="1"/>
          <p:nvPr/>
        </p:nvSpPr>
        <p:spPr>
          <a:xfrm>
            <a:off x="425004" y="4768821"/>
            <a:ext cx="5670996" cy="775597"/>
          </a:xfrm>
          <a:prstGeom prst="rect">
            <a:avLst/>
          </a:prstGeom>
          <a:noFill/>
        </p:spPr>
        <p:txBody>
          <a:bodyPr wrap="square" lIns="0" tIns="0" rIns="0" bIns="0" rtlCol="0" anchor="ctr">
            <a:spAutoFit/>
          </a:bodyPr>
          <a:lstStyle/>
          <a:p>
            <a:pPr marL="0" marR="0" lvl="0" indent="0" algn="l" defTabSz="1086775"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rPr>
              <a:t>5 to 8% improvement in </a:t>
            </a:r>
          </a:p>
          <a:p>
            <a:pPr marL="0" marR="0" lvl="0" indent="0" algn="l" defTabSz="1086775"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rPr>
              <a:t>productivity</a:t>
            </a:r>
          </a:p>
        </p:txBody>
      </p:sp>
      <p:grpSp>
        <p:nvGrpSpPr>
          <p:cNvPr id="2" name="Group 1"/>
          <p:cNvGrpSpPr/>
          <p:nvPr/>
        </p:nvGrpSpPr>
        <p:grpSpPr>
          <a:xfrm>
            <a:off x="6627733" y="3481138"/>
            <a:ext cx="5175349" cy="3006380"/>
            <a:chOff x="6233319" y="3251469"/>
            <a:chExt cx="5565650" cy="3241127"/>
          </a:xfrm>
        </p:grpSpPr>
        <p:pic>
          <p:nvPicPr>
            <p:cNvPr id="5" name="Picture 4" descr="f-b_op_design_02.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33319" y="3251469"/>
              <a:ext cx="5565650" cy="3241127"/>
            </a:xfrm>
            <a:prstGeom prst="rect">
              <a:avLst/>
            </a:prstGeom>
          </p:spPr>
        </p:pic>
        <p:pic>
          <p:nvPicPr>
            <p:cNvPr id="6" name="Picture 5" descr="fb_mockup_02_v3.ai"/>
            <p:cNvPicPr>
              <a:picLocks noChangeAspect="1"/>
            </p:cNvPicPr>
            <p:nvPr/>
          </p:nvPicPr>
          <p:blipFill rotWithShape="1">
            <a:blip r:embed="rId5" cstate="email">
              <a:extLst>
                <a:ext uri="{28A0092B-C50C-407E-A947-70E740481C1C}">
                  <a14:useLocalDpi xmlns:a14="http://schemas.microsoft.com/office/drawing/2010/main"/>
                </a:ext>
              </a:extLst>
            </a:blip>
            <a:srcRect t="42338" r="1107" b="15325"/>
            <a:stretch/>
          </p:blipFill>
          <p:spPr>
            <a:xfrm>
              <a:off x="6244144" y="4830341"/>
              <a:ext cx="4834644" cy="1221647"/>
            </a:xfrm>
            <a:prstGeom prst="rect">
              <a:avLst/>
            </a:prstGeom>
          </p:spPr>
        </p:pic>
      </p:grpSp>
      <p:pic>
        <p:nvPicPr>
          <p:cNvPr id="12" name="Picture 11" descr="PTC Manufactoring-94.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887629" y="-105162"/>
            <a:ext cx="989535" cy="987087"/>
          </a:xfrm>
          <a:prstGeom prst="rect">
            <a:avLst/>
          </a:prstGeom>
        </p:spPr>
      </p:pic>
    </p:spTree>
    <p:extLst>
      <p:ext uri="{BB962C8B-B14F-4D97-AF65-F5344CB8AC3E}">
        <p14:creationId xmlns:p14="http://schemas.microsoft.com/office/powerpoint/2010/main" val="4159692165"/>
      </p:ext>
    </p:extLst>
  </p:cSld>
  <p:clrMapOvr>
    <a:masterClrMapping/>
  </p:clrMapOvr>
  <p:transition spd="slow">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219200"/>
            <a:ext cx="12192001" cy="5715000"/>
          </a:xfrm>
          <a:prstGeom prst="rect">
            <a:avLst/>
          </a:prstGeom>
        </p:spPr>
      </p:pic>
      <p:sp>
        <p:nvSpPr>
          <p:cNvPr id="3" name="Title 2"/>
          <p:cNvSpPr>
            <a:spLocks noGrp="1"/>
          </p:cNvSpPr>
          <p:nvPr>
            <p:ph type="title"/>
          </p:nvPr>
        </p:nvSpPr>
        <p:spPr/>
        <p:txBody>
          <a:bodyPr>
            <a:normAutofit/>
          </a:bodyPr>
          <a:lstStyle/>
          <a:p>
            <a:r>
              <a:rPr lang="en-US" dirty="0"/>
              <a:t>A CPG leader improves operational performance </a:t>
            </a:r>
          </a:p>
        </p:txBody>
      </p:sp>
      <p:sp>
        <p:nvSpPr>
          <p:cNvPr id="9" name="Rectangle 8"/>
          <p:cNvSpPr/>
          <p:nvPr/>
        </p:nvSpPr>
        <p:spPr>
          <a:xfrm>
            <a:off x="0" y="4630646"/>
            <a:ext cx="12192000" cy="1072322"/>
          </a:xfrm>
          <a:prstGeom prst="rect">
            <a:avLst/>
          </a:prstGeom>
          <a:solidFill>
            <a:srgbClr val="000000">
              <a:alpha val="85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6078" tIns="38039" rIns="76078" bIns="274320" rtlCol="0" anchor="b"/>
          <a:lstStyle>
            <a:defPPr>
              <a:defRPr lang="en-US"/>
            </a:defPPr>
            <a:lvl1pPr marL="0" algn="l" defTabSz="1086775" rtl="0" eaLnBrk="1" latinLnBrk="0" hangingPunct="1">
              <a:defRPr sz="2200" kern="1200">
                <a:solidFill>
                  <a:schemeClr val="lt1"/>
                </a:solidFill>
                <a:latin typeface="+mn-lt"/>
                <a:ea typeface="+mn-ea"/>
                <a:cs typeface="+mn-cs"/>
              </a:defRPr>
            </a:lvl1pPr>
            <a:lvl2pPr marL="543388" algn="l" defTabSz="1086775" rtl="0" eaLnBrk="1" latinLnBrk="0" hangingPunct="1">
              <a:defRPr sz="2200" kern="1200">
                <a:solidFill>
                  <a:schemeClr val="lt1"/>
                </a:solidFill>
                <a:latin typeface="+mn-lt"/>
                <a:ea typeface="+mn-ea"/>
                <a:cs typeface="+mn-cs"/>
              </a:defRPr>
            </a:lvl2pPr>
            <a:lvl3pPr marL="1086775" algn="l" defTabSz="1086775" rtl="0" eaLnBrk="1" latinLnBrk="0" hangingPunct="1">
              <a:defRPr sz="2200" kern="1200">
                <a:solidFill>
                  <a:schemeClr val="lt1"/>
                </a:solidFill>
                <a:latin typeface="+mn-lt"/>
                <a:ea typeface="+mn-ea"/>
                <a:cs typeface="+mn-cs"/>
              </a:defRPr>
            </a:lvl3pPr>
            <a:lvl4pPr marL="1630163" algn="l" defTabSz="1086775" rtl="0" eaLnBrk="1" latinLnBrk="0" hangingPunct="1">
              <a:defRPr sz="2200" kern="1200">
                <a:solidFill>
                  <a:schemeClr val="lt1"/>
                </a:solidFill>
                <a:latin typeface="+mn-lt"/>
                <a:ea typeface="+mn-ea"/>
                <a:cs typeface="+mn-cs"/>
              </a:defRPr>
            </a:lvl4pPr>
            <a:lvl5pPr marL="2173551" algn="l" defTabSz="1086775" rtl="0" eaLnBrk="1" latinLnBrk="0" hangingPunct="1">
              <a:defRPr sz="2200" kern="1200">
                <a:solidFill>
                  <a:schemeClr val="lt1"/>
                </a:solidFill>
                <a:latin typeface="+mn-lt"/>
                <a:ea typeface="+mn-ea"/>
                <a:cs typeface="+mn-cs"/>
              </a:defRPr>
            </a:lvl5pPr>
            <a:lvl6pPr marL="2716938" algn="l" defTabSz="1086775" rtl="0" eaLnBrk="1" latinLnBrk="0" hangingPunct="1">
              <a:defRPr sz="2200" kern="1200">
                <a:solidFill>
                  <a:schemeClr val="lt1"/>
                </a:solidFill>
                <a:latin typeface="+mn-lt"/>
                <a:ea typeface="+mn-ea"/>
                <a:cs typeface="+mn-cs"/>
              </a:defRPr>
            </a:lvl6pPr>
            <a:lvl7pPr marL="3260326" algn="l" defTabSz="1086775" rtl="0" eaLnBrk="1" latinLnBrk="0" hangingPunct="1">
              <a:defRPr sz="2200" kern="1200">
                <a:solidFill>
                  <a:schemeClr val="lt1"/>
                </a:solidFill>
                <a:latin typeface="+mn-lt"/>
                <a:ea typeface="+mn-ea"/>
                <a:cs typeface="+mn-cs"/>
              </a:defRPr>
            </a:lvl7pPr>
            <a:lvl8pPr marL="3803713" algn="l" defTabSz="1086775" rtl="0" eaLnBrk="1" latinLnBrk="0" hangingPunct="1">
              <a:defRPr sz="2200" kern="1200">
                <a:solidFill>
                  <a:schemeClr val="lt1"/>
                </a:solidFill>
                <a:latin typeface="+mn-lt"/>
                <a:ea typeface="+mn-ea"/>
                <a:cs typeface="+mn-cs"/>
              </a:defRPr>
            </a:lvl8pPr>
            <a:lvl9pPr marL="4347102" algn="l" defTabSz="1086775" rtl="0" eaLnBrk="1" latinLnBrk="0" hangingPunct="1">
              <a:defRPr sz="2200" kern="1200">
                <a:solidFill>
                  <a:schemeClr val="lt1"/>
                </a:solidFill>
                <a:latin typeface="+mn-lt"/>
                <a:ea typeface="+mn-ea"/>
                <a:cs typeface="+mn-cs"/>
              </a:defRPr>
            </a:lvl9pP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0" name="TextBox 9"/>
          <p:cNvSpPr txBox="1"/>
          <p:nvPr/>
        </p:nvSpPr>
        <p:spPr>
          <a:xfrm>
            <a:off x="439034" y="4768817"/>
            <a:ext cx="6266566" cy="77559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Franklin Gothic Book" panose="020B0503020102020204" pitchFamily="34" charset="0"/>
                <a:ea typeface="+mn-ea"/>
                <a:cs typeface="+mn-cs"/>
              </a:rPr>
              <a:t>A standard approach for operational intelligence across dozens of factories </a:t>
            </a:r>
          </a:p>
        </p:txBody>
      </p:sp>
    </p:spTree>
    <p:extLst>
      <p:ext uri="{BB962C8B-B14F-4D97-AF65-F5344CB8AC3E}">
        <p14:creationId xmlns:p14="http://schemas.microsoft.com/office/powerpoint/2010/main" val="4111441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88736" cy="6858000"/>
          </a:xfrm>
          <a:prstGeom prst="rect">
            <a:avLst/>
          </a:prstGeom>
          <a:solidFill>
            <a:srgbClr val="000000"/>
          </a:solidFill>
        </p:spPr>
      </p:pic>
      <p:sp>
        <p:nvSpPr>
          <p:cNvPr id="7" name="TextBox 6"/>
          <p:cNvSpPr txBox="1"/>
          <p:nvPr/>
        </p:nvSpPr>
        <p:spPr>
          <a:xfrm>
            <a:off x="2971800" y="5169945"/>
            <a:ext cx="9067800" cy="664797"/>
          </a:xfrm>
          <a:prstGeom prst="rect">
            <a:avLst/>
          </a:prstGeom>
          <a:solidFill>
            <a:srgbClr val="0E0C0D"/>
          </a:solidFill>
        </p:spPr>
        <p:txBody>
          <a:bodyPr wrap="square" lIns="0" tIns="0" rIns="0" bIns="0" rtlCol="0" anchor="ctr">
            <a:spAutoFit/>
          </a:bodyPr>
          <a:lstStyle/>
          <a:p>
            <a:pPr>
              <a:lnSpc>
                <a:spcPct val="90000"/>
              </a:lnSpc>
            </a:pPr>
            <a:r>
              <a:rPr lang="en-US" sz="1600" dirty="0">
                <a:solidFill>
                  <a:schemeClr val="bg1"/>
                </a:solidFill>
              </a:rPr>
              <a:t>“We believe that by combining the ThingWorx Manufacturing Apps with our current IoT initiatives, we will be able to accelerate our efforts to bring real-time, data driven, insights to our world class production processes.”  – </a:t>
            </a:r>
            <a:r>
              <a:rPr lang="en-US" sz="1600" b="1" dirty="0">
                <a:solidFill>
                  <a:schemeClr val="bg1"/>
                </a:solidFill>
              </a:rPr>
              <a:t>Justin Hester, Senior Researcher</a:t>
            </a:r>
            <a:endParaRPr lang="en-US" sz="1600" dirty="0">
              <a:solidFill>
                <a:schemeClr val="bg1"/>
              </a:solidFill>
              <a:latin typeface="Franklin Gothic Book" panose="020B0503020102020204" pitchFamily="34" charset="0"/>
            </a:endParaRPr>
          </a:p>
        </p:txBody>
      </p:sp>
      <p:pic>
        <p:nvPicPr>
          <p:cNvPr id="2" name="Picture 1"/>
          <p:cNvPicPr>
            <a:picLocks noChangeAspect="1"/>
          </p:cNvPicPr>
          <p:nvPr/>
        </p:nvPicPr>
        <p:blipFill>
          <a:blip r:embed="rId4"/>
          <a:stretch>
            <a:fillRect/>
          </a:stretch>
        </p:blipFill>
        <p:spPr>
          <a:xfrm>
            <a:off x="304800" y="5029200"/>
            <a:ext cx="2441347" cy="927439"/>
          </a:xfrm>
          <a:prstGeom prst="rect">
            <a:avLst/>
          </a:prstGeom>
        </p:spPr>
      </p:pic>
    </p:spTree>
    <p:extLst>
      <p:ext uri="{BB962C8B-B14F-4D97-AF65-F5344CB8AC3E}">
        <p14:creationId xmlns:p14="http://schemas.microsoft.com/office/powerpoint/2010/main" val="732129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14257" y="1594"/>
          <a:ext cx="1591" cy="1587"/>
        </p:xfrm>
        <a:graphic>
          <a:graphicData uri="http://schemas.openxmlformats.org/presentationml/2006/ole">
            <mc:AlternateContent xmlns:mc="http://schemas.openxmlformats.org/markup-compatibility/2006">
              <mc:Choice xmlns:v="urn:schemas-microsoft-com:vml" Requires="v">
                <p:oleObj spid="_x0000_s57396"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14257" y="1594"/>
                        <a:ext cx="1591" cy="1587"/>
                      </a:xfrm>
                      <a:prstGeom prst="rect">
                        <a:avLst/>
                      </a:prstGeom>
                    </p:spPr>
                  </p:pic>
                </p:oleObj>
              </mc:Fallback>
            </mc:AlternateContent>
          </a:graphicData>
        </a:graphic>
      </p:graphicFrame>
      <p:pic>
        <p:nvPicPr>
          <p:cNvPr id="4" name="Picture Placeholder 3"/>
          <p:cNvPicPr>
            <a:picLocks noGrp="1" noChangeAspect="1"/>
          </p:cNvPicPr>
          <p:nvPr>
            <p:ph type="pic" sz="quarter" idx="10"/>
          </p:nvPr>
        </p:nvPicPr>
        <p:blipFill rotWithShape="1">
          <a:blip r:embed="rId7" cstate="email">
            <a:extLst>
              <a:ext uri="{28A0092B-C50C-407E-A947-70E740481C1C}">
                <a14:useLocalDpi xmlns:a14="http://schemas.microsoft.com/office/drawing/2010/main"/>
              </a:ext>
            </a:extLst>
          </a:blip>
          <a:srcRect/>
          <a:stretch/>
        </p:blipFill>
        <p:spPr/>
      </p:pic>
      <p:sp>
        <p:nvSpPr>
          <p:cNvPr id="2" name="Title 1"/>
          <p:cNvSpPr>
            <a:spLocks noGrp="1"/>
          </p:cNvSpPr>
          <p:nvPr>
            <p:ph type="title"/>
          </p:nvPr>
        </p:nvSpPr>
        <p:spPr/>
        <p:txBody>
          <a:bodyPr>
            <a:normAutofit fontScale="90000"/>
          </a:bodyPr>
          <a:lstStyle/>
          <a:p>
            <a:r>
              <a:rPr lang="en-US" dirty="0"/>
              <a:t>Smart, connected assembly line for improved quality</a:t>
            </a:r>
            <a:endParaRPr lang="en-US" i="1" dirty="0"/>
          </a:p>
        </p:txBody>
      </p:sp>
      <p:sp>
        <p:nvSpPr>
          <p:cNvPr id="18" name="Rectangle 17"/>
          <p:cNvSpPr/>
          <p:nvPr/>
        </p:nvSpPr>
        <p:spPr>
          <a:xfrm>
            <a:off x="3" y="4630646"/>
            <a:ext cx="2894740" cy="1072322"/>
          </a:xfrm>
          <a:prstGeom prst="rect">
            <a:avLst/>
          </a:prstGeom>
          <a:solidFill>
            <a:schemeClr val="bg1">
              <a:alpha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6078" tIns="38039" rIns="76078" bIns="274320" rtlCol="0" anchor="b"/>
          <a:lstStyle>
            <a:defPPr>
              <a:defRPr lang="en-US"/>
            </a:defPPr>
            <a:lvl1pPr marL="0" algn="l" defTabSz="1086775" rtl="0" eaLnBrk="1" latinLnBrk="0" hangingPunct="1">
              <a:defRPr sz="2200" kern="1200">
                <a:solidFill>
                  <a:schemeClr val="lt1"/>
                </a:solidFill>
                <a:latin typeface="+mn-lt"/>
                <a:ea typeface="+mn-ea"/>
                <a:cs typeface="+mn-cs"/>
              </a:defRPr>
            </a:lvl1pPr>
            <a:lvl2pPr marL="543388" algn="l" defTabSz="1086775" rtl="0" eaLnBrk="1" latinLnBrk="0" hangingPunct="1">
              <a:defRPr sz="2200" kern="1200">
                <a:solidFill>
                  <a:schemeClr val="lt1"/>
                </a:solidFill>
                <a:latin typeface="+mn-lt"/>
                <a:ea typeface="+mn-ea"/>
                <a:cs typeface="+mn-cs"/>
              </a:defRPr>
            </a:lvl2pPr>
            <a:lvl3pPr marL="1086775" algn="l" defTabSz="1086775" rtl="0" eaLnBrk="1" latinLnBrk="0" hangingPunct="1">
              <a:defRPr sz="2200" kern="1200">
                <a:solidFill>
                  <a:schemeClr val="lt1"/>
                </a:solidFill>
                <a:latin typeface="+mn-lt"/>
                <a:ea typeface="+mn-ea"/>
                <a:cs typeface="+mn-cs"/>
              </a:defRPr>
            </a:lvl3pPr>
            <a:lvl4pPr marL="1630163" algn="l" defTabSz="1086775" rtl="0" eaLnBrk="1" latinLnBrk="0" hangingPunct="1">
              <a:defRPr sz="2200" kern="1200">
                <a:solidFill>
                  <a:schemeClr val="lt1"/>
                </a:solidFill>
                <a:latin typeface="+mn-lt"/>
                <a:ea typeface="+mn-ea"/>
                <a:cs typeface="+mn-cs"/>
              </a:defRPr>
            </a:lvl4pPr>
            <a:lvl5pPr marL="2173551" algn="l" defTabSz="1086775" rtl="0" eaLnBrk="1" latinLnBrk="0" hangingPunct="1">
              <a:defRPr sz="2200" kern="1200">
                <a:solidFill>
                  <a:schemeClr val="lt1"/>
                </a:solidFill>
                <a:latin typeface="+mn-lt"/>
                <a:ea typeface="+mn-ea"/>
                <a:cs typeface="+mn-cs"/>
              </a:defRPr>
            </a:lvl5pPr>
            <a:lvl6pPr marL="2716938" algn="l" defTabSz="1086775" rtl="0" eaLnBrk="1" latinLnBrk="0" hangingPunct="1">
              <a:defRPr sz="2200" kern="1200">
                <a:solidFill>
                  <a:schemeClr val="lt1"/>
                </a:solidFill>
                <a:latin typeface="+mn-lt"/>
                <a:ea typeface="+mn-ea"/>
                <a:cs typeface="+mn-cs"/>
              </a:defRPr>
            </a:lvl6pPr>
            <a:lvl7pPr marL="3260326" algn="l" defTabSz="1086775" rtl="0" eaLnBrk="1" latinLnBrk="0" hangingPunct="1">
              <a:defRPr sz="2200" kern="1200">
                <a:solidFill>
                  <a:schemeClr val="lt1"/>
                </a:solidFill>
                <a:latin typeface="+mn-lt"/>
                <a:ea typeface="+mn-ea"/>
                <a:cs typeface="+mn-cs"/>
              </a:defRPr>
            </a:lvl7pPr>
            <a:lvl8pPr marL="3803713" algn="l" defTabSz="1086775" rtl="0" eaLnBrk="1" latinLnBrk="0" hangingPunct="1">
              <a:defRPr sz="2200" kern="1200">
                <a:solidFill>
                  <a:schemeClr val="lt1"/>
                </a:solidFill>
                <a:latin typeface="+mn-lt"/>
                <a:ea typeface="+mn-ea"/>
                <a:cs typeface="+mn-cs"/>
              </a:defRPr>
            </a:lvl8pPr>
            <a:lvl9pPr marL="4347102" algn="l" defTabSz="1086775" rtl="0" eaLnBrk="1" latinLnBrk="0" hangingPunct="1">
              <a:defRPr sz="2200" kern="1200">
                <a:solidFill>
                  <a:schemeClr val="lt1"/>
                </a:solidFill>
                <a:latin typeface="+mn-lt"/>
                <a:ea typeface="+mn-ea"/>
                <a:cs typeface="+mn-cs"/>
              </a:defRPr>
            </a:lvl9pP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9" name="Rectangle 18"/>
          <p:cNvSpPr/>
          <p:nvPr/>
        </p:nvSpPr>
        <p:spPr>
          <a:xfrm>
            <a:off x="2894740" y="4630646"/>
            <a:ext cx="9297259" cy="1072322"/>
          </a:xfrm>
          <a:prstGeom prst="rect">
            <a:avLst/>
          </a:prstGeom>
          <a:solidFill>
            <a:srgbClr val="000000">
              <a:alpha val="85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6078" tIns="38039" rIns="76078" bIns="274320" rtlCol="0" anchor="b"/>
          <a:lstStyle>
            <a:defPPr>
              <a:defRPr lang="en-US"/>
            </a:defPPr>
            <a:lvl1pPr marL="0" algn="l" defTabSz="1086775" rtl="0" eaLnBrk="1" latinLnBrk="0" hangingPunct="1">
              <a:defRPr sz="2200" kern="1200">
                <a:solidFill>
                  <a:schemeClr val="lt1"/>
                </a:solidFill>
                <a:latin typeface="+mn-lt"/>
                <a:ea typeface="+mn-ea"/>
                <a:cs typeface="+mn-cs"/>
              </a:defRPr>
            </a:lvl1pPr>
            <a:lvl2pPr marL="543388" algn="l" defTabSz="1086775" rtl="0" eaLnBrk="1" latinLnBrk="0" hangingPunct="1">
              <a:defRPr sz="2200" kern="1200">
                <a:solidFill>
                  <a:schemeClr val="lt1"/>
                </a:solidFill>
                <a:latin typeface="+mn-lt"/>
                <a:ea typeface="+mn-ea"/>
                <a:cs typeface="+mn-cs"/>
              </a:defRPr>
            </a:lvl2pPr>
            <a:lvl3pPr marL="1086775" algn="l" defTabSz="1086775" rtl="0" eaLnBrk="1" latinLnBrk="0" hangingPunct="1">
              <a:defRPr sz="2200" kern="1200">
                <a:solidFill>
                  <a:schemeClr val="lt1"/>
                </a:solidFill>
                <a:latin typeface="+mn-lt"/>
                <a:ea typeface="+mn-ea"/>
                <a:cs typeface="+mn-cs"/>
              </a:defRPr>
            </a:lvl3pPr>
            <a:lvl4pPr marL="1630163" algn="l" defTabSz="1086775" rtl="0" eaLnBrk="1" latinLnBrk="0" hangingPunct="1">
              <a:defRPr sz="2200" kern="1200">
                <a:solidFill>
                  <a:schemeClr val="lt1"/>
                </a:solidFill>
                <a:latin typeface="+mn-lt"/>
                <a:ea typeface="+mn-ea"/>
                <a:cs typeface="+mn-cs"/>
              </a:defRPr>
            </a:lvl4pPr>
            <a:lvl5pPr marL="2173551" algn="l" defTabSz="1086775" rtl="0" eaLnBrk="1" latinLnBrk="0" hangingPunct="1">
              <a:defRPr sz="2200" kern="1200">
                <a:solidFill>
                  <a:schemeClr val="lt1"/>
                </a:solidFill>
                <a:latin typeface="+mn-lt"/>
                <a:ea typeface="+mn-ea"/>
                <a:cs typeface="+mn-cs"/>
              </a:defRPr>
            </a:lvl5pPr>
            <a:lvl6pPr marL="2716938" algn="l" defTabSz="1086775" rtl="0" eaLnBrk="1" latinLnBrk="0" hangingPunct="1">
              <a:defRPr sz="2200" kern="1200">
                <a:solidFill>
                  <a:schemeClr val="lt1"/>
                </a:solidFill>
                <a:latin typeface="+mn-lt"/>
                <a:ea typeface="+mn-ea"/>
                <a:cs typeface="+mn-cs"/>
              </a:defRPr>
            </a:lvl6pPr>
            <a:lvl7pPr marL="3260326" algn="l" defTabSz="1086775" rtl="0" eaLnBrk="1" latinLnBrk="0" hangingPunct="1">
              <a:defRPr sz="2200" kern="1200">
                <a:solidFill>
                  <a:schemeClr val="lt1"/>
                </a:solidFill>
                <a:latin typeface="+mn-lt"/>
                <a:ea typeface="+mn-ea"/>
                <a:cs typeface="+mn-cs"/>
              </a:defRPr>
            </a:lvl7pPr>
            <a:lvl8pPr marL="3803713" algn="l" defTabSz="1086775" rtl="0" eaLnBrk="1" latinLnBrk="0" hangingPunct="1">
              <a:defRPr sz="2200" kern="1200">
                <a:solidFill>
                  <a:schemeClr val="lt1"/>
                </a:solidFill>
                <a:latin typeface="+mn-lt"/>
                <a:ea typeface="+mn-ea"/>
                <a:cs typeface="+mn-cs"/>
              </a:defRPr>
            </a:lvl8pPr>
            <a:lvl9pPr marL="4347102" algn="l" defTabSz="1086775" rtl="0" eaLnBrk="1" latinLnBrk="0" hangingPunct="1">
              <a:defRPr sz="2200" kern="1200">
                <a:solidFill>
                  <a:schemeClr val="lt1"/>
                </a:solidFill>
                <a:latin typeface="+mn-lt"/>
                <a:ea typeface="+mn-ea"/>
                <a:cs typeface="+mn-cs"/>
              </a:defRPr>
            </a:lvl9pP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20" name="TextBox 19"/>
          <p:cNvSpPr txBox="1"/>
          <p:nvPr/>
        </p:nvSpPr>
        <p:spPr>
          <a:xfrm>
            <a:off x="3212662" y="4824220"/>
            <a:ext cx="8760307" cy="664797"/>
          </a:xfrm>
          <a:prstGeom prst="rect">
            <a:avLst/>
          </a:prstGeom>
          <a:noFill/>
        </p:spPr>
        <p:txBody>
          <a:bodyPr wrap="square" lIns="0" tIns="0" rIns="0" bIns="0" rtlCol="0" anchor="ctr">
            <a:spAutoFit/>
          </a:bodyPr>
          <a:lstStyle/>
          <a:p>
            <a:pPr marL="0" marR="0" lvl="0" indent="0" algn="l" defTabSz="1086775"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rPr>
              <a:t>Leading aircraft manufacturer with €40 billion in revenue and 55,000 employees</a:t>
            </a:r>
          </a:p>
        </p:txBody>
      </p:sp>
      <p:pic>
        <p:nvPicPr>
          <p:cNvPr id="21" name="Picture 2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59411" y="4881246"/>
            <a:ext cx="2375918" cy="571133"/>
          </a:xfrm>
          <a:prstGeom prst="rect">
            <a:avLst/>
          </a:prstGeom>
        </p:spPr>
      </p:pic>
      <p:sp>
        <p:nvSpPr>
          <p:cNvPr id="22" name="Rectangle 6"/>
          <p:cNvSpPr txBox="1">
            <a:spLocks noChangeArrowheads="1"/>
          </p:cNvSpPr>
          <p:nvPr/>
        </p:nvSpPr>
        <p:spPr bwMode="auto">
          <a:xfrm>
            <a:off x="11308896" y="6629405"/>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54</a:t>
            </a:fld>
            <a:endParaRPr kumimoji="0" lang="en-US" sz="900" b="0" i="0" u="none" strike="noStrike" kern="1200" cap="none" spc="0" normalizeH="0" baseline="0" noProof="0" dirty="0">
              <a:ln>
                <a:noFill/>
              </a:ln>
              <a:solidFill>
                <a:srgbClr val="FFFFFF"/>
              </a:solidFill>
              <a:effectLst/>
              <a:uLnTx/>
              <a:uFillTx/>
              <a:latin typeface="Century Gothic" panose="020F0302020204030204"/>
              <a:ea typeface="MS PGothic" pitchFamily="34" charset="-128"/>
              <a:cs typeface="+mn-cs"/>
            </a:endParaRPr>
          </a:p>
        </p:txBody>
      </p:sp>
      <p:pic>
        <p:nvPicPr>
          <p:cNvPr id="10" name="Picture 9" descr="PTC Manufactoring-95.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921210" y="-107245"/>
            <a:ext cx="996152" cy="993688"/>
          </a:xfrm>
          <a:prstGeom prst="rect">
            <a:avLst/>
          </a:prstGeom>
        </p:spPr>
      </p:pic>
    </p:spTree>
    <p:extLst>
      <p:ext uri="{BB962C8B-B14F-4D97-AF65-F5344CB8AC3E}">
        <p14:creationId xmlns:p14="http://schemas.microsoft.com/office/powerpoint/2010/main" val="671240957"/>
      </p:ext>
    </p:extLst>
  </p:cSld>
  <p:clrMapOvr>
    <a:masterClrMapping/>
  </p:clrMapOvr>
  <p:transition spd="slow">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659692" y="1591"/>
          <a:ext cx="1193" cy="1587"/>
        </p:xfrm>
        <a:graphic>
          <a:graphicData uri="http://schemas.openxmlformats.org/presentationml/2006/ole">
            <mc:AlternateContent xmlns:mc="http://schemas.openxmlformats.org/markup-compatibility/2006">
              <mc:Choice xmlns:v="urn:schemas-microsoft-com:vml" Requires="v">
                <p:oleObj spid="_x0000_s54333"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2659692" y="1591"/>
                        <a:ext cx="1193"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t>Leading Oil-Rigs Builder</a:t>
            </a:r>
            <a:endParaRPr lang="en-US" i="1" dirty="0"/>
          </a:p>
        </p:txBody>
      </p:sp>
      <p:sp>
        <p:nvSpPr>
          <p:cNvPr id="13" name="TextBox 12"/>
          <p:cNvSpPr txBox="1"/>
          <p:nvPr/>
        </p:nvSpPr>
        <p:spPr>
          <a:xfrm>
            <a:off x="228600" y="1747703"/>
            <a:ext cx="8394192" cy="2708434"/>
          </a:xfrm>
          <a:prstGeom prst="rect">
            <a:avLst/>
          </a:prstGeom>
          <a:noFill/>
        </p:spPr>
        <p:txBody>
          <a:bodyPr wrap="square" lIns="0" tIns="0" rIns="0" bIns="0" rtlCol="0">
            <a:spAutoFit/>
          </a:bodyPr>
          <a:lstStyle>
            <a:defPPr>
              <a:defRPr lang="en-US"/>
            </a:defPPr>
            <a:lvl1pPr>
              <a:defRPr sz="1600" i="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F0302020204030204"/>
                <a:ea typeface="+mn-ea"/>
                <a:cs typeface="+mn-cs"/>
              </a:rPr>
              <a:t>Challen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F0302020204030204"/>
                <a:ea typeface="+mn-ea"/>
                <a:cs typeface="+mn-cs"/>
              </a:rPr>
              <a:t>Unable to monitor the oil-rigs health status from the headquarter due to limited communication network and remote location of the rig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F0302020204030204"/>
                <a:ea typeface="+mn-ea"/>
                <a:cs typeface="+mn-cs"/>
              </a:rPr>
              <a:t>Unable to manage maintenance work-order in real-time.</a:t>
            </a:r>
            <a:endParaRPr kumimoji="0" lang="en-CA" sz="1600" b="0" i="0" u="none" strike="noStrike" kern="0" cap="none" spc="0" normalizeH="0" baseline="0" noProof="0" dirty="0">
              <a:ln>
                <a:noFill/>
              </a:ln>
              <a:solidFill>
                <a:srgbClr val="6CC04A"/>
              </a:solidFill>
              <a:effectLst/>
              <a:uLnTx/>
              <a:uFillTx/>
              <a:latin typeface="Century Gothic"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F0302020204030204"/>
                <a:ea typeface="+mn-ea"/>
                <a:cs typeface="+mn-cs"/>
              </a:rPr>
              <a:t>Go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F0302020204030204"/>
                <a:ea typeface="+mn-ea"/>
                <a:cs typeface="+mn-cs"/>
              </a:rPr>
              <a:t>Technology enablement to move business model from selling product to selling 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F0302020204030204"/>
                <a:ea typeface="+mn-ea"/>
                <a:cs typeface="+mn-cs"/>
              </a:rPr>
              <a:t>To connect to key assets and monitor the overall health status of all the oil-rigs in real-time from headquar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F0302020204030204"/>
                <a:ea typeface="+mn-ea"/>
                <a:cs typeface="+mn-cs"/>
              </a:rPr>
              <a:t>To generate and manage the maintenance work-order in real-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600" b="0" i="0" u="none" strike="noStrike" kern="0" cap="none" spc="0" normalizeH="0" baseline="0" noProof="0" dirty="0">
              <a:ln>
                <a:noFill/>
              </a:ln>
              <a:solidFill>
                <a:srgbClr val="3D4647"/>
              </a:solidFill>
              <a:effectLst/>
              <a:uLnTx/>
              <a:uFillTx/>
              <a:latin typeface="Century Gothic" panose="020F0302020204030204"/>
              <a:ea typeface="+mn-ea"/>
              <a:cs typeface="+mn-cs"/>
            </a:endParaRPr>
          </a:p>
        </p:txBody>
      </p:sp>
      <p:sp>
        <p:nvSpPr>
          <p:cNvPr id="3" name="AutoShape 4" descr="https://www.topglove.com.my/images/header/Industrial.png"/>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noProof="0">
              <a:ln>
                <a:noFill/>
              </a:ln>
              <a:solidFill>
                <a:sysClr val="windowText" lastClr="000000"/>
              </a:solidFill>
              <a:effectLst/>
              <a:uLnTx/>
              <a:uFillTx/>
              <a:latin typeface="Century Gothic" panose="020F0302020204030204"/>
              <a:ea typeface="+mn-ea"/>
              <a:cs typeface="+mn-cs"/>
            </a:endParaRPr>
          </a:p>
        </p:txBody>
      </p:sp>
      <p:sp>
        <p:nvSpPr>
          <p:cNvPr id="5" name="Rectangle 4"/>
          <p:cNvSpPr/>
          <p:nvPr/>
        </p:nvSpPr>
        <p:spPr>
          <a:xfrm>
            <a:off x="228600" y="797771"/>
            <a:ext cx="11613648"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2400" b="1" i="0" u="none" strike="noStrike" kern="0" cap="none" spc="0" normalizeH="0" baseline="0" noProof="0" dirty="0">
                <a:ln>
                  <a:noFill/>
                </a:ln>
                <a:solidFill>
                  <a:sysClr val="windowText" lastClr="000000"/>
                </a:solidFill>
                <a:effectLst/>
                <a:uLnTx/>
                <a:uFillTx/>
                <a:latin typeface="Century Gothic" panose="020F0302020204030204"/>
                <a:ea typeface="+mn-ea"/>
                <a:cs typeface="+mn-cs"/>
              </a:rPr>
              <a:t>One of the world’s largest offshore oil-rigs builder with a global network of 20 yards and offices.</a:t>
            </a:r>
          </a:p>
        </p:txBody>
      </p:sp>
      <p:pic>
        <p:nvPicPr>
          <p:cNvPr id="19496" name="Picture 40" descr="Related imag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05088" y="1747703"/>
            <a:ext cx="2963424" cy="264112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86669F40-8042-4388-9853-9C9DD6286AE6}"/>
              </a:ext>
            </a:extLst>
          </p:cNvPr>
          <p:cNvSpPr txBox="1"/>
          <p:nvPr/>
        </p:nvSpPr>
        <p:spPr>
          <a:xfrm>
            <a:off x="228600" y="4269105"/>
            <a:ext cx="10820400" cy="2462213"/>
          </a:xfrm>
          <a:prstGeom prst="rect">
            <a:avLst/>
          </a:prstGeom>
          <a:noFill/>
        </p:spPr>
        <p:txBody>
          <a:bodyPr wrap="square" lIns="0" tIns="0" rIns="0" bIns="0" rtlCol="0">
            <a:spAutoFit/>
          </a:bodyPr>
          <a:lstStyle>
            <a:defPPr>
              <a:defRPr lang="en-US"/>
            </a:defPPr>
            <a:lvl1pPr>
              <a:defRPr sz="1600" i="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F0302020204030204"/>
                <a:ea typeface="+mn-ea"/>
                <a:cs typeface="+mn-cs"/>
              </a:rPr>
              <a:t>So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rPr>
              <a:t>ThingWorx Connectivity was selected to interface to desperate sub-systems, EAM and ERP to create a digital threa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rPr>
              <a:t>Thingworx foundation is used to develop an role based application to monitor the oil-rigs health status and to manage the maintenance work-order in real-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rPr>
              <a:t>Utilizing both </a:t>
            </a:r>
            <a:r>
              <a:rPr kumimoji="0" lang="en-US" sz="1600" b="0" i="0" u="none" strike="noStrike" kern="0" cap="none" spc="0" normalizeH="0" baseline="0" noProof="0" dirty="0" err="1">
                <a:ln>
                  <a:noFill/>
                </a:ln>
                <a:solidFill>
                  <a:srgbClr val="3D4647"/>
                </a:solidFill>
                <a:effectLst/>
                <a:uLnTx/>
                <a:uFillTx/>
                <a:latin typeface="Century Gothic" panose="020F0302020204030204"/>
                <a:ea typeface="+mn-ea"/>
                <a:cs typeface="+mn-cs"/>
              </a:rPr>
              <a:t>ThingWorx’s</a:t>
            </a:r>
            <a:r>
              <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rPr>
              <a:t> on-premises and cloud solution to overcome the challenge in communication net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F0302020204030204"/>
                <a:ea typeface="+mn-ea"/>
                <a:cs typeface="+mn-cs"/>
              </a:rPr>
              <a:t>Benef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F0302020204030204"/>
                <a:ea typeface="+mn-ea"/>
                <a:cs typeface="+mn-cs"/>
              </a:rPr>
              <a:t>Enhanced oil-rigs health visibility and improve up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F0302020204030204"/>
                <a:ea typeface="+mn-ea"/>
                <a:cs typeface="+mn-cs"/>
              </a:rPr>
              <a:t>Better maintenance services and spare parts management.</a:t>
            </a:r>
          </a:p>
        </p:txBody>
      </p:sp>
    </p:spTree>
    <p:extLst>
      <p:ext uri="{BB962C8B-B14F-4D97-AF65-F5344CB8AC3E}">
        <p14:creationId xmlns:p14="http://schemas.microsoft.com/office/powerpoint/2010/main" val="3698133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ding Semiconductor</a:t>
            </a:r>
            <a:endParaRPr lang="en-SG" dirty="0"/>
          </a:p>
        </p:txBody>
      </p:sp>
      <p:sp>
        <p:nvSpPr>
          <p:cNvPr id="3" name="Rectangle 2"/>
          <p:cNvSpPr/>
          <p:nvPr/>
        </p:nvSpPr>
        <p:spPr>
          <a:xfrm>
            <a:off x="228600" y="797771"/>
            <a:ext cx="11613648"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2400" b="1" i="0" u="none" strike="noStrike" kern="0" cap="none" spc="0" normalizeH="0" baseline="0" noProof="0" dirty="0">
                <a:ln>
                  <a:noFill/>
                </a:ln>
                <a:solidFill>
                  <a:sysClr val="windowText" lastClr="000000"/>
                </a:solidFill>
                <a:effectLst/>
                <a:uLnTx/>
                <a:uFillTx/>
                <a:latin typeface="Century Gothic" panose="020F0302020204030204"/>
                <a:ea typeface="+mn-ea"/>
                <a:cs typeface="+mn-cs"/>
              </a:rPr>
              <a:t>World leader in innovative memory solutions that transform the world uses information.</a:t>
            </a:r>
          </a:p>
        </p:txBody>
      </p:sp>
      <p:sp>
        <p:nvSpPr>
          <p:cNvPr id="4" name="TextBox 3"/>
          <p:cNvSpPr txBox="1"/>
          <p:nvPr/>
        </p:nvSpPr>
        <p:spPr>
          <a:xfrm>
            <a:off x="312744" y="4480776"/>
            <a:ext cx="11635416" cy="1723549"/>
          </a:xfrm>
          <a:prstGeom prst="rect">
            <a:avLst/>
          </a:prstGeom>
          <a:noFill/>
        </p:spPr>
        <p:txBody>
          <a:bodyPr wrap="square" lIns="0" tIns="0" rIns="0" bIns="0" rtlCol="0">
            <a:spAutoFit/>
          </a:bodyPr>
          <a:lstStyle>
            <a:defPPr>
              <a:defRPr lang="en-US"/>
            </a:defPPr>
            <a:lvl1pPr>
              <a:defRPr sz="1600" i="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So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err="1">
                <a:ln>
                  <a:noFill/>
                </a:ln>
                <a:solidFill>
                  <a:srgbClr val="3D4647"/>
                </a:solidFill>
                <a:effectLst/>
                <a:uLnTx/>
                <a:uFillTx/>
                <a:latin typeface="Century Gothic" panose="020F0302020204030204"/>
                <a:ea typeface="+mn-ea"/>
                <a:cs typeface="+mn-cs"/>
              </a:rPr>
              <a:t>ThingWorx</a:t>
            </a:r>
            <a:r>
              <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rPr>
              <a:t> Industrial Connectivity was selected to interface to different syste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err="1">
                <a:ln>
                  <a:noFill/>
                </a:ln>
                <a:solidFill>
                  <a:srgbClr val="3D4647"/>
                </a:solidFill>
                <a:effectLst/>
                <a:uLnTx/>
                <a:uFillTx/>
                <a:latin typeface="Century Gothic" panose="020F0302020204030204"/>
                <a:ea typeface="+mn-ea"/>
                <a:cs typeface="+mn-cs"/>
              </a:rPr>
              <a:t>Thingworx</a:t>
            </a:r>
            <a:r>
              <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rPr>
              <a:t> Foundation is used to develop an role based application to aggregate the data and detect anoma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Benef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Enhance ability to get real-time data for real-time decision mak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Improve operational efficiency, reduce down time and improve production schedule</a:t>
            </a:r>
          </a:p>
        </p:txBody>
      </p:sp>
      <p:sp>
        <p:nvSpPr>
          <p:cNvPr id="5" name="TextBox 4"/>
          <p:cNvSpPr txBox="1"/>
          <p:nvPr/>
        </p:nvSpPr>
        <p:spPr>
          <a:xfrm>
            <a:off x="312744" y="1658872"/>
            <a:ext cx="7864776" cy="2462213"/>
          </a:xfrm>
          <a:prstGeom prst="rect">
            <a:avLst/>
          </a:prstGeom>
          <a:noFill/>
        </p:spPr>
        <p:txBody>
          <a:bodyPr wrap="square" lIns="0" tIns="0" rIns="0" bIns="0" rtlCol="0">
            <a:spAutoFit/>
          </a:bodyPr>
          <a:lstStyle>
            <a:defPPr>
              <a:defRPr lang="en-US"/>
            </a:defPPr>
            <a:lvl1pPr>
              <a:defRPr sz="1600" i="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Challen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Unable to get real-time and high frequency data from disparate data sources/systems.  Current BI was not able to do s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Unable to get insight, observe trends, detect anomalies and predict without real-time data and real world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Go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To aggregate high and low frequency data to a common platfo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To contextualize and synthesize from real-time data and real world dat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To enhance their current systems for predictive analysis.</a:t>
            </a:r>
          </a:p>
        </p:txBody>
      </p:sp>
      <p:pic>
        <p:nvPicPr>
          <p:cNvPr id="7" name="Picture 6"/>
          <p:cNvPicPr>
            <a:picLocks noChangeAspect="1"/>
          </p:cNvPicPr>
          <p:nvPr/>
        </p:nvPicPr>
        <p:blipFill>
          <a:blip r:embed="rId3"/>
          <a:stretch>
            <a:fillRect/>
          </a:stretch>
        </p:blipFill>
        <p:spPr>
          <a:xfrm>
            <a:off x="8177520" y="1988459"/>
            <a:ext cx="3898070" cy="2095378"/>
          </a:xfrm>
          <a:prstGeom prst="rect">
            <a:avLst/>
          </a:prstGeom>
        </p:spPr>
      </p:pic>
    </p:spTree>
    <p:extLst>
      <p:ext uri="{BB962C8B-B14F-4D97-AF65-F5344CB8AC3E}">
        <p14:creationId xmlns:p14="http://schemas.microsoft.com/office/powerpoint/2010/main" val="449493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659692" y="1591"/>
          <a:ext cx="1193" cy="1587"/>
        </p:xfrm>
        <a:graphic>
          <a:graphicData uri="http://schemas.openxmlformats.org/presentationml/2006/ole">
            <mc:AlternateContent xmlns:mc="http://schemas.openxmlformats.org/markup-compatibility/2006">
              <mc:Choice xmlns:v="urn:schemas-microsoft-com:vml" Requires="v">
                <p:oleObj spid="_x0000_s55357"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2659692" y="1591"/>
                        <a:ext cx="1193"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t>Leading Cement company</a:t>
            </a:r>
            <a:endParaRPr lang="en-US" i="1" dirty="0"/>
          </a:p>
        </p:txBody>
      </p:sp>
      <p:sp>
        <p:nvSpPr>
          <p:cNvPr id="13" name="TextBox 12"/>
          <p:cNvSpPr txBox="1"/>
          <p:nvPr/>
        </p:nvSpPr>
        <p:spPr>
          <a:xfrm>
            <a:off x="160344" y="1535812"/>
            <a:ext cx="7759539" cy="3046988"/>
          </a:xfrm>
          <a:prstGeom prst="rect">
            <a:avLst/>
          </a:prstGeom>
          <a:noFill/>
        </p:spPr>
        <p:txBody>
          <a:bodyPr wrap="square" lIns="0" tIns="0" rIns="0" bIns="0" rtlCol="0">
            <a:spAutoFit/>
          </a:bodyPr>
          <a:lstStyle>
            <a:defPPr>
              <a:defRPr lang="en-US"/>
            </a:defPPr>
            <a:lvl1pPr>
              <a:defRPr sz="1600" i="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Challen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Acquired cement’s Information such as level measurement in the silos is not accurate and is not in real-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Unable to predict the cement’s demand and level in the sil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4000+ units distributed national wide.</a:t>
            </a:r>
            <a:endParaRPr kumimoji="0" lang="en-CA" sz="18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Go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To monitor and manage the cement’s level of all the silos at different si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To be able to predict the Cement usage and inventory lev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endParaRPr>
          </a:p>
        </p:txBody>
      </p:sp>
      <p:sp>
        <p:nvSpPr>
          <p:cNvPr id="3" name="AutoShape 4" descr="https://www.topglove.com.my/images/header/Industrial.png"/>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noProof="0">
              <a:ln>
                <a:noFill/>
              </a:ln>
              <a:solidFill>
                <a:sysClr val="windowText" lastClr="000000"/>
              </a:solidFill>
              <a:effectLst/>
              <a:uLnTx/>
              <a:uFillTx/>
              <a:latin typeface="Century Gothic" panose="020F0302020204030204"/>
              <a:ea typeface="+mn-ea"/>
              <a:cs typeface="+mn-cs"/>
            </a:endParaRPr>
          </a:p>
        </p:txBody>
      </p:sp>
      <p:sp>
        <p:nvSpPr>
          <p:cNvPr id="5" name="Rectangle 4"/>
          <p:cNvSpPr/>
          <p:nvPr/>
        </p:nvSpPr>
        <p:spPr>
          <a:xfrm>
            <a:off x="55969" y="762001"/>
            <a:ext cx="11403528"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2000" b="1" i="0" u="none" strike="noStrike" kern="0" cap="none" spc="0" normalizeH="0" baseline="0" noProof="0" dirty="0">
                <a:ln>
                  <a:noFill/>
                </a:ln>
                <a:solidFill>
                  <a:sysClr val="windowText" lastClr="000000"/>
                </a:solidFill>
                <a:effectLst/>
                <a:uLnTx/>
                <a:uFillTx/>
                <a:latin typeface="Century Gothic" panose="020B0502020202020204" pitchFamily="34" charset="0"/>
                <a:ea typeface="+mn-ea"/>
                <a:cs typeface="+mn-cs"/>
              </a:rPr>
              <a:t>The Cement company have plants in SEA that produced more than 25 million tons of cement annually </a:t>
            </a:r>
          </a:p>
        </p:txBody>
      </p:sp>
      <p:pic>
        <p:nvPicPr>
          <p:cNvPr id="8" name="Picture 7"/>
          <p:cNvPicPr>
            <a:picLocks noChangeAspect="1"/>
          </p:cNvPicPr>
          <p:nvPr/>
        </p:nvPicPr>
        <p:blipFill>
          <a:blip r:embed="rId7"/>
          <a:stretch>
            <a:fillRect/>
          </a:stretch>
        </p:blipFill>
        <p:spPr>
          <a:xfrm>
            <a:off x="8086280" y="1462072"/>
            <a:ext cx="3709481" cy="3027487"/>
          </a:xfrm>
          <a:prstGeom prst="rect">
            <a:avLst/>
          </a:prstGeom>
        </p:spPr>
      </p:pic>
      <p:sp>
        <p:nvSpPr>
          <p:cNvPr id="14" name="TextBox 13"/>
          <p:cNvSpPr txBox="1"/>
          <p:nvPr/>
        </p:nvSpPr>
        <p:spPr>
          <a:xfrm>
            <a:off x="160345" y="4521193"/>
            <a:ext cx="11635416" cy="2215991"/>
          </a:xfrm>
          <a:prstGeom prst="rect">
            <a:avLst/>
          </a:prstGeom>
          <a:noFill/>
        </p:spPr>
        <p:txBody>
          <a:bodyPr wrap="square" lIns="0" tIns="0" rIns="0" bIns="0" rtlCol="0">
            <a:spAutoFit/>
          </a:bodyPr>
          <a:lstStyle>
            <a:defPPr>
              <a:defRPr lang="en-US"/>
            </a:defPPr>
            <a:lvl1pPr>
              <a:defRPr sz="1600" i="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So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Using </a:t>
            </a:r>
            <a:r>
              <a:rPr kumimoji="0" lang="en-US" sz="1800" b="0" i="0" u="none" strike="noStrike" kern="0" cap="none" spc="0" normalizeH="0" baseline="0" noProof="0" dirty="0" err="1">
                <a:ln>
                  <a:noFill/>
                </a:ln>
                <a:solidFill>
                  <a:srgbClr val="3D4647"/>
                </a:solidFill>
                <a:effectLst/>
                <a:uLnTx/>
                <a:uFillTx/>
                <a:latin typeface="Century Gothic" panose="020B0502020202020204" pitchFamily="34" charset="0"/>
                <a:ea typeface="+mn-ea"/>
                <a:cs typeface="+mn-cs"/>
              </a:rPr>
              <a:t>ThingWorx</a:t>
            </a:r>
            <a:r>
              <a:rPr kumimoji="0" lang="en-US"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 Industrial Gateway and level sensor to capture the cement’s level measur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Using </a:t>
            </a:r>
            <a:r>
              <a:rPr kumimoji="0" lang="en-US" sz="1800" b="0" i="0" u="none" strike="noStrike" kern="0" cap="none" spc="0" normalizeH="0" baseline="0" noProof="0" dirty="0" err="1">
                <a:ln>
                  <a:noFill/>
                </a:ln>
                <a:solidFill>
                  <a:srgbClr val="3D4647"/>
                </a:solidFill>
                <a:effectLst/>
                <a:uLnTx/>
                <a:uFillTx/>
                <a:latin typeface="Century Gothic" panose="020B0502020202020204" pitchFamily="34" charset="0"/>
                <a:ea typeface="+mn-ea"/>
                <a:cs typeface="+mn-cs"/>
              </a:rPr>
              <a:t>ThingWorx</a:t>
            </a:r>
            <a:r>
              <a:rPr kumimoji="0" lang="en-US"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 Analytics to predict the Cement Us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Benef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Enhance Cement’s Plants visibility and Optimized Logisti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Improve the Supply Chain Management of the C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8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4019619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659692" y="1591"/>
          <a:ext cx="1193" cy="1587"/>
        </p:xfrm>
        <a:graphic>
          <a:graphicData uri="http://schemas.openxmlformats.org/presentationml/2006/ole">
            <mc:AlternateContent xmlns:mc="http://schemas.openxmlformats.org/markup-compatibility/2006">
              <mc:Choice xmlns:v="urn:schemas-microsoft-com:vml" Requires="v">
                <p:oleObj spid="_x0000_s56381"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2659692" y="1591"/>
                        <a:ext cx="1193" cy="1587"/>
                      </a:xfrm>
                      <a:prstGeom prst="rect">
                        <a:avLst/>
                      </a:prstGeom>
                    </p:spPr>
                  </p:pic>
                </p:oleObj>
              </mc:Fallback>
            </mc:AlternateContent>
          </a:graphicData>
        </a:graphic>
      </p:graphicFrame>
      <p:sp>
        <p:nvSpPr>
          <p:cNvPr id="2" name="Title 1"/>
          <p:cNvSpPr>
            <a:spLocks noGrp="1"/>
          </p:cNvSpPr>
          <p:nvPr>
            <p:ph type="title"/>
          </p:nvPr>
        </p:nvSpPr>
        <p:spPr>
          <a:xfrm>
            <a:off x="411482" y="317976"/>
            <a:ext cx="10255125" cy="344710"/>
          </a:xfrm>
        </p:spPr>
        <p:txBody>
          <a:bodyPr>
            <a:normAutofit/>
          </a:bodyPr>
          <a:lstStyle/>
          <a:p>
            <a:r>
              <a:rPr lang="en-US" dirty="0"/>
              <a:t>Leading Rubber Glove Manufacturer</a:t>
            </a:r>
            <a:endParaRPr lang="en-US" i="1" dirty="0"/>
          </a:p>
        </p:txBody>
      </p:sp>
      <p:sp>
        <p:nvSpPr>
          <p:cNvPr id="13" name="TextBox 12"/>
          <p:cNvSpPr txBox="1"/>
          <p:nvPr/>
        </p:nvSpPr>
        <p:spPr>
          <a:xfrm>
            <a:off x="455318" y="1785328"/>
            <a:ext cx="7646599" cy="5016758"/>
          </a:xfrm>
          <a:prstGeom prst="rect">
            <a:avLst/>
          </a:prstGeom>
          <a:noFill/>
        </p:spPr>
        <p:txBody>
          <a:bodyPr wrap="square" lIns="0" tIns="0" rIns="0" bIns="0" rtlCol="0">
            <a:spAutoFit/>
          </a:bodyPr>
          <a:lstStyle>
            <a:defPPr>
              <a:defRPr lang="en-US"/>
            </a:defPPr>
            <a:lvl1pPr>
              <a:defRPr sz="1600" i="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Challen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20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Highly dispersed manufacturing syste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20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Non-standard KP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20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Environmental and safety Compli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7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Go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20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Centralised data collection for all the systems in the factor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7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5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So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Using ThingWorx and Kepware to integrate and collect data from manufacturing  and environmental sensor syste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7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Benef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20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Enhance plant visibility, productivity, quality, environment and work safe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20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endParaRPr>
          </a:p>
        </p:txBody>
      </p:sp>
      <p:sp>
        <p:nvSpPr>
          <p:cNvPr id="3" name="AutoShape 4" descr="https://www.topglove.com.my/images/header/Industrial.png"/>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noProof="0">
              <a:ln>
                <a:noFill/>
              </a:ln>
              <a:solidFill>
                <a:sysClr val="windowText" lastClr="000000"/>
              </a:solidFill>
              <a:effectLst/>
              <a:uLnTx/>
              <a:uFillTx/>
              <a:latin typeface="Century Gothic" panose="020F0302020204030204"/>
              <a:ea typeface="+mn-ea"/>
              <a:cs typeface="+mn-cs"/>
            </a:endParaRPr>
          </a:p>
        </p:txBody>
      </p:sp>
      <p:pic>
        <p:nvPicPr>
          <p:cNvPr id="1032"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18090" y="1676400"/>
            <a:ext cx="3439937" cy="24700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83561" y="3970277"/>
            <a:ext cx="3390638" cy="25686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3857460" y="832502"/>
            <a:ext cx="6759259"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2000" b="0" i="0" u="none" strike="noStrike" kern="0" cap="none" spc="0" normalizeH="0" baseline="0" noProof="0" dirty="0">
                <a:ln>
                  <a:noFill/>
                </a:ln>
                <a:solidFill>
                  <a:sysClr val="windowText" lastClr="000000"/>
                </a:solidFill>
                <a:effectLst/>
                <a:uLnTx/>
                <a:uFillTx/>
                <a:latin typeface="Century Gothic" panose="020B0502020202020204" pitchFamily="34" charset="0"/>
                <a:ea typeface="+mn-ea"/>
                <a:cs typeface="+mn-cs"/>
              </a:rPr>
              <a:t>Owning and operating 27 factories, 484 production lines and with a capacity of approximately 45 billion gloves per annum</a:t>
            </a:r>
          </a:p>
        </p:txBody>
      </p:sp>
      <p:pic>
        <p:nvPicPr>
          <p:cNvPr id="1035" name="Picture 1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8464" y="884904"/>
            <a:ext cx="2622966" cy="76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1" name="Group 5"/>
          <p:cNvGrpSpPr/>
          <p:nvPr/>
        </p:nvGrpSpPr>
        <p:grpSpPr>
          <a:xfrm>
            <a:off x="3114370" y="838201"/>
            <a:ext cx="546659" cy="838200"/>
            <a:chOff x="2816817" y="1503334"/>
            <a:chExt cx="984142" cy="355863"/>
          </a:xfrm>
        </p:grpSpPr>
        <p:sp>
          <p:nvSpPr>
            <p:cNvPr id="22" name="Freeform 21"/>
            <p:cNvSpPr/>
            <p:nvPr/>
          </p:nvSpPr>
          <p:spPr>
            <a:xfrm>
              <a:off x="2816817" y="1503334"/>
              <a:ext cx="984142" cy="178231"/>
            </a:xfrm>
            <a:custGeom>
              <a:avLst/>
              <a:gdLst>
                <a:gd name="connsiteX0" fmla="*/ 984142 w 984142"/>
                <a:gd name="connsiteY0" fmla="*/ 178231 h 178231"/>
                <a:gd name="connsiteX1" fmla="*/ 333213 w 984142"/>
                <a:gd name="connsiteY1" fmla="*/ 178231 h 178231"/>
                <a:gd name="connsiteX2" fmla="*/ 333213 w 984142"/>
                <a:gd name="connsiteY2" fmla="*/ 0 h 178231"/>
                <a:gd name="connsiteX3" fmla="*/ 0 w 984142"/>
                <a:gd name="connsiteY3" fmla="*/ 0 h 178231"/>
              </a:gdLst>
              <a:ahLst/>
              <a:cxnLst>
                <a:cxn ang="0">
                  <a:pos x="connsiteX0" y="connsiteY0"/>
                </a:cxn>
                <a:cxn ang="0">
                  <a:pos x="connsiteX1" y="connsiteY1"/>
                </a:cxn>
                <a:cxn ang="0">
                  <a:pos x="connsiteX2" y="connsiteY2"/>
                </a:cxn>
                <a:cxn ang="0">
                  <a:pos x="connsiteX3" y="connsiteY3"/>
                </a:cxn>
              </a:cxnLst>
              <a:rect l="l" t="t" r="r" b="b"/>
              <a:pathLst>
                <a:path w="984142" h="178231">
                  <a:moveTo>
                    <a:pt x="984142" y="178231"/>
                  </a:moveTo>
                  <a:lnTo>
                    <a:pt x="333213" y="178231"/>
                  </a:lnTo>
                  <a:lnTo>
                    <a:pt x="333213" y="0"/>
                  </a:lnTo>
                  <a:lnTo>
                    <a:pt x="0" y="0"/>
                  </a:lnTo>
                </a:path>
              </a:pathLst>
            </a:cu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D4D4F"/>
                </a:solidFill>
                <a:effectLst/>
                <a:uLnTx/>
                <a:uFillTx/>
                <a:latin typeface="Century Gothic" panose="020F0302020204030204"/>
                <a:ea typeface="+mn-ea"/>
                <a:cs typeface="+mn-cs"/>
              </a:endParaRPr>
            </a:p>
          </p:txBody>
        </p:sp>
        <p:sp>
          <p:nvSpPr>
            <p:cNvPr id="23" name="Freeform 22"/>
            <p:cNvSpPr/>
            <p:nvPr/>
          </p:nvSpPr>
          <p:spPr>
            <a:xfrm flipV="1">
              <a:off x="2816817" y="1680966"/>
              <a:ext cx="984142" cy="178231"/>
            </a:xfrm>
            <a:custGeom>
              <a:avLst/>
              <a:gdLst>
                <a:gd name="connsiteX0" fmla="*/ 984142 w 984142"/>
                <a:gd name="connsiteY0" fmla="*/ 178231 h 178231"/>
                <a:gd name="connsiteX1" fmla="*/ 333213 w 984142"/>
                <a:gd name="connsiteY1" fmla="*/ 178231 h 178231"/>
                <a:gd name="connsiteX2" fmla="*/ 333213 w 984142"/>
                <a:gd name="connsiteY2" fmla="*/ 0 h 178231"/>
                <a:gd name="connsiteX3" fmla="*/ 0 w 984142"/>
                <a:gd name="connsiteY3" fmla="*/ 0 h 178231"/>
              </a:gdLst>
              <a:ahLst/>
              <a:cxnLst>
                <a:cxn ang="0">
                  <a:pos x="connsiteX0" y="connsiteY0"/>
                </a:cxn>
                <a:cxn ang="0">
                  <a:pos x="connsiteX1" y="connsiteY1"/>
                </a:cxn>
                <a:cxn ang="0">
                  <a:pos x="connsiteX2" y="connsiteY2"/>
                </a:cxn>
                <a:cxn ang="0">
                  <a:pos x="connsiteX3" y="connsiteY3"/>
                </a:cxn>
              </a:cxnLst>
              <a:rect l="l" t="t" r="r" b="b"/>
              <a:pathLst>
                <a:path w="984142" h="178231">
                  <a:moveTo>
                    <a:pt x="984142" y="178231"/>
                  </a:moveTo>
                  <a:lnTo>
                    <a:pt x="333213" y="178231"/>
                  </a:lnTo>
                  <a:lnTo>
                    <a:pt x="333213" y="0"/>
                  </a:lnTo>
                  <a:lnTo>
                    <a:pt x="0" y="0"/>
                  </a:lnTo>
                </a:path>
              </a:pathLst>
            </a:cu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D4D4F"/>
                </a:solidFill>
                <a:effectLst/>
                <a:uLnTx/>
                <a:uFillTx/>
                <a:latin typeface="Century Gothic" panose="020F0302020204030204"/>
                <a:ea typeface="+mn-ea"/>
                <a:cs typeface="+mn-cs"/>
              </a:endParaRPr>
            </a:p>
          </p:txBody>
        </p:sp>
      </p:grpSp>
    </p:spTree>
    <p:extLst>
      <p:ext uri="{BB962C8B-B14F-4D97-AF65-F5344CB8AC3E}">
        <p14:creationId xmlns:p14="http://schemas.microsoft.com/office/powerpoint/2010/main" val="4101698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ding marker of aircraft engines</a:t>
            </a:r>
            <a:endParaRPr lang="en-SG" dirty="0"/>
          </a:p>
        </p:txBody>
      </p:sp>
      <p:sp>
        <p:nvSpPr>
          <p:cNvPr id="3" name="Rectangle 2"/>
          <p:cNvSpPr/>
          <p:nvPr/>
        </p:nvSpPr>
        <p:spPr>
          <a:xfrm>
            <a:off x="228600" y="797771"/>
            <a:ext cx="11613648" cy="1200329"/>
          </a:xfrm>
          <a:prstGeom prst="rect">
            <a:avLst/>
          </a:prstGeom>
        </p:spPr>
        <p:txBody>
          <a:bodyPr wrap="squar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D4647"/>
                </a:solidFill>
                <a:effectLst/>
                <a:uLnTx/>
                <a:uFillTx/>
                <a:latin typeface="Century Gothic" panose="020F0302020204030204"/>
                <a:ea typeface="+mn-ea"/>
                <a:cs typeface="+mn-cs"/>
              </a:rPr>
              <a:t>A pre-eminent engineering company focused on world-class power and propulsion systems. Singapore is a regional center for Civil and Defense Aerospace, Marine, and Power Systems businesses</a:t>
            </a:r>
          </a:p>
        </p:txBody>
      </p:sp>
      <p:sp>
        <p:nvSpPr>
          <p:cNvPr id="4" name="TextBox 3"/>
          <p:cNvSpPr txBox="1"/>
          <p:nvPr/>
        </p:nvSpPr>
        <p:spPr>
          <a:xfrm>
            <a:off x="312744" y="4480776"/>
            <a:ext cx="9264393" cy="1723549"/>
          </a:xfrm>
          <a:prstGeom prst="rect">
            <a:avLst/>
          </a:prstGeom>
          <a:noFill/>
        </p:spPr>
        <p:txBody>
          <a:bodyPr wrap="square" lIns="0" tIns="0" rIns="0" bIns="0" rtlCol="0">
            <a:spAutoFit/>
          </a:bodyPr>
          <a:lstStyle>
            <a:defPPr>
              <a:defRPr lang="en-US"/>
            </a:defPPr>
            <a:lvl1pPr>
              <a:defRPr sz="1600" i="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So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err="1">
                <a:ln>
                  <a:noFill/>
                </a:ln>
                <a:solidFill>
                  <a:srgbClr val="3D4647"/>
                </a:solidFill>
                <a:effectLst/>
                <a:uLnTx/>
                <a:uFillTx/>
                <a:latin typeface="Century Gothic" panose="020F0302020204030204"/>
                <a:ea typeface="+mn-ea"/>
                <a:cs typeface="+mn-cs"/>
              </a:rPr>
              <a:t>ThingWorx</a:t>
            </a:r>
            <a:r>
              <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rPr>
              <a:t> Industrial Connectivity was selected to interface to different syste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err="1">
                <a:ln>
                  <a:noFill/>
                </a:ln>
                <a:solidFill>
                  <a:srgbClr val="3D4647"/>
                </a:solidFill>
                <a:effectLst/>
                <a:uLnTx/>
                <a:uFillTx/>
                <a:latin typeface="Century Gothic" panose="020F0302020204030204"/>
                <a:ea typeface="+mn-ea"/>
                <a:cs typeface="+mn-cs"/>
              </a:rPr>
              <a:t>Thingworx</a:t>
            </a:r>
            <a:r>
              <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rPr>
              <a:t> Foundation is used to develop an role based application to aggregate the 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Benef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Enhance ability to get real-time data for real-time decision mak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Improve operational intelligence</a:t>
            </a:r>
          </a:p>
        </p:txBody>
      </p:sp>
      <p:sp>
        <p:nvSpPr>
          <p:cNvPr id="5" name="TextBox 4"/>
          <p:cNvSpPr txBox="1"/>
          <p:nvPr/>
        </p:nvSpPr>
        <p:spPr>
          <a:xfrm>
            <a:off x="312744" y="2131442"/>
            <a:ext cx="9264393" cy="2215991"/>
          </a:xfrm>
          <a:prstGeom prst="rect">
            <a:avLst/>
          </a:prstGeom>
          <a:noFill/>
        </p:spPr>
        <p:txBody>
          <a:bodyPr wrap="square" lIns="0" tIns="0" rIns="0" bIns="0" rtlCol="0">
            <a:spAutoFit/>
          </a:bodyPr>
          <a:lstStyle>
            <a:defPPr>
              <a:defRPr lang="en-US"/>
            </a:defPPr>
            <a:lvl1pPr>
              <a:defRPr sz="1600" i="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Challen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Disparate systems like production equipment and measuring equipment with data in different form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Lack of system interoperability, visi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Unable to get real-time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Go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To aggregate data to a unified platfo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To access to real-time data for plant visibility and monitoring</a:t>
            </a:r>
          </a:p>
        </p:txBody>
      </p:sp>
      <p:pic>
        <p:nvPicPr>
          <p:cNvPr id="6" name="Picture 5">
            <a:extLst>
              <a:ext uri="{FF2B5EF4-FFF2-40B4-BE49-F238E27FC236}">
                <a16:creationId xmlns:a16="http://schemas.microsoft.com/office/drawing/2014/main" id="{82F99947-114A-4BB9-975A-5C0464D23B2D}"/>
              </a:ext>
            </a:extLst>
          </p:cNvPr>
          <p:cNvPicPr>
            <a:picLocks noChangeAspect="1"/>
          </p:cNvPicPr>
          <p:nvPr/>
        </p:nvPicPr>
        <p:blipFill>
          <a:blip r:embed="rId3"/>
          <a:stretch>
            <a:fillRect/>
          </a:stretch>
        </p:blipFill>
        <p:spPr>
          <a:xfrm>
            <a:off x="9577137" y="2365280"/>
            <a:ext cx="2164268" cy="2115495"/>
          </a:xfrm>
          <a:prstGeom prst="rect">
            <a:avLst/>
          </a:prstGeom>
        </p:spPr>
      </p:pic>
    </p:spTree>
    <p:extLst>
      <p:ext uri="{BB962C8B-B14F-4D97-AF65-F5344CB8AC3E}">
        <p14:creationId xmlns:p14="http://schemas.microsoft.com/office/powerpoint/2010/main" val="365863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556954" y="1197293"/>
            <a:ext cx="2023630" cy="2320401"/>
            <a:chOff x="1556954" y="1197293"/>
            <a:chExt cx="2023630" cy="2320401"/>
          </a:xfrm>
        </p:grpSpPr>
        <p:grpSp>
          <p:nvGrpSpPr>
            <p:cNvPr id="5" name="Group 4"/>
            <p:cNvGrpSpPr/>
            <p:nvPr/>
          </p:nvGrpSpPr>
          <p:grpSpPr>
            <a:xfrm>
              <a:off x="1788735" y="2089769"/>
              <a:ext cx="1382104" cy="1427925"/>
              <a:chOff x="19561285" y="2358972"/>
              <a:chExt cx="1938713" cy="2002988"/>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191513" y="2589143"/>
                <a:ext cx="737222" cy="506164"/>
              </a:xfrm>
              <a:prstGeom prst="rect">
                <a:avLst/>
              </a:prstGeom>
            </p:spPr>
          </p:pic>
          <p:sp>
            <p:nvSpPr>
              <p:cNvPr id="7" name="Rounded Rectangle 6"/>
              <p:cNvSpPr/>
              <p:nvPr/>
            </p:nvSpPr>
            <p:spPr>
              <a:xfrm>
                <a:off x="19561285" y="2358972"/>
                <a:ext cx="1938713" cy="2002988"/>
              </a:xfrm>
              <a:prstGeom prst="roundRect">
                <a:avLst>
                  <a:gd name="adj" fmla="val 6174"/>
                </a:avLst>
              </a:prstGeom>
              <a:noFill/>
              <a:ln w="12700" cap="flat" cmpd="sng" algn="ctr">
                <a:solidFill>
                  <a:schemeClr val="bg1">
                    <a:lumMod val="75000"/>
                  </a:schemeClr>
                </a:solidFill>
                <a:prstDash val="solid"/>
              </a:ln>
              <a:effectLst/>
            </p:spPr>
            <p:txBody>
              <a:bodyPr rtlCol="0" anchor="ctr"/>
              <a:lstStyle/>
              <a:p>
                <a:pPr algn="ctr" defTabSz="1086775">
                  <a:lnSpc>
                    <a:spcPct val="90000"/>
                  </a:lnSpc>
                  <a:defRPr/>
                </a:pPr>
                <a:endParaRPr lang="en-US" sz="1600" kern="0" dirty="0">
                  <a:solidFill>
                    <a:srgbClr val="FFFFFF"/>
                  </a:solidFill>
                </a:endParaRPr>
              </a:p>
            </p:txBody>
          </p:sp>
          <p:sp>
            <p:nvSpPr>
              <p:cNvPr id="8" name="Plus 7"/>
              <p:cNvSpPr/>
              <p:nvPr/>
            </p:nvSpPr>
            <p:spPr>
              <a:xfrm>
                <a:off x="20408943" y="3158728"/>
                <a:ext cx="300989" cy="300989"/>
              </a:xfrm>
              <a:prstGeom prst="mathPlus">
                <a:avLst>
                  <a:gd name="adj1" fmla="val 11981"/>
                </a:avLst>
              </a:prstGeom>
              <a:solidFill>
                <a:schemeClr val="bg1">
                  <a:lumMod val="50000"/>
                </a:schemeClr>
              </a:solidFill>
              <a:ln w="25400" cap="flat" cmpd="sng" algn="ctr">
                <a:noFill/>
                <a:prstDash val="solid"/>
              </a:ln>
              <a:effectLst/>
            </p:spPr>
            <p:txBody>
              <a:bodyPr rtlCol="0" anchor="ctr"/>
              <a:lstStyle/>
              <a:p>
                <a:pPr algn="ctr" defTabSz="1086775">
                  <a:lnSpc>
                    <a:spcPct val="90000"/>
                  </a:lnSpc>
                  <a:defRPr/>
                </a:pPr>
                <a:endParaRPr lang="en-US" sz="1600" kern="0" dirty="0">
                  <a:solidFill>
                    <a:srgbClr val="FFFFFF"/>
                  </a:solidFill>
                </a:endParaRPr>
              </a:p>
            </p:txBody>
          </p:sp>
          <p:grpSp>
            <p:nvGrpSpPr>
              <p:cNvPr id="9" name="Group 8"/>
              <p:cNvGrpSpPr/>
              <p:nvPr/>
            </p:nvGrpSpPr>
            <p:grpSpPr>
              <a:xfrm>
                <a:off x="20205146" y="3560771"/>
                <a:ext cx="738206" cy="501031"/>
                <a:chOff x="2085559" y="3007119"/>
                <a:chExt cx="539420" cy="366112"/>
              </a:xfrm>
            </p:grpSpPr>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36294" y="3053461"/>
                  <a:ext cx="437950" cy="273429"/>
                </a:xfrm>
                <a:prstGeom prst="rect">
                  <a:avLst/>
                </a:prstGeom>
              </p:spPr>
            </p:pic>
            <p:sp>
              <p:nvSpPr>
                <p:cNvPr id="11" name="Rounded Rectangle 10"/>
                <p:cNvSpPr/>
                <p:nvPr/>
              </p:nvSpPr>
              <p:spPr>
                <a:xfrm>
                  <a:off x="2085559" y="3007119"/>
                  <a:ext cx="539420" cy="366112"/>
                </a:xfrm>
                <a:prstGeom prst="roundRect">
                  <a:avLst>
                    <a:gd name="adj" fmla="val 9710"/>
                  </a:avLst>
                </a:prstGeom>
                <a:noFill/>
                <a:ln w="19050" cap="flat" cmpd="sng" algn="ctr">
                  <a:solidFill>
                    <a:schemeClr val="tx1"/>
                  </a:solidFill>
                  <a:prstDash val="solid"/>
                </a:ln>
                <a:effectLst/>
              </p:spPr>
              <p:txBody>
                <a:bodyPr rtlCol="0" anchor="ctr"/>
                <a:lstStyle/>
                <a:p>
                  <a:pPr algn="ctr" defTabSz="1086775">
                    <a:defRPr/>
                  </a:pPr>
                  <a:endParaRPr lang="en-US" sz="1600" kern="0" dirty="0">
                    <a:solidFill>
                      <a:srgbClr val="FFFFFF"/>
                    </a:solidFill>
                  </a:endParaRPr>
                </a:p>
              </p:txBody>
            </p:sp>
          </p:grpSp>
        </p:grpSp>
        <p:sp>
          <p:nvSpPr>
            <p:cNvPr id="76" name="Chevron 75"/>
            <p:cNvSpPr/>
            <p:nvPr/>
          </p:nvSpPr>
          <p:spPr>
            <a:xfrm>
              <a:off x="1556954" y="1197293"/>
              <a:ext cx="2023630" cy="647115"/>
            </a:xfrm>
            <a:prstGeom prst="chevron">
              <a:avLst>
                <a:gd name="adj" fmla="val 64804"/>
              </a:avLst>
            </a:prstGeom>
            <a:solidFill>
              <a:schemeClr val="accent1"/>
            </a:solidFill>
            <a:ln w="25400" cap="flat" cmpd="sng" algn="ctr">
              <a:noFill/>
              <a:prstDash val="solid"/>
            </a:ln>
            <a:effectLst/>
          </p:spPr>
          <p:txBody>
            <a:bodyPr rtlCol="0" anchor="ctr"/>
            <a:lstStyle/>
            <a:p>
              <a:pPr algn="ctr" defTabSz="1086775">
                <a:lnSpc>
                  <a:spcPct val="90000"/>
                </a:lnSpc>
                <a:defRPr/>
              </a:pPr>
              <a:endParaRPr lang="en-US" sz="900" kern="0" dirty="0">
                <a:solidFill>
                  <a:srgbClr val="FFFFFF"/>
                </a:solidFill>
              </a:endParaRPr>
            </a:p>
          </p:txBody>
        </p:sp>
        <p:sp>
          <p:nvSpPr>
            <p:cNvPr id="85" name="TextBox 84"/>
            <p:cNvSpPr txBox="1"/>
            <p:nvPr/>
          </p:nvSpPr>
          <p:spPr>
            <a:xfrm>
              <a:off x="1997977" y="1318594"/>
              <a:ext cx="1042793" cy="387798"/>
            </a:xfrm>
            <a:prstGeom prst="rect">
              <a:avLst/>
            </a:prstGeom>
            <a:noFill/>
          </p:spPr>
          <p:txBody>
            <a:bodyPr wrap="square" lIns="0" tIns="0" rIns="0" bIns="0" rtlCol="0" anchor="ctr">
              <a:spAutoFit/>
            </a:bodyPr>
            <a:lstStyle/>
            <a:p>
              <a:pPr algn="ctr" defTabSz="1086775">
                <a:lnSpc>
                  <a:spcPct val="90000"/>
                </a:lnSpc>
                <a:defRPr/>
              </a:pPr>
              <a:r>
                <a:rPr lang="en-US" sz="1400" kern="0" dirty="0">
                  <a:solidFill>
                    <a:srgbClr val="FFFFFF"/>
                  </a:solidFill>
                </a:rPr>
                <a:t>Smart </a:t>
              </a:r>
            </a:p>
            <a:p>
              <a:pPr algn="ctr" defTabSz="1086775">
                <a:lnSpc>
                  <a:spcPct val="90000"/>
                </a:lnSpc>
                <a:defRPr/>
              </a:pPr>
              <a:r>
                <a:rPr lang="en-US" sz="1400" kern="0" dirty="0">
                  <a:solidFill>
                    <a:srgbClr val="FFFFFF"/>
                  </a:solidFill>
                </a:rPr>
                <a:t>Product</a:t>
              </a:r>
            </a:p>
          </p:txBody>
        </p:sp>
      </p:grpSp>
      <p:grpSp>
        <p:nvGrpSpPr>
          <p:cNvPr id="23" name="Group 22"/>
          <p:cNvGrpSpPr/>
          <p:nvPr/>
        </p:nvGrpSpPr>
        <p:grpSpPr>
          <a:xfrm>
            <a:off x="753872" y="5087010"/>
            <a:ext cx="6199772" cy="1190062"/>
            <a:chOff x="753872" y="5087010"/>
            <a:chExt cx="6199772" cy="1190062"/>
          </a:xfrm>
        </p:grpSpPr>
        <p:sp>
          <p:nvSpPr>
            <p:cNvPr id="43" name="TextBox 42"/>
            <p:cNvSpPr txBox="1"/>
            <p:nvPr/>
          </p:nvSpPr>
          <p:spPr>
            <a:xfrm>
              <a:off x="753872" y="5087010"/>
              <a:ext cx="6199772" cy="861774"/>
            </a:xfrm>
            <a:prstGeom prst="rect">
              <a:avLst/>
            </a:prstGeom>
            <a:noFill/>
          </p:spPr>
          <p:txBody>
            <a:bodyPr wrap="square" lIns="0" tIns="0" rIns="0" bIns="0" rtlCol="0">
              <a:spAutoFit/>
            </a:bodyPr>
            <a:lstStyle/>
            <a:p>
              <a:r>
                <a:rPr lang="en-US" sz="1400" dirty="0"/>
                <a:t>“The </a:t>
              </a:r>
              <a:r>
                <a:rPr lang="en-US" sz="2000" b="1" dirty="0">
                  <a:solidFill>
                    <a:schemeClr val="accent1"/>
                  </a:solidFill>
                </a:rPr>
                <a:t>changing nature of products </a:t>
              </a:r>
              <a:r>
                <a:rPr lang="en-US" sz="1400" dirty="0"/>
                <a:t>is disrupting value chains, </a:t>
              </a:r>
              <a:r>
                <a:rPr lang="en-US" sz="2000" b="1" dirty="0">
                  <a:solidFill>
                    <a:schemeClr val="accent1"/>
                  </a:solidFill>
                </a:rPr>
                <a:t>forcing companies to rethink and retool</a:t>
              </a:r>
              <a:r>
                <a:rPr lang="en-US" sz="1600" b="1" dirty="0">
                  <a:solidFill>
                    <a:schemeClr val="accent1"/>
                  </a:solidFill>
                </a:rPr>
                <a:t> </a:t>
              </a:r>
              <a:r>
                <a:rPr lang="en-US" sz="1400" dirty="0"/>
                <a:t>nearly everything they do.”</a:t>
              </a:r>
            </a:p>
          </p:txBody>
        </p:sp>
        <p:grpSp>
          <p:nvGrpSpPr>
            <p:cNvPr id="91" name="Group 90"/>
            <p:cNvGrpSpPr/>
            <p:nvPr/>
          </p:nvGrpSpPr>
          <p:grpSpPr>
            <a:xfrm>
              <a:off x="5957598" y="5848299"/>
              <a:ext cx="964739" cy="428773"/>
              <a:chOff x="9690658" y="5011555"/>
              <a:chExt cx="1371600" cy="609600"/>
            </a:xfrm>
          </p:grpSpPr>
          <p:sp>
            <p:nvSpPr>
              <p:cNvPr id="92" name="Rectangle 91"/>
              <p:cNvSpPr/>
              <p:nvPr/>
            </p:nvSpPr>
            <p:spPr>
              <a:xfrm>
                <a:off x="9690658" y="5011555"/>
                <a:ext cx="1371600"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93" name="Picture 9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15617" y="5063977"/>
                <a:ext cx="1121681" cy="504756"/>
              </a:xfrm>
              <a:prstGeom prst="rect">
                <a:avLst/>
              </a:prstGeom>
            </p:spPr>
          </p:pic>
        </p:grpSp>
      </p:grpSp>
      <p:grpSp>
        <p:nvGrpSpPr>
          <p:cNvPr id="3" name="Group 2"/>
          <p:cNvGrpSpPr/>
          <p:nvPr/>
        </p:nvGrpSpPr>
        <p:grpSpPr>
          <a:xfrm>
            <a:off x="3253529" y="1197293"/>
            <a:ext cx="2359901" cy="3131474"/>
            <a:chOff x="3253529" y="1197293"/>
            <a:chExt cx="2359901" cy="3131474"/>
          </a:xfrm>
        </p:grpSpPr>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68907" y="2378067"/>
              <a:ext cx="547837" cy="376136"/>
            </a:xfrm>
            <a:prstGeom prst="rect">
              <a:avLst/>
            </a:prstGeom>
          </p:spPr>
        </p:pic>
        <p:sp>
          <p:nvSpPr>
            <p:cNvPr id="14" name="Rounded Rectangle 13"/>
            <p:cNvSpPr/>
            <p:nvPr/>
          </p:nvSpPr>
          <p:spPr>
            <a:xfrm>
              <a:off x="3367023" y="2089768"/>
              <a:ext cx="1855766" cy="2238999"/>
            </a:xfrm>
            <a:prstGeom prst="roundRect">
              <a:avLst>
                <a:gd name="adj" fmla="val 4996"/>
              </a:avLst>
            </a:prstGeom>
            <a:noFill/>
            <a:ln w="12700" cap="flat" cmpd="sng" algn="ctr">
              <a:solidFill>
                <a:schemeClr val="bg1">
                  <a:lumMod val="75000"/>
                </a:schemeClr>
              </a:solidFill>
              <a:prstDash val="solid"/>
            </a:ln>
            <a:effectLst/>
          </p:spPr>
          <p:txBody>
            <a:bodyPr rtlCol="0" anchor="ctr"/>
            <a:lstStyle/>
            <a:p>
              <a:pPr algn="ctr" defTabSz="1086775">
                <a:lnSpc>
                  <a:spcPct val="90000"/>
                </a:lnSpc>
                <a:defRPr/>
              </a:pPr>
              <a:endParaRPr lang="en-US" sz="1600" kern="0" dirty="0">
                <a:solidFill>
                  <a:srgbClr val="FFFFFF"/>
                </a:solidFill>
              </a:endParaRPr>
            </a:p>
          </p:txBody>
        </p:sp>
        <p:sp>
          <p:nvSpPr>
            <p:cNvPr id="15" name="Plus 14"/>
            <p:cNvSpPr/>
            <p:nvPr/>
          </p:nvSpPr>
          <p:spPr>
            <a:xfrm>
              <a:off x="4246324" y="2808668"/>
              <a:ext cx="214574" cy="214574"/>
            </a:xfrm>
            <a:prstGeom prst="mathPlus">
              <a:avLst>
                <a:gd name="adj1" fmla="val 11981"/>
              </a:avLst>
            </a:prstGeom>
            <a:solidFill>
              <a:schemeClr val="bg1">
                <a:lumMod val="50000"/>
              </a:schemeClr>
            </a:solidFill>
            <a:ln w="25400" cap="flat" cmpd="sng" algn="ctr">
              <a:noFill/>
              <a:prstDash val="solid"/>
            </a:ln>
            <a:effectLst/>
          </p:spPr>
          <p:txBody>
            <a:bodyPr rtlCol="0" anchor="ctr"/>
            <a:lstStyle/>
            <a:p>
              <a:pPr algn="ctr" defTabSz="1086775">
                <a:lnSpc>
                  <a:spcPct val="90000"/>
                </a:lnSpc>
                <a:defRPr/>
              </a:pPr>
              <a:endParaRPr lang="en-US" sz="1600" kern="0" dirty="0">
                <a:solidFill>
                  <a:srgbClr val="FFFFFF"/>
                </a:solidFill>
              </a:endParaRPr>
            </a:p>
          </p:txBody>
        </p:sp>
        <p:sp>
          <p:nvSpPr>
            <p:cNvPr id="16" name="Plus 15"/>
            <p:cNvSpPr/>
            <p:nvPr/>
          </p:nvSpPr>
          <p:spPr>
            <a:xfrm>
              <a:off x="4246324" y="3485609"/>
              <a:ext cx="214574" cy="214574"/>
            </a:xfrm>
            <a:prstGeom prst="mathPlus">
              <a:avLst>
                <a:gd name="adj1" fmla="val 11981"/>
              </a:avLst>
            </a:prstGeom>
            <a:solidFill>
              <a:schemeClr val="bg1">
                <a:lumMod val="50000"/>
              </a:schemeClr>
            </a:solidFill>
            <a:ln w="25400" cap="flat" cmpd="sng" algn="ctr">
              <a:noFill/>
              <a:prstDash val="solid"/>
            </a:ln>
            <a:effectLst/>
          </p:spPr>
          <p:txBody>
            <a:bodyPr rtlCol="0" anchor="ctr"/>
            <a:lstStyle/>
            <a:p>
              <a:pPr algn="ctr" defTabSz="1086775">
                <a:lnSpc>
                  <a:spcPct val="90000"/>
                </a:lnSpc>
                <a:defRPr/>
              </a:pPr>
              <a:endParaRPr lang="en-US" sz="1600" kern="0" dirty="0">
                <a:solidFill>
                  <a:srgbClr val="FFFFFF"/>
                </a:solidFill>
              </a:endParaRPr>
            </a:p>
          </p:txBody>
        </p:sp>
        <p:grpSp>
          <p:nvGrpSpPr>
            <p:cNvPr id="19" name="Group 18"/>
            <p:cNvGrpSpPr/>
            <p:nvPr/>
          </p:nvGrpSpPr>
          <p:grpSpPr>
            <a:xfrm>
              <a:off x="4090478" y="3075833"/>
              <a:ext cx="526265" cy="357184"/>
              <a:chOff x="2085559" y="3007119"/>
              <a:chExt cx="539420" cy="366112"/>
            </a:xfrm>
          </p:grpSpPr>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36294" y="3053461"/>
                <a:ext cx="437950" cy="273429"/>
              </a:xfrm>
              <a:prstGeom prst="rect">
                <a:avLst/>
              </a:prstGeom>
            </p:spPr>
          </p:pic>
          <p:sp>
            <p:nvSpPr>
              <p:cNvPr id="22" name="Rounded Rectangle 21"/>
              <p:cNvSpPr/>
              <p:nvPr/>
            </p:nvSpPr>
            <p:spPr>
              <a:xfrm>
                <a:off x="2085559" y="3007119"/>
                <a:ext cx="539420" cy="366112"/>
              </a:xfrm>
              <a:prstGeom prst="roundRect">
                <a:avLst>
                  <a:gd name="adj" fmla="val 9710"/>
                </a:avLst>
              </a:prstGeom>
              <a:noFill/>
              <a:ln w="19050" cap="flat" cmpd="sng" algn="ctr">
                <a:solidFill>
                  <a:schemeClr val="tx1"/>
                </a:solidFill>
                <a:prstDash val="solid"/>
              </a:ln>
              <a:effectLst/>
            </p:spPr>
            <p:txBody>
              <a:bodyPr rtlCol="0" anchor="ctr"/>
              <a:lstStyle/>
              <a:p>
                <a:pPr algn="ctr" defTabSz="1086775">
                  <a:defRPr/>
                </a:pPr>
                <a:endParaRPr lang="en-US" sz="1600" kern="0" dirty="0">
                  <a:solidFill>
                    <a:srgbClr val="FFFFFF"/>
                  </a:solidFill>
                </a:endParaRPr>
              </a:p>
            </p:txBody>
          </p:sp>
        </p:gr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78833" y="3938667"/>
              <a:ext cx="549556" cy="288677"/>
            </a:xfrm>
            <a:prstGeom prst="rect">
              <a:avLst/>
            </a:prstGeom>
          </p:spPr>
        </p:pic>
        <p:sp>
          <p:nvSpPr>
            <p:cNvPr id="77" name="Chevron 76"/>
            <p:cNvSpPr/>
            <p:nvPr/>
          </p:nvSpPr>
          <p:spPr>
            <a:xfrm>
              <a:off x="3253529" y="1197293"/>
              <a:ext cx="2359901" cy="647115"/>
            </a:xfrm>
            <a:prstGeom prst="chevron">
              <a:avLst>
                <a:gd name="adj" fmla="val 64804"/>
              </a:avLst>
            </a:prstGeom>
            <a:solidFill>
              <a:schemeClr val="accent1"/>
            </a:solidFill>
            <a:ln w="25400" cap="flat" cmpd="sng" algn="ctr">
              <a:noFill/>
              <a:prstDash val="solid"/>
            </a:ln>
            <a:effectLst/>
          </p:spPr>
          <p:txBody>
            <a:bodyPr rtlCol="0" anchor="ctr"/>
            <a:lstStyle/>
            <a:p>
              <a:pPr algn="ctr" defTabSz="1086775">
                <a:lnSpc>
                  <a:spcPct val="90000"/>
                </a:lnSpc>
                <a:defRPr/>
              </a:pPr>
              <a:endParaRPr lang="en-US" sz="900" kern="0" dirty="0">
                <a:solidFill>
                  <a:srgbClr val="FFFFFF"/>
                </a:solidFill>
              </a:endParaRPr>
            </a:p>
          </p:txBody>
        </p:sp>
        <p:sp>
          <p:nvSpPr>
            <p:cNvPr id="84" name="TextBox 83"/>
            <p:cNvSpPr txBox="1"/>
            <p:nvPr/>
          </p:nvSpPr>
          <p:spPr>
            <a:xfrm>
              <a:off x="3391062" y="1318594"/>
              <a:ext cx="2218242" cy="387798"/>
            </a:xfrm>
            <a:prstGeom prst="rect">
              <a:avLst/>
            </a:prstGeom>
            <a:noFill/>
          </p:spPr>
          <p:txBody>
            <a:bodyPr wrap="square" lIns="0" tIns="0" rIns="0" bIns="0" rtlCol="0" anchor="ctr">
              <a:spAutoFit/>
            </a:bodyPr>
            <a:lstStyle/>
            <a:p>
              <a:pPr algn="ctr" defTabSz="1086775">
                <a:lnSpc>
                  <a:spcPct val="90000"/>
                </a:lnSpc>
                <a:defRPr/>
              </a:pPr>
              <a:r>
                <a:rPr lang="en-US" sz="1400" kern="0" dirty="0">
                  <a:solidFill>
                    <a:srgbClr val="FFFFFF"/>
                  </a:solidFill>
                </a:rPr>
                <a:t>Smart, Connected </a:t>
              </a:r>
            </a:p>
            <a:p>
              <a:pPr marL="188913" indent="-188913" algn="ctr" defTabSz="1086775">
                <a:lnSpc>
                  <a:spcPct val="90000"/>
                </a:lnSpc>
                <a:defRPr/>
              </a:pPr>
              <a:r>
                <a:rPr lang="en-US" sz="1400" kern="0" dirty="0">
                  <a:solidFill>
                    <a:srgbClr val="FFFFFF"/>
                  </a:solidFill>
                </a:rPr>
                <a:t>Product</a:t>
              </a:r>
            </a:p>
          </p:txBody>
        </p:sp>
        <p:grpSp>
          <p:nvGrpSpPr>
            <p:cNvPr id="41" name="Group 40"/>
            <p:cNvGrpSpPr/>
            <p:nvPr/>
          </p:nvGrpSpPr>
          <p:grpSpPr>
            <a:xfrm>
              <a:off x="4127018" y="2185672"/>
              <a:ext cx="226592" cy="158178"/>
              <a:chOff x="4127018" y="2336516"/>
              <a:chExt cx="226592" cy="158178"/>
            </a:xfrm>
            <a:solidFill>
              <a:schemeClr val="tx1"/>
            </a:solidFill>
          </p:grpSpPr>
          <p:sp>
            <p:nvSpPr>
              <p:cNvPr id="75" name="Freeform 74"/>
              <p:cNvSpPr/>
              <p:nvPr/>
            </p:nvSpPr>
            <p:spPr>
              <a:xfrm>
                <a:off x="4127018" y="2336516"/>
                <a:ext cx="226592" cy="74416"/>
              </a:xfrm>
              <a:custGeom>
                <a:avLst/>
                <a:gdLst>
                  <a:gd name="connsiteX0" fmla="*/ 3708708 w 7423131"/>
                  <a:gd name="connsiteY0" fmla="*/ 0 h 2437858"/>
                  <a:gd name="connsiteX1" fmla="*/ 7210905 w 7423131"/>
                  <a:gd name="connsiteY1" fmla="*/ 1319683 h 2437858"/>
                  <a:gd name="connsiteX2" fmla="*/ 7423131 w 7423131"/>
                  <a:gd name="connsiteY2" fmla="*/ 1546450 h 2437858"/>
                  <a:gd name="connsiteX3" fmla="*/ 6537206 w 7423131"/>
                  <a:gd name="connsiteY3" fmla="*/ 2437858 h 2437858"/>
                  <a:gd name="connsiteX4" fmla="*/ 6434358 w 7423131"/>
                  <a:gd name="connsiteY4" fmla="*/ 2331396 h 2437858"/>
                  <a:gd name="connsiteX5" fmla="*/ 3708708 w 7423131"/>
                  <a:gd name="connsiteY5" fmla="*/ 1269240 h 2437858"/>
                  <a:gd name="connsiteX6" fmla="*/ 983058 w 7423131"/>
                  <a:gd name="connsiteY6" fmla="*/ 2331396 h 2437858"/>
                  <a:gd name="connsiteX7" fmla="*/ 886018 w 7423131"/>
                  <a:gd name="connsiteY7" fmla="*/ 2431846 h 2437858"/>
                  <a:gd name="connsiteX8" fmla="*/ 0 w 7423131"/>
                  <a:gd name="connsiteY8" fmla="*/ 1540344 h 2437858"/>
                  <a:gd name="connsiteX9" fmla="*/ 206512 w 7423131"/>
                  <a:gd name="connsiteY9" fmla="*/ 1319683 h 2437858"/>
                  <a:gd name="connsiteX10" fmla="*/ 3708708 w 7423131"/>
                  <a:gd name="connsiteY10" fmla="*/ 0 h 2437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3131" h="2437858">
                    <a:moveTo>
                      <a:pt x="3708708" y="0"/>
                    </a:moveTo>
                    <a:cubicBezTo>
                      <a:pt x="5118667" y="0"/>
                      <a:pt x="6378460" y="513720"/>
                      <a:pt x="7210905" y="1319683"/>
                    </a:cubicBezTo>
                    <a:lnTo>
                      <a:pt x="7423131" y="1546450"/>
                    </a:lnTo>
                    <a:lnTo>
                      <a:pt x="6537206" y="2437858"/>
                    </a:lnTo>
                    <a:lnTo>
                      <a:pt x="6434358" y="2331396"/>
                    </a:lnTo>
                    <a:cubicBezTo>
                      <a:pt x="5736804" y="1675142"/>
                      <a:pt x="4773141" y="1269240"/>
                      <a:pt x="3708708" y="1269240"/>
                    </a:cubicBezTo>
                    <a:cubicBezTo>
                      <a:pt x="2644276" y="1269240"/>
                      <a:pt x="1680613" y="1675142"/>
                      <a:pt x="983058" y="2331396"/>
                    </a:cubicBezTo>
                    <a:lnTo>
                      <a:pt x="886018" y="2431846"/>
                    </a:lnTo>
                    <a:lnTo>
                      <a:pt x="0" y="1540344"/>
                    </a:lnTo>
                    <a:lnTo>
                      <a:pt x="206512" y="1319683"/>
                    </a:lnTo>
                    <a:cubicBezTo>
                      <a:pt x="1038956" y="513720"/>
                      <a:pt x="2298749" y="0"/>
                      <a:pt x="3708708"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solidFill>
                    <a:schemeClr val="bg1"/>
                  </a:solidFill>
                </a:endParaRPr>
              </a:p>
            </p:txBody>
          </p:sp>
          <p:sp>
            <p:nvSpPr>
              <p:cNvPr id="87" name="Freeform 86"/>
              <p:cNvSpPr/>
              <p:nvPr/>
            </p:nvSpPr>
            <p:spPr>
              <a:xfrm>
                <a:off x="4161128" y="2392892"/>
                <a:ext cx="158373" cy="60734"/>
              </a:xfrm>
              <a:custGeom>
                <a:avLst/>
                <a:gdLst>
                  <a:gd name="connsiteX0" fmla="*/ 2594564 w 5188277"/>
                  <a:gd name="connsiteY0" fmla="*/ 0 h 1989641"/>
                  <a:gd name="connsiteX1" fmla="*/ 5156157 w 5188277"/>
                  <a:gd name="connsiteY1" fmla="*/ 1062156 h 1989641"/>
                  <a:gd name="connsiteX2" fmla="*/ 5188277 w 5188277"/>
                  <a:gd name="connsiteY2" fmla="*/ 1097535 h 1989641"/>
                  <a:gd name="connsiteX3" fmla="*/ 4302520 w 5188277"/>
                  <a:gd name="connsiteY3" fmla="*/ 1988775 h 1989641"/>
                  <a:gd name="connsiteX4" fmla="*/ 4207964 w 5188277"/>
                  <a:gd name="connsiteY4" fmla="*/ 1899916 h 1989641"/>
                  <a:gd name="connsiteX5" fmla="*/ 2594564 w 5188277"/>
                  <a:gd name="connsiteY5" fmla="*/ 1280580 h 1989641"/>
                  <a:gd name="connsiteX6" fmla="*/ 981164 w 5188277"/>
                  <a:gd name="connsiteY6" fmla="*/ 1899916 h 1989641"/>
                  <a:gd name="connsiteX7" fmla="*/ 885686 w 5188277"/>
                  <a:gd name="connsiteY7" fmla="*/ 1989641 h 1989641"/>
                  <a:gd name="connsiteX8" fmla="*/ 0 w 5188277"/>
                  <a:gd name="connsiteY8" fmla="*/ 1098473 h 1989641"/>
                  <a:gd name="connsiteX9" fmla="*/ 32972 w 5188277"/>
                  <a:gd name="connsiteY9" fmla="*/ 1062156 h 1989641"/>
                  <a:gd name="connsiteX10" fmla="*/ 2594564 w 5188277"/>
                  <a:gd name="connsiteY10" fmla="*/ 0 h 198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88277" h="1989641">
                    <a:moveTo>
                      <a:pt x="2594564" y="0"/>
                    </a:moveTo>
                    <a:cubicBezTo>
                      <a:pt x="3594928" y="0"/>
                      <a:pt x="4500588" y="405902"/>
                      <a:pt x="5156157" y="1062156"/>
                    </a:cubicBezTo>
                    <a:lnTo>
                      <a:pt x="5188277" y="1097535"/>
                    </a:lnTo>
                    <a:lnTo>
                      <a:pt x="4302520" y="1988775"/>
                    </a:lnTo>
                    <a:lnTo>
                      <a:pt x="4207964" y="1899916"/>
                    </a:lnTo>
                    <a:cubicBezTo>
                      <a:pt x="3747410" y="1508899"/>
                      <a:pt x="3192204" y="1280580"/>
                      <a:pt x="2594564" y="1280580"/>
                    </a:cubicBezTo>
                    <a:cubicBezTo>
                      <a:pt x="1996925" y="1280580"/>
                      <a:pt x="1441719" y="1508899"/>
                      <a:pt x="981164" y="1899916"/>
                    </a:cubicBezTo>
                    <a:lnTo>
                      <a:pt x="885686" y="1989641"/>
                    </a:lnTo>
                    <a:lnTo>
                      <a:pt x="0" y="1098473"/>
                    </a:lnTo>
                    <a:lnTo>
                      <a:pt x="32972" y="1062156"/>
                    </a:lnTo>
                    <a:cubicBezTo>
                      <a:pt x="688541" y="405902"/>
                      <a:pt x="1594200" y="0"/>
                      <a:pt x="2594564"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solidFill>
                    <a:schemeClr val="bg1"/>
                  </a:solidFill>
                </a:endParaRPr>
              </a:p>
            </p:txBody>
          </p:sp>
          <p:sp>
            <p:nvSpPr>
              <p:cNvPr id="90" name="Freeform 89"/>
              <p:cNvSpPr/>
              <p:nvPr/>
            </p:nvSpPr>
            <p:spPr>
              <a:xfrm>
                <a:off x="4194626" y="2448145"/>
                <a:ext cx="91375" cy="46549"/>
              </a:xfrm>
              <a:custGeom>
                <a:avLst/>
                <a:gdLst>
                  <a:gd name="connsiteX0" fmla="*/ 1497211 w 2993437"/>
                  <a:gd name="connsiteY0" fmla="*/ 0 h 1524940"/>
                  <a:gd name="connsiteX1" fmla="*/ 2788119 w 2993437"/>
                  <a:gd name="connsiteY1" fmla="*/ 437690 h 1524940"/>
                  <a:gd name="connsiteX2" fmla="*/ 2993437 w 2993437"/>
                  <a:gd name="connsiteY2" fmla="*/ 604713 h 1524940"/>
                  <a:gd name="connsiteX3" fmla="*/ 2079687 w 2993437"/>
                  <a:gd name="connsiteY3" fmla="*/ 1524119 h 1524940"/>
                  <a:gd name="connsiteX4" fmla="*/ 1961651 w 2993437"/>
                  <a:gd name="connsiteY4" fmla="*/ 1423807 h 1524940"/>
                  <a:gd name="connsiteX5" fmla="*/ 1497211 w 2993437"/>
                  <a:gd name="connsiteY5" fmla="*/ 1260770 h 1524940"/>
                  <a:gd name="connsiteX6" fmla="*/ 1032772 w 2993437"/>
                  <a:gd name="connsiteY6" fmla="*/ 1423807 h 1524940"/>
                  <a:gd name="connsiteX7" fmla="*/ 913769 w 2993437"/>
                  <a:gd name="connsiteY7" fmla="*/ 1524940 h 1524940"/>
                  <a:gd name="connsiteX8" fmla="*/ 0 w 2993437"/>
                  <a:gd name="connsiteY8" fmla="*/ 605515 h 1524940"/>
                  <a:gd name="connsiteX9" fmla="*/ 206304 w 2993437"/>
                  <a:gd name="connsiteY9" fmla="*/ 437690 h 1524940"/>
                  <a:gd name="connsiteX10" fmla="*/ 1497211 w 2993437"/>
                  <a:gd name="connsiteY10" fmla="*/ 0 h 152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93437" h="1524940">
                    <a:moveTo>
                      <a:pt x="1497211" y="0"/>
                    </a:moveTo>
                    <a:cubicBezTo>
                      <a:pt x="1964624" y="0"/>
                      <a:pt x="2404380" y="158555"/>
                      <a:pt x="2788119" y="437690"/>
                    </a:cubicBezTo>
                    <a:lnTo>
                      <a:pt x="2993437" y="604713"/>
                    </a:lnTo>
                    <a:lnTo>
                      <a:pt x="2079687" y="1524119"/>
                    </a:lnTo>
                    <a:lnTo>
                      <a:pt x="1961651" y="1423807"/>
                    </a:lnTo>
                    <a:cubicBezTo>
                      <a:pt x="1814934" y="1317850"/>
                      <a:pt x="1658944" y="1260770"/>
                      <a:pt x="1497211" y="1260770"/>
                    </a:cubicBezTo>
                    <a:cubicBezTo>
                      <a:pt x="1335479" y="1260770"/>
                      <a:pt x="1179488" y="1317850"/>
                      <a:pt x="1032772" y="1423807"/>
                    </a:cubicBezTo>
                    <a:lnTo>
                      <a:pt x="913769" y="1524940"/>
                    </a:lnTo>
                    <a:lnTo>
                      <a:pt x="0" y="605515"/>
                    </a:lnTo>
                    <a:lnTo>
                      <a:pt x="206304" y="437690"/>
                    </a:lnTo>
                    <a:cubicBezTo>
                      <a:pt x="590043" y="158555"/>
                      <a:pt x="1029799" y="0"/>
                      <a:pt x="1497211"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solidFill>
                    <a:schemeClr val="bg1"/>
                  </a:solidFill>
                </a:endParaRPr>
              </a:p>
            </p:txBody>
          </p:sp>
        </p:grpSp>
        <p:grpSp>
          <p:nvGrpSpPr>
            <p:cNvPr id="99" name="Group 98"/>
            <p:cNvGrpSpPr/>
            <p:nvPr/>
          </p:nvGrpSpPr>
          <p:grpSpPr>
            <a:xfrm>
              <a:off x="4240314" y="3735801"/>
              <a:ext cx="226592" cy="158178"/>
              <a:chOff x="4127018" y="2336516"/>
              <a:chExt cx="226592" cy="158178"/>
            </a:xfrm>
            <a:solidFill>
              <a:schemeClr val="tx1"/>
            </a:solidFill>
          </p:grpSpPr>
          <p:sp>
            <p:nvSpPr>
              <p:cNvPr id="100" name="Freeform 99"/>
              <p:cNvSpPr/>
              <p:nvPr/>
            </p:nvSpPr>
            <p:spPr>
              <a:xfrm>
                <a:off x="4127018" y="2336516"/>
                <a:ext cx="226592" cy="74416"/>
              </a:xfrm>
              <a:custGeom>
                <a:avLst/>
                <a:gdLst>
                  <a:gd name="connsiteX0" fmla="*/ 3708708 w 7423131"/>
                  <a:gd name="connsiteY0" fmla="*/ 0 h 2437858"/>
                  <a:gd name="connsiteX1" fmla="*/ 7210905 w 7423131"/>
                  <a:gd name="connsiteY1" fmla="*/ 1319683 h 2437858"/>
                  <a:gd name="connsiteX2" fmla="*/ 7423131 w 7423131"/>
                  <a:gd name="connsiteY2" fmla="*/ 1546450 h 2437858"/>
                  <a:gd name="connsiteX3" fmla="*/ 6537206 w 7423131"/>
                  <a:gd name="connsiteY3" fmla="*/ 2437858 h 2437858"/>
                  <a:gd name="connsiteX4" fmla="*/ 6434358 w 7423131"/>
                  <a:gd name="connsiteY4" fmla="*/ 2331396 h 2437858"/>
                  <a:gd name="connsiteX5" fmla="*/ 3708708 w 7423131"/>
                  <a:gd name="connsiteY5" fmla="*/ 1269240 h 2437858"/>
                  <a:gd name="connsiteX6" fmla="*/ 983058 w 7423131"/>
                  <a:gd name="connsiteY6" fmla="*/ 2331396 h 2437858"/>
                  <a:gd name="connsiteX7" fmla="*/ 886018 w 7423131"/>
                  <a:gd name="connsiteY7" fmla="*/ 2431846 h 2437858"/>
                  <a:gd name="connsiteX8" fmla="*/ 0 w 7423131"/>
                  <a:gd name="connsiteY8" fmla="*/ 1540344 h 2437858"/>
                  <a:gd name="connsiteX9" fmla="*/ 206512 w 7423131"/>
                  <a:gd name="connsiteY9" fmla="*/ 1319683 h 2437858"/>
                  <a:gd name="connsiteX10" fmla="*/ 3708708 w 7423131"/>
                  <a:gd name="connsiteY10" fmla="*/ 0 h 2437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3131" h="2437858">
                    <a:moveTo>
                      <a:pt x="3708708" y="0"/>
                    </a:moveTo>
                    <a:cubicBezTo>
                      <a:pt x="5118667" y="0"/>
                      <a:pt x="6378460" y="513720"/>
                      <a:pt x="7210905" y="1319683"/>
                    </a:cubicBezTo>
                    <a:lnTo>
                      <a:pt x="7423131" y="1546450"/>
                    </a:lnTo>
                    <a:lnTo>
                      <a:pt x="6537206" y="2437858"/>
                    </a:lnTo>
                    <a:lnTo>
                      <a:pt x="6434358" y="2331396"/>
                    </a:lnTo>
                    <a:cubicBezTo>
                      <a:pt x="5736804" y="1675142"/>
                      <a:pt x="4773141" y="1269240"/>
                      <a:pt x="3708708" y="1269240"/>
                    </a:cubicBezTo>
                    <a:cubicBezTo>
                      <a:pt x="2644276" y="1269240"/>
                      <a:pt x="1680613" y="1675142"/>
                      <a:pt x="983058" y="2331396"/>
                    </a:cubicBezTo>
                    <a:lnTo>
                      <a:pt x="886018" y="2431846"/>
                    </a:lnTo>
                    <a:lnTo>
                      <a:pt x="0" y="1540344"/>
                    </a:lnTo>
                    <a:lnTo>
                      <a:pt x="206512" y="1319683"/>
                    </a:lnTo>
                    <a:cubicBezTo>
                      <a:pt x="1038956" y="513720"/>
                      <a:pt x="2298749" y="0"/>
                      <a:pt x="3708708"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solidFill>
                    <a:schemeClr val="bg1"/>
                  </a:solidFill>
                </a:endParaRPr>
              </a:p>
            </p:txBody>
          </p:sp>
          <p:sp>
            <p:nvSpPr>
              <p:cNvPr id="101" name="Freeform 100"/>
              <p:cNvSpPr/>
              <p:nvPr/>
            </p:nvSpPr>
            <p:spPr>
              <a:xfrm>
                <a:off x="4161128" y="2392892"/>
                <a:ext cx="158373" cy="60734"/>
              </a:xfrm>
              <a:custGeom>
                <a:avLst/>
                <a:gdLst>
                  <a:gd name="connsiteX0" fmla="*/ 2594564 w 5188277"/>
                  <a:gd name="connsiteY0" fmla="*/ 0 h 1989641"/>
                  <a:gd name="connsiteX1" fmla="*/ 5156157 w 5188277"/>
                  <a:gd name="connsiteY1" fmla="*/ 1062156 h 1989641"/>
                  <a:gd name="connsiteX2" fmla="*/ 5188277 w 5188277"/>
                  <a:gd name="connsiteY2" fmla="*/ 1097535 h 1989641"/>
                  <a:gd name="connsiteX3" fmla="*/ 4302520 w 5188277"/>
                  <a:gd name="connsiteY3" fmla="*/ 1988775 h 1989641"/>
                  <a:gd name="connsiteX4" fmla="*/ 4207964 w 5188277"/>
                  <a:gd name="connsiteY4" fmla="*/ 1899916 h 1989641"/>
                  <a:gd name="connsiteX5" fmla="*/ 2594564 w 5188277"/>
                  <a:gd name="connsiteY5" fmla="*/ 1280580 h 1989641"/>
                  <a:gd name="connsiteX6" fmla="*/ 981164 w 5188277"/>
                  <a:gd name="connsiteY6" fmla="*/ 1899916 h 1989641"/>
                  <a:gd name="connsiteX7" fmla="*/ 885686 w 5188277"/>
                  <a:gd name="connsiteY7" fmla="*/ 1989641 h 1989641"/>
                  <a:gd name="connsiteX8" fmla="*/ 0 w 5188277"/>
                  <a:gd name="connsiteY8" fmla="*/ 1098473 h 1989641"/>
                  <a:gd name="connsiteX9" fmla="*/ 32972 w 5188277"/>
                  <a:gd name="connsiteY9" fmla="*/ 1062156 h 1989641"/>
                  <a:gd name="connsiteX10" fmla="*/ 2594564 w 5188277"/>
                  <a:gd name="connsiteY10" fmla="*/ 0 h 198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88277" h="1989641">
                    <a:moveTo>
                      <a:pt x="2594564" y="0"/>
                    </a:moveTo>
                    <a:cubicBezTo>
                      <a:pt x="3594928" y="0"/>
                      <a:pt x="4500588" y="405902"/>
                      <a:pt x="5156157" y="1062156"/>
                    </a:cubicBezTo>
                    <a:lnTo>
                      <a:pt x="5188277" y="1097535"/>
                    </a:lnTo>
                    <a:lnTo>
                      <a:pt x="4302520" y="1988775"/>
                    </a:lnTo>
                    <a:lnTo>
                      <a:pt x="4207964" y="1899916"/>
                    </a:lnTo>
                    <a:cubicBezTo>
                      <a:pt x="3747410" y="1508899"/>
                      <a:pt x="3192204" y="1280580"/>
                      <a:pt x="2594564" y="1280580"/>
                    </a:cubicBezTo>
                    <a:cubicBezTo>
                      <a:pt x="1996925" y="1280580"/>
                      <a:pt x="1441719" y="1508899"/>
                      <a:pt x="981164" y="1899916"/>
                    </a:cubicBezTo>
                    <a:lnTo>
                      <a:pt x="885686" y="1989641"/>
                    </a:lnTo>
                    <a:lnTo>
                      <a:pt x="0" y="1098473"/>
                    </a:lnTo>
                    <a:lnTo>
                      <a:pt x="32972" y="1062156"/>
                    </a:lnTo>
                    <a:cubicBezTo>
                      <a:pt x="688541" y="405902"/>
                      <a:pt x="1594200" y="0"/>
                      <a:pt x="2594564"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solidFill>
                    <a:schemeClr val="bg1"/>
                  </a:solidFill>
                </a:endParaRPr>
              </a:p>
            </p:txBody>
          </p:sp>
          <p:sp>
            <p:nvSpPr>
              <p:cNvPr id="102" name="Freeform 101"/>
              <p:cNvSpPr/>
              <p:nvPr/>
            </p:nvSpPr>
            <p:spPr>
              <a:xfrm>
                <a:off x="4194626" y="2448145"/>
                <a:ext cx="91375" cy="46549"/>
              </a:xfrm>
              <a:custGeom>
                <a:avLst/>
                <a:gdLst>
                  <a:gd name="connsiteX0" fmla="*/ 1497211 w 2993437"/>
                  <a:gd name="connsiteY0" fmla="*/ 0 h 1524940"/>
                  <a:gd name="connsiteX1" fmla="*/ 2788119 w 2993437"/>
                  <a:gd name="connsiteY1" fmla="*/ 437690 h 1524940"/>
                  <a:gd name="connsiteX2" fmla="*/ 2993437 w 2993437"/>
                  <a:gd name="connsiteY2" fmla="*/ 604713 h 1524940"/>
                  <a:gd name="connsiteX3" fmla="*/ 2079687 w 2993437"/>
                  <a:gd name="connsiteY3" fmla="*/ 1524119 h 1524940"/>
                  <a:gd name="connsiteX4" fmla="*/ 1961651 w 2993437"/>
                  <a:gd name="connsiteY4" fmla="*/ 1423807 h 1524940"/>
                  <a:gd name="connsiteX5" fmla="*/ 1497211 w 2993437"/>
                  <a:gd name="connsiteY5" fmla="*/ 1260770 h 1524940"/>
                  <a:gd name="connsiteX6" fmla="*/ 1032772 w 2993437"/>
                  <a:gd name="connsiteY6" fmla="*/ 1423807 h 1524940"/>
                  <a:gd name="connsiteX7" fmla="*/ 913769 w 2993437"/>
                  <a:gd name="connsiteY7" fmla="*/ 1524940 h 1524940"/>
                  <a:gd name="connsiteX8" fmla="*/ 0 w 2993437"/>
                  <a:gd name="connsiteY8" fmla="*/ 605515 h 1524940"/>
                  <a:gd name="connsiteX9" fmla="*/ 206304 w 2993437"/>
                  <a:gd name="connsiteY9" fmla="*/ 437690 h 1524940"/>
                  <a:gd name="connsiteX10" fmla="*/ 1497211 w 2993437"/>
                  <a:gd name="connsiteY10" fmla="*/ 0 h 152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93437" h="1524940">
                    <a:moveTo>
                      <a:pt x="1497211" y="0"/>
                    </a:moveTo>
                    <a:cubicBezTo>
                      <a:pt x="1964624" y="0"/>
                      <a:pt x="2404380" y="158555"/>
                      <a:pt x="2788119" y="437690"/>
                    </a:cubicBezTo>
                    <a:lnTo>
                      <a:pt x="2993437" y="604713"/>
                    </a:lnTo>
                    <a:lnTo>
                      <a:pt x="2079687" y="1524119"/>
                    </a:lnTo>
                    <a:lnTo>
                      <a:pt x="1961651" y="1423807"/>
                    </a:lnTo>
                    <a:cubicBezTo>
                      <a:pt x="1814934" y="1317850"/>
                      <a:pt x="1658944" y="1260770"/>
                      <a:pt x="1497211" y="1260770"/>
                    </a:cubicBezTo>
                    <a:cubicBezTo>
                      <a:pt x="1335479" y="1260770"/>
                      <a:pt x="1179488" y="1317850"/>
                      <a:pt x="1032772" y="1423807"/>
                    </a:cubicBezTo>
                    <a:lnTo>
                      <a:pt x="913769" y="1524940"/>
                    </a:lnTo>
                    <a:lnTo>
                      <a:pt x="0" y="605515"/>
                    </a:lnTo>
                    <a:lnTo>
                      <a:pt x="206304" y="437690"/>
                    </a:lnTo>
                    <a:cubicBezTo>
                      <a:pt x="590043" y="158555"/>
                      <a:pt x="1029799" y="0"/>
                      <a:pt x="1497211"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solidFill>
                    <a:schemeClr val="bg1"/>
                  </a:solidFill>
                </a:endParaRPr>
              </a:p>
            </p:txBody>
          </p:sp>
        </p:grpSp>
      </p:grpSp>
      <p:grpSp>
        <p:nvGrpSpPr>
          <p:cNvPr id="17" name="Group 16"/>
          <p:cNvGrpSpPr/>
          <p:nvPr/>
        </p:nvGrpSpPr>
        <p:grpSpPr>
          <a:xfrm>
            <a:off x="5286375" y="1197293"/>
            <a:ext cx="2600892" cy="3569970"/>
            <a:chOff x="5286375" y="1197293"/>
            <a:chExt cx="2600892" cy="3569970"/>
          </a:xfrm>
        </p:grpSpPr>
        <p:sp>
          <p:nvSpPr>
            <p:cNvPr id="79" name="Chevron 78"/>
            <p:cNvSpPr/>
            <p:nvPr/>
          </p:nvSpPr>
          <p:spPr>
            <a:xfrm>
              <a:off x="5286375" y="1197293"/>
              <a:ext cx="2600892" cy="647115"/>
            </a:xfrm>
            <a:prstGeom prst="chevron">
              <a:avLst>
                <a:gd name="adj" fmla="val 64804"/>
              </a:avLst>
            </a:prstGeom>
            <a:solidFill>
              <a:schemeClr val="accent1"/>
            </a:solidFill>
            <a:ln w="25400" cap="flat" cmpd="sng" algn="ctr">
              <a:noFill/>
              <a:prstDash val="solid"/>
            </a:ln>
            <a:effectLst/>
          </p:spPr>
          <p:txBody>
            <a:bodyPr rtlCol="0" anchor="ctr"/>
            <a:lstStyle/>
            <a:p>
              <a:pPr algn="ctr" defTabSz="1086775">
                <a:lnSpc>
                  <a:spcPct val="90000"/>
                </a:lnSpc>
                <a:defRPr/>
              </a:pPr>
              <a:endParaRPr lang="en-US" sz="900" kern="0" dirty="0">
                <a:solidFill>
                  <a:srgbClr val="FFFFFF"/>
                </a:solidFill>
              </a:endParaRPr>
            </a:p>
          </p:txBody>
        </p:sp>
        <p:grpSp>
          <p:nvGrpSpPr>
            <p:cNvPr id="12" name="Group 11"/>
            <p:cNvGrpSpPr/>
            <p:nvPr/>
          </p:nvGrpSpPr>
          <p:grpSpPr>
            <a:xfrm>
              <a:off x="5418975" y="1415543"/>
              <a:ext cx="2382716" cy="3351720"/>
              <a:chOff x="5418975" y="1415543"/>
              <a:chExt cx="2382716" cy="3351720"/>
            </a:xfrm>
          </p:grpSpPr>
          <p:cxnSp>
            <p:nvCxnSpPr>
              <p:cNvPr id="24" name="Straight Connector 23"/>
              <p:cNvCxnSpPr/>
              <p:nvPr/>
            </p:nvCxnSpPr>
            <p:spPr>
              <a:xfrm flipH="1">
                <a:off x="5970296" y="3452800"/>
                <a:ext cx="85395" cy="0"/>
              </a:xfrm>
              <a:prstGeom prst="line">
                <a:avLst/>
              </a:prstGeom>
              <a:noFill/>
              <a:ln w="12700" cap="flat" cmpd="sng" algn="ctr">
                <a:solidFill>
                  <a:schemeClr val="tx1"/>
                </a:solidFill>
                <a:prstDash val="solid"/>
              </a:ln>
              <a:effectLst/>
            </p:spPr>
          </p:cxnSp>
          <p:cxnSp>
            <p:nvCxnSpPr>
              <p:cNvPr id="25" name="Straight Connector 24"/>
              <p:cNvCxnSpPr/>
              <p:nvPr/>
            </p:nvCxnSpPr>
            <p:spPr>
              <a:xfrm flipH="1">
                <a:off x="6802588" y="3452800"/>
                <a:ext cx="85395" cy="0"/>
              </a:xfrm>
              <a:prstGeom prst="line">
                <a:avLst/>
              </a:prstGeom>
              <a:noFill/>
              <a:ln w="12700" cap="flat" cmpd="sng" algn="ctr">
                <a:solidFill>
                  <a:schemeClr val="tx1"/>
                </a:solidFill>
                <a:prstDash val="solid"/>
              </a:ln>
              <a:effectLst/>
            </p:spPr>
          </p:cxnSp>
          <p:cxnSp>
            <p:nvCxnSpPr>
              <p:cNvPr id="26" name="Straight Connector 25"/>
              <p:cNvCxnSpPr/>
              <p:nvPr/>
            </p:nvCxnSpPr>
            <p:spPr>
              <a:xfrm rot="5400000" flipH="1">
                <a:off x="6386442" y="3036093"/>
                <a:ext cx="85395" cy="0"/>
              </a:xfrm>
              <a:prstGeom prst="line">
                <a:avLst/>
              </a:prstGeom>
              <a:noFill/>
              <a:ln w="12700" cap="flat" cmpd="sng" algn="ctr">
                <a:solidFill>
                  <a:schemeClr val="tx1"/>
                </a:solidFill>
                <a:prstDash val="solid"/>
              </a:ln>
              <a:effectLst/>
            </p:spPr>
          </p:cxnSp>
          <p:cxnSp>
            <p:nvCxnSpPr>
              <p:cNvPr id="27" name="Straight Connector 26"/>
              <p:cNvCxnSpPr/>
              <p:nvPr/>
            </p:nvCxnSpPr>
            <p:spPr>
              <a:xfrm rot="5400000" flipH="1">
                <a:off x="6386442" y="3870225"/>
                <a:ext cx="85395" cy="0"/>
              </a:xfrm>
              <a:prstGeom prst="line">
                <a:avLst/>
              </a:prstGeom>
              <a:noFill/>
              <a:ln w="12700" cap="flat" cmpd="sng" algn="ctr">
                <a:solidFill>
                  <a:schemeClr val="tx1"/>
                </a:solidFill>
                <a:prstDash val="solid"/>
              </a:ln>
              <a:effectLst/>
            </p:spPr>
          </p:cxnSp>
          <p:sp>
            <p:nvSpPr>
              <p:cNvPr id="29" name="TextBox 28"/>
              <p:cNvSpPr txBox="1"/>
              <p:nvPr/>
            </p:nvSpPr>
            <p:spPr>
              <a:xfrm>
                <a:off x="5527104" y="3395900"/>
                <a:ext cx="371897" cy="124650"/>
              </a:xfrm>
              <a:prstGeom prst="rect">
                <a:avLst/>
              </a:prstGeom>
              <a:noFill/>
            </p:spPr>
            <p:txBody>
              <a:bodyPr wrap="none" lIns="0" tIns="0" rIns="0" bIns="0" rtlCol="0" anchor="ctr">
                <a:spAutoFit/>
              </a:bodyPr>
              <a:lstStyle/>
              <a:p>
                <a:pPr algn="ctr" defTabSz="1086775">
                  <a:lnSpc>
                    <a:spcPct val="90000"/>
                  </a:lnSpc>
                </a:pPr>
                <a:r>
                  <a:rPr lang="en-US" sz="900" dirty="0"/>
                  <a:t>TILLERS</a:t>
                </a:r>
              </a:p>
            </p:txBody>
          </p:sp>
          <p:sp>
            <p:nvSpPr>
              <p:cNvPr id="30" name="TextBox 29"/>
              <p:cNvSpPr txBox="1"/>
              <p:nvPr/>
            </p:nvSpPr>
            <p:spPr>
              <a:xfrm>
                <a:off x="6933929" y="3391611"/>
                <a:ext cx="532197" cy="124650"/>
              </a:xfrm>
              <a:prstGeom prst="rect">
                <a:avLst/>
              </a:prstGeom>
              <a:noFill/>
            </p:spPr>
            <p:txBody>
              <a:bodyPr wrap="none" lIns="0" tIns="0" rIns="0" bIns="0" rtlCol="0" anchor="ctr">
                <a:spAutoFit/>
              </a:bodyPr>
              <a:lstStyle/>
              <a:p>
                <a:pPr algn="ctr" defTabSz="1086775">
                  <a:lnSpc>
                    <a:spcPct val="90000"/>
                  </a:lnSpc>
                </a:pPr>
                <a:r>
                  <a:rPr lang="en-US" sz="900" dirty="0"/>
                  <a:t>PLANTERS</a:t>
                </a:r>
              </a:p>
            </p:txBody>
          </p:sp>
          <p:sp>
            <p:nvSpPr>
              <p:cNvPr id="31" name="TextBox 30"/>
              <p:cNvSpPr txBox="1"/>
              <p:nvPr/>
            </p:nvSpPr>
            <p:spPr>
              <a:xfrm>
                <a:off x="6142743" y="2806288"/>
                <a:ext cx="578684" cy="124650"/>
              </a:xfrm>
              <a:prstGeom prst="rect">
                <a:avLst/>
              </a:prstGeom>
              <a:noFill/>
            </p:spPr>
            <p:txBody>
              <a:bodyPr wrap="none" lIns="0" tIns="0" rIns="0" bIns="0" rtlCol="0" anchor="ctr">
                <a:spAutoFit/>
              </a:bodyPr>
              <a:lstStyle/>
              <a:p>
                <a:pPr algn="ctr" defTabSz="1086775">
                  <a:lnSpc>
                    <a:spcPct val="90000"/>
                  </a:lnSpc>
                </a:pPr>
                <a:r>
                  <a:rPr lang="en-US" sz="900" dirty="0"/>
                  <a:t>TRACTORS</a:t>
                </a:r>
              </a:p>
            </p:txBody>
          </p:sp>
          <p:sp>
            <p:nvSpPr>
              <p:cNvPr id="32" name="TextBox 31"/>
              <p:cNvSpPr txBox="1"/>
              <p:nvPr/>
            </p:nvSpPr>
            <p:spPr>
              <a:xfrm>
                <a:off x="6055692" y="3238004"/>
                <a:ext cx="746896" cy="415498"/>
              </a:xfrm>
              <a:prstGeom prst="rect">
                <a:avLst/>
              </a:prstGeom>
              <a:noFill/>
            </p:spPr>
            <p:txBody>
              <a:bodyPr wrap="square" lIns="0" tIns="0" rIns="0" bIns="0" rtlCol="0" anchor="ctr">
                <a:spAutoFit/>
              </a:bodyPr>
              <a:lstStyle/>
              <a:p>
                <a:pPr algn="ctr" defTabSz="1086775">
                  <a:lnSpc>
                    <a:spcPct val="90000"/>
                  </a:lnSpc>
                </a:pPr>
                <a:r>
                  <a:rPr lang="en-US" sz="1000" b="1" dirty="0"/>
                  <a:t>Farm</a:t>
                </a:r>
                <a:br>
                  <a:rPr lang="en-US" sz="1000" b="1" dirty="0"/>
                </a:br>
                <a:r>
                  <a:rPr lang="en-US" sz="1000" b="1" dirty="0"/>
                  <a:t>Equipment System</a:t>
                </a:r>
              </a:p>
            </p:txBody>
          </p:sp>
          <p:sp>
            <p:nvSpPr>
              <p:cNvPr id="33" name="TextBox 32"/>
              <p:cNvSpPr txBox="1"/>
              <p:nvPr/>
            </p:nvSpPr>
            <p:spPr>
              <a:xfrm>
                <a:off x="6091446" y="4398549"/>
                <a:ext cx="676467" cy="249299"/>
              </a:xfrm>
              <a:prstGeom prst="rect">
                <a:avLst/>
              </a:prstGeom>
              <a:noFill/>
            </p:spPr>
            <p:txBody>
              <a:bodyPr wrap="none" lIns="0" tIns="0" rIns="0" bIns="0" rtlCol="0" anchor="ctr">
                <a:spAutoFit/>
              </a:bodyPr>
              <a:lstStyle/>
              <a:p>
                <a:pPr algn="ctr" defTabSz="1086775">
                  <a:lnSpc>
                    <a:spcPct val="90000"/>
                  </a:lnSpc>
                </a:pPr>
                <a:r>
                  <a:rPr lang="en-US" sz="900" dirty="0"/>
                  <a:t>COMBINE</a:t>
                </a:r>
              </a:p>
              <a:p>
                <a:pPr algn="ctr" defTabSz="1086775">
                  <a:lnSpc>
                    <a:spcPct val="90000"/>
                  </a:lnSpc>
                </a:pPr>
                <a:r>
                  <a:rPr lang="en-US" sz="900" dirty="0"/>
                  <a:t>HARVESTERS</a:t>
                </a:r>
              </a:p>
            </p:txBody>
          </p:sp>
          <p:sp>
            <p:nvSpPr>
              <p:cNvPr id="34" name="Rounded Rectangle 33"/>
              <p:cNvSpPr/>
              <p:nvPr/>
            </p:nvSpPr>
            <p:spPr>
              <a:xfrm>
                <a:off x="5418975" y="2089768"/>
                <a:ext cx="2126896" cy="2677495"/>
              </a:xfrm>
              <a:prstGeom prst="roundRect">
                <a:avLst>
                  <a:gd name="adj" fmla="val 4996"/>
                </a:avLst>
              </a:prstGeom>
              <a:noFill/>
              <a:ln w="12700" cap="flat" cmpd="sng" algn="ctr">
                <a:solidFill>
                  <a:schemeClr val="bg1">
                    <a:lumMod val="75000"/>
                  </a:schemeClr>
                </a:solidFill>
                <a:prstDash val="solid"/>
              </a:ln>
              <a:effectLst/>
            </p:spPr>
            <p:txBody>
              <a:bodyPr rtlCol="0" anchor="ctr"/>
              <a:lstStyle/>
              <a:p>
                <a:pPr algn="ctr" defTabSz="1086775">
                  <a:lnSpc>
                    <a:spcPct val="90000"/>
                  </a:lnSpc>
                  <a:defRPr/>
                </a:pPr>
                <a:endParaRPr lang="en-US" sz="1600" kern="0" dirty="0">
                  <a:solidFill>
                    <a:srgbClr val="FFFFFF"/>
                  </a:solidFill>
                </a:endParaRPr>
              </a:p>
            </p:txBody>
          </p:sp>
          <p:pic>
            <p:nvPicPr>
              <p:cNvPr id="35"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22750" y="3910392"/>
                <a:ext cx="613856" cy="422775"/>
              </a:xfrm>
              <a:prstGeom prst="rect">
                <a:avLst/>
              </a:prstGeom>
            </p:spPr>
          </p:pic>
          <p:pic>
            <p:nvPicPr>
              <p:cNvPr id="36" name="Picture 3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045106" y="3079523"/>
                <a:ext cx="290608" cy="255535"/>
              </a:xfrm>
              <a:prstGeom prst="rect">
                <a:avLst/>
              </a:prstGeom>
            </p:spPr>
          </p:pic>
          <p:pic>
            <p:nvPicPr>
              <p:cNvPr id="37" name="Picture 3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13886" y="3193616"/>
                <a:ext cx="398333" cy="135282"/>
              </a:xfrm>
              <a:prstGeom prst="rect">
                <a:avLst/>
              </a:prstGeom>
            </p:spPr>
          </p:pic>
          <p:sp>
            <p:nvSpPr>
              <p:cNvPr id="38" name="Oval 37"/>
              <p:cNvSpPr/>
              <p:nvPr/>
            </p:nvSpPr>
            <p:spPr>
              <a:xfrm>
                <a:off x="6055692" y="3079351"/>
                <a:ext cx="746896" cy="746896"/>
              </a:xfrm>
              <a:prstGeom prst="ellipse">
                <a:avLst/>
              </a:prstGeom>
              <a:noFill/>
              <a:ln w="12700" cap="flat" cmpd="sng" algn="ctr">
                <a:solidFill>
                  <a:schemeClr val="tx1"/>
                </a:solidFill>
                <a:prstDash val="solid"/>
              </a:ln>
              <a:effectLst/>
            </p:spPr>
            <p:txBody>
              <a:bodyPr rtlCol="0" anchor="ctr"/>
              <a:lstStyle/>
              <a:p>
                <a:pPr algn="ctr" defTabSz="1086775">
                  <a:lnSpc>
                    <a:spcPct val="90000"/>
                  </a:lnSpc>
                  <a:defRPr/>
                </a:pPr>
                <a:endParaRPr lang="en-US" sz="1600" kern="0" dirty="0">
                  <a:solidFill>
                    <a:srgbClr val="FFFFFF"/>
                  </a:solidFill>
                </a:endParaRPr>
              </a:p>
            </p:txBody>
          </p:sp>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8769" y="2378067"/>
                <a:ext cx="547838" cy="376136"/>
              </a:xfrm>
              <a:prstGeom prst="rect">
                <a:avLst/>
              </a:prstGeom>
            </p:spPr>
          </p:pic>
          <p:sp>
            <p:nvSpPr>
              <p:cNvPr id="83" name="TextBox 82"/>
              <p:cNvSpPr txBox="1"/>
              <p:nvPr/>
            </p:nvSpPr>
            <p:spPr>
              <a:xfrm>
                <a:off x="5430180" y="1415543"/>
                <a:ext cx="2371511" cy="193899"/>
              </a:xfrm>
              <a:prstGeom prst="rect">
                <a:avLst/>
              </a:prstGeom>
              <a:noFill/>
            </p:spPr>
            <p:txBody>
              <a:bodyPr wrap="square" lIns="0" tIns="0" rIns="0" bIns="0" rtlCol="0" anchor="ctr">
                <a:spAutoFit/>
              </a:bodyPr>
              <a:lstStyle/>
              <a:p>
                <a:pPr algn="ctr" defTabSz="1086775">
                  <a:lnSpc>
                    <a:spcPct val="90000"/>
                  </a:lnSpc>
                  <a:defRPr/>
                </a:pPr>
                <a:r>
                  <a:rPr lang="en-US" sz="1400" kern="0" dirty="0">
                    <a:solidFill>
                      <a:srgbClr val="FFFFFF"/>
                    </a:solidFill>
                  </a:rPr>
                  <a:t>Product System</a:t>
                </a:r>
              </a:p>
            </p:txBody>
          </p:sp>
          <p:grpSp>
            <p:nvGrpSpPr>
              <p:cNvPr id="103" name="Group 102"/>
              <p:cNvGrpSpPr/>
              <p:nvPr/>
            </p:nvGrpSpPr>
            <p:grpSpPr>
              <a:xfrm>
                <a:off x="6242864" y="2185672"/>
                <a:ext cx="226592" cy="158178"/>
                <a:chOff x="4127018" y="2336516"/>
                <a:chExt cx="226592" cy="158178"/>
              </a:xfrm>
              <a:solidFill>
                <a:schemeClr val="tx1"/>
              </a:solidFill>
            </p:grpSpPr>
            <p:sp>
              <p:nvSpPr>
                <p:cNvPr id="104" name="Freeform 103"/>
                <p:cNvSpPr/>
                <p:nvPr/>
              </p:nvSpPr>
              <p:spPr>
                <a:xfrm>
                  <a:off x="4127018" y="2336516"/>
                  <a:ext cx="226592" cy="74416"/>
                </a:xfrm>
                <a:custGeom>
                  <a:avLst/>
                  <a:gdLst>
                    <a:gd name="connsiteX0" fmla="*/ 3708708 w 7423131"/>
                    <a:gd name="connsiteY0" fmla="*/ 0 h 2437858"/>
                    <a:gd name="connsiteX1" fmla="*/ 7210905 w 7423131"/>
                    <a:gd name="connsiteY1" fmla="*/ 1319683 h 2437858"/>
                    <a:gd name="connsiteX2" fmla="*/ 7423131 w 7423131"/>
                    <a:gd name="connsiteY2" fmla="*/ 1546450 h 2437858"/>
                    <a:gd name="connsiteX3" fmla="*/ 6537206 w 7423131"/>
                    <a:gd name="connsiteY3" fmla="*/ 2437858 h 2437858"/>
                    <a:gd name="connsiteX4" fmla="*/ 6434358 w 7423131"/>
                    <a:gd name="connsiteY4" fmla="*/ 2331396 h 2437858"/>
                    <a:gd name="connsiteX5" fmla="*/ 3708708 w 7423131"/>
                    <a:gd name="connsiteY5" fmla="*/ 1269240 h 2437858"/>
                    <a:gd name="connsiteX6" fmla="*/ 983058 w 7423131"/>
                    <a:gd name="connsiteY6" fmla="*/ 2331396 h 2437858"/>
                    <a:gd name="connsiteX7" fmla="*/ 886018 w 7423131"/>
                    <a:gd name="connsiteY7" fmla="*/ 2431846 h 2437858"/>
                    <a:gd name="connsiteX8" fmla="*/ 0 w 7423131"/>
                    <a:gd name="connsiteY8" fmla="*/ 1540344 h 2437858"/>
                    <a:gd name="connsiteX9" fmla="*/ 206512 w 7423131"/>
                    <a:gd name="connsiteY9" fmla="*/ 1319683 h 2437858"/>
                    <a:gd name="connsiteX10" fmla="*/ 3708708 w 7423131"/>
                    <a:gd name="connsiteY10" fmla="*/ 0 h 2437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3131" h="2437858">
                      <a:moveTo>
                        <a:pt x="3708708" y="0"/>
                      </a:moveTo>
                      <a:cubicBezTo>
                        <a:pt x="5118667" y="0"/>
                        <a:pt x="6378460" y="513720"/>
                        <a:pt x="7210905" y="1319683"/>
                      </a:cubicBezTo>
                      <a:lnTo>
                        <a:pt x="7423131" y="1546450"/>
                      </a:lnTo>
                      <a:lnTo>
                        <a:pt x="6537206" y="2437858"/>
                      </a:lnTo>
                      <a:lnTo>
                        <a:pt x="6434358" y="2331396"/>
                      </a:lnTo>
                      <a:cubicBezTo>
                        <a:pt x="5736804" y="1675142"/>
                        <a:pt x="4773141" y="1269240"/>
                        <a:pt x="3708708" y="1269240"/>
                      </a:cubicBezTo>
                      <a:cubicBezTo>
                        <a:pt x="2644276" y="1269240"/>
                        <a:pt x="1680613" y="1675142"/>
                        <a:pt x="983058" y="2331396"/>
                      </a:cubicBezTo>
                      <a:lnTo>
                        <a:pt x="886018" y="2431846"/>
                      </a:lnTo>
                      <a:lnTo>
                        <a:pt x="0" y="1540344"/>
                      </a:lnTo>
                      <a:lnTo>
                        <a:pt x="206512" y="1319683"/>
                      </a:lnTo>
                      <a:cubicBezTo>
                        <a:pt x="1038956" y="513720"/>
                        <a:pt x="2298749" y="0"/>
                        <a:pt x="3708708"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solidFill>
                      <a:schemeClr val="bg1"/>
                    </a:solidFill>
                  </a:endParaRPr>
                </a:p>
              </p:txBody>
            </p:sp>
            <p:sp>
              <p:nvSpPr>
                <p:cNvPr id="105" name="Freeform 104"/>
                <p:cNvSpPr/>
                <p:nvPr/>
              </p:nvSpPr>
              <p:spPr>
                <a:xfrm>
                  <a:off x="4161128" y="2392892"/>
                  <a:ext cx="158373" cy="60734"/>
                </a:xfrm>
                <a:custGeom>
                  <a:avLst/>
                  <a:gdLst>
                    <a:gd name="connsiteX0" fmla="*/ 2594564 w 5188277"/>
                    <a:gd name="connsiteY0" fmla="*/ 0 h 1989641"/>
                    <a:gd name="connsiteX1" fmla="*/ 5156157 w 5188277"/>
                    <a:gd name="connsiteY1" fmla="*/ 1062156 h 1989641"/>
                    <a:gd name="connsiteX2" fmla="*/ 5188277 w 5188277"/>
                    <a:gd name="connsiteY2" fmla="*/ 1097535 h 1989641"/>
                    <a:gd name="connsiteX3" fmla="*/ 4302520 w 5188277"/>
                    <a:gd name="connsiteY3" fmla="*/ 1988775 h 1989641"/>
                    <a:gd name="connsiteX4" fmla="*/ 4207964 w 5188277"/>
                    <a:gd name="connsiteY4" fmla="*/ 1899916 h 1989641"/>
                    <a:gd name="connsiteX5" fmla="*/ 2594564 w 5188277"/>
                    <a:gd name="connsiteY5" fmla="*/ 1280580 h 1989641"/>
                    <a:gd name="connsiteX6" fmla="*/ 981164 w 5188277"/>
                    <a:gd name="connsiteY6" fmla="*/ 1899916 h 1989641"/>
                    <a:gd name="connsiteX7" fmla="*/ 885686 w 5188277"/>
                    <a:gd name="connsiteY7" fmla="*/ 1989641 h 1989641"/>
                    <a:gd name="connsiteX8" fmla="*/ 0 w 5188277"/>
                    <a:gd name="connsiteY8" fmla="*/ 1098473 h 1989641"/>
                    <a:gd name="connsiteX9" fmla="*/ 32972 w 5188277"/>
                    <a:gd name="connsiteY9" fmla="*/ 1062156 h 1989641"/>
                    <a:gd name="connsiteX10" fmla="*/ 2594564 w 5188277"/>
                    <a:gd name="connsiteY10" fmla="*/ 0 h 198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88277" h="1989641">
                      <a:moveTo>
                        <a:pt x="2594564" y="0"/>
                      </a:moveTo>
                      <a:cubicBezTo>
                        <a:pt x="3594928" y="0"/>
                        <a:pt x="4500588" y="405902"/>
                        <a:pt x="5156157" y="1062156"/>
                      </a:cubicBezTo>
                      <a:lnTo>
                        <a:pt x="5188277" y="1097535"/>
                      </a:lnTo>
                      <a:lnTo>
                        <a:pt x="4302520" y="1988775"/>
                      </a:lnTo>
                      <a:lnTo>
                        <a:pt x="4207964" y="1899916"/>
                      </a:lnTo>
                      <a:cubicBezTo>
                        <a:pt x="3747410" y="1508899"/>
                        <a:pt x="3192204" y="1280580"/>
                        <a:pt x="2594564" y="1280580"/>
                      </a:cubicBezTo>
                      <a:cubicBezTo>
                        <a:pt x="1996925" y="1280580"/>
                        <a:pt x="1441719" y="1508899"/>
                        <a:pt x="981164" y="1899916"/>
                      </a:cubicBezTo>
                      <a:lnTo>
                        <a:pt x="885686" y="1989641"/>
                      </a:lnTo>
                      <a:lnTo>
                        <a:pt x="0" y="1098473"/>
                      </a:lnTo>
                      <a:lnTo>
                        <a:pt x="32972" y="1062156"/>
                      </a:lnTo>
                      <a:cubicBezTo>
                        <a:pt x="688541" y="405902"/>
                        <a:pt x="1594200" y="0"/>
                        <a:pt x="2594564"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solidFill>
                      <a:schemeClr val="bg1"/>
                    </a:solidFill>
                  </a:endParaRPr>
                </a:p>
              </p:txBody>
            </p:sp>
            <p:sp>
              <p:nvSpPr>
                <p:cNvPr id="106" name="Freeform 105"/>
                <p:cNvSpPr/>
                <p:nvPr/>
              </p:nvSpPr>
              <p:spPr>
                <a:xfrm>
                  <a:off x="4194626" y="2448145"/>
                  <a:ext cx="91375" cy="46549"/>
                </a:xfrm>
                <a:custGeom>
                  <a:avLst/>
                  <a:gdLst>
                    <a:gd name="connsiteX0" fmla="*/ 1497211 w 2993437"/>
                    <a:gd name="connsiteY0" fmla="*/ 0 h 1524940"/>
                    <a:gd name="connsiteX1" fmla="*/ 2788119 w 2993437"/>
                    <a:gd name="connsiteY1" fmla="*/ 437690 h 1524940"/>
                    <a:gd name="connsiteX2" fmla="*/ 2993437 w 2993437"/>
                    <a:gd name="connsiteY2" fmla="*/ 604713 h 1524940"/>
                    <a:gd name="connsiteX3" fmla="*/ 2079687 w 2993437"/>
                    <a:gd name="connsiteY3" fmla="*/ 1524119 h 1524940"/>
                    <a:gd name="connsiteX4" fmla="*/ 1961651 w 2993437"/>
                    <a:gd name="connsiteY4" fmla="*/ 1423807 h 1524940"/>
                    <a:gd name="connsiteX5" fmla="*/ 1497211 w 2993437"/>
                    <a:gd name="connsiteY5" fmla="*/ 1260770 h 1524940"/>
                    <a:gd name="connsiteX6" fmla="*/ 1032772 w 2993437"/>
                    <a:gd name="connsiteY6" fmla="*/ 1423807 h 1524940"/>
                    <a:gd name="connsiteX7" fmla="*/ 913769 w 2993437"/>
                    <a:gd name="connsiteY7" fmla="*/ 1524940 h 1524940"/>
                    <a:gd name="connsiteX8" fmla="*/ 0 w 2993437"/>
                    <a:gd name="connsiteY8" fmla="*/ 605515 h 1524940"/>
                    <a:gd name="connsiteX9" fmla="*/ 206304 w 2993437"/>
                    <a:gd name="connsiteY9" fmla="*/ 437690 h 1524940"/>
                    <a:gd name="connsiteX10" fmla="*/ 1497211 w 2993437"/>
                    <a:gd name="connsiteY10" fmla="*/ 0 h 152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93437" h="1524940">
                      <a:moveTo>
                        <a:pt x="1497211" y="0"/>
                      </a:moveTo>
                      <a:cubicBezTo>
                        <a:pt x="1964624" y="0"/>
                        <a:pt x="2404380" y="158555"/>
                        <a:pt x="2788119" y="437690"/>
                      </a:cubicBezTo>
                      <a:lnTo>
                        <a:pt x="2993437" y="604713"/>
                      </a:lnTo>
                      <a:lnTo>
                        <a:pt x="2079687" y="1524119"/>
                      </a:lnTo>
                      <a:lnTo>
                        <a:pt x="1961651" y="1423807"/>
                      </a:lnTo>
                      <a:cubicBezTo>
                        <a:pt x="1814934" y="1317850"/>
                        <a:pt x="1658944" y="1260770"/>
                        <a:pt x="1497211" y="1260770"/>
                      </a:cubicBezTo>
                      <a:cubicBezTo>
                        <a:pt x="1335479" y="1260770"/>
                        <a:pt x="1179488" y="1317850"/>
                        <a:pt x="1032772" y="1423807"/>
                      </a:cubicBezTo>
                      <a:lnTo>
                        <a:pt x="913769" y="1524940"/>
                      </a:lnTo>
                      <a:lnTo>
                        <a:pt x="0" y="605515"/>
                      </a:lnTo>
                      <a:lnTo>
                        <a:pt x="206304" y="437690"/>
                      </a:lnTo>
                      <a:cubicBezTo>
                        <a:pt x="590043" y="158555"/>
                        <a:pt x="1029799" y="0"/>
                        <a:pt x="1497211"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solidFill>
                      <a:schemeClr val="bg1"/>
                    </a:solidFill>
                  </a:endParaRPr>
                </a:p>
              </p:txBody>
            </p:sp>
          </p:grpSp>
        </p:grpSp>
      </p:grpSp>
      <p:grpSp>
        <p:nvGrpSpPr>
          <p:cNvPr id="18" name="Group 17"/>
          <p:cNvGrpSpPr/>
          <p:nvPr/>
        </p:nvGrpSpPr>
        <p:grpSpPr>
          <a:xfrm>
            <a:off x="7560211" y="1083364"/>
            <a:ext cx="4162806" cy="4536325"/>
            <a:chOff x="7560211" y="1083364"/>
            <a:chExt cx="4162806" cy="4536325"/>
          </a:xfrm>
        </p:grpSpPr>
        <p:sp>
          <p:nvSpPr>
            <p:cNvPr id="44" name="TextBox 43"/>
            <p:cNvSpPr txBox="1"/>
            <p:nvPr/>
          </p:nvSpPr>
          <p:spPr>
            <a:xfrm>
              <a:off x="8866998" y="3707279"/>
              <a:ext cx="1319386" cy="664797"/>
            </a:xfrm>
            <a:prstGeom prst="rect">
              <a:avLst/>
            </a:prstGeom>
            <a:noFill/>
          </p:spPr>
          <p:txBody>
            <a:bodyPr wrap="square" lIns="0" tIns="0" rIns="0" bIns="0" rtlCol="0" anchor="ctr">
              <a:spAutoFit/>
            </a:bodyPr>
            <a:lstStyle/>
            <a:p>
              <a:pPr algn="ctr" defTabSz="1086775">
                <a:lnSpc>
                  <a:spcPct val="90000"/>
                </a:lnSpc>
              </a:pPr>
              <a:r>
                <a:rPr lang="en-US" sz="1200" b="1" dirty="0"/>
                <a:t>Farm Management System</a:t>
              </a:r>
              <a:br>
                <a:rPr lang="en-US" sz="1200" b="1" dirty="0"/>
              </a:br>
              <a:r>
                <a:rPr lang="en-US" sz="1200" b="1" dirty="0"/>
                <a:t>Platform</a:t>
              </a:r>
            </a:p>
          </p:txBody>
        </p:sp>
        <p:sp>
          <p:nvSpPr>
            <p:cNvPr id="46" name="TextBox 45"/>
            <p:cNvSpPr txBox="1"/>
            <p:nvPr/>
          </p:nvSpPr>
          <p:spPr>
            <a:xfrm>
              <a:off x="10460562" y="3916630"/>
              <a:ext cx="856046" cy="249299"/>
            </a:xfrm>
            <a:prstGeom prst="rect">
              <a:avLst/>
            </a:prstGeom>
            <a:noFill/>
          </p:spPr>
          <p:txBody>
            <a:bodyPr wrap="square" lIns="0" tIns="0" rIns="0" bIns="0" rtlCol="0" anchor="ctr">
              <a:spAutoFit/>
            </a:bodyPr>
            <a:lstStyle/>
            <a:p>
              <a:pPr defTabSz="1086775">
                <a:lnSpc>
                  <a:spcPct val="90000"/>
                </a:lnSpc>
              </a:pPr>
              <a:r>
                <a:rPr lang="en-US" sz="900" dirty="0"/>
                <a:t>WEATHER DATA SYSTEM</a:t>
              </a:r>
            </a:p>
          </p:txBody>
        </p:sp>
        <p:sp>
          <p:nvSpPr>
            <p:cNvPr id="47" name="TextBox 46"/>
            <p:cNvSpPr txBox="1"/>
            <p:nvPr/>
          </p:nvSpPr>
          <p:spPr>
            <a:xfrm>
              <a:off x="7753128" y="3916630"/>
              <a:ext cx="843362" cy="249299"/>
            </a:xfrm>
            <a:prstGeom prst="rect">
              <a:avLst/>
            </a:prstGeom>
            <a:noFill/>
          </p:spPr>
          <p:txBody>
            <a:bodyPr wrap="square" lIns="0" tIns="0" rIns="0" bIns="0" rtlCol="0" anchor="ctr">
              <a:spAutoFit/>
            </a:bodyPr>
            <a:lstStyle/>
            <a:p>
              <a:pPr algn="r" defTabSz="1086775">
                <a:lnSpc>
                  <a:spcPct val="90000"/>
                </a:lnSpc>
              </a:pPr>
              <a:r>
                <a:rPr lang="en-US" sz="900" dirty="0"/>
                <a:t>IRRIGATION SYSTEM</a:t>
              </a:r>
            </a:p>
          </p:txBody>
        </p:sp>
        <p:sp>
          <p:nvSpPr>
            <p:cNvPr id="48" name="TextBox 47"/>
            <p:cNvSpPr txBox="1"/>
            <p:nvPr/>
          </p:nvSpPr>
          <p:spPr>
            <a:xfrm>
              <a:off x="8779253" y="4940784"/>
              <a:ext cx="1491172" cy="276999"/>
            </a:xfrm>
            <a:prstGeom prst="rect">
              <a:avLst/>
            </a:prstGeom>
            <a:noFill/>
          </p:spPr>
          <p:txBody>
            <a:bodyPr wrap="square" lIns="0" tIns="0" rIns="0" bIns="0" rtlCol="0">
              <a:spAutoFit/>
            </a:bodyPr>
            <a:lstStyle/>
            <a:p>
              <a:pPr algn="ctr" defTabSz="1086775">
                <a:lnSpc>
                  <a:spcPct val="90000"/>
                </a:lnSpc>
              </a:pPr>
              <a:r>
                <a:rPr lang="en-US" sz="1000" dirty="0"/>
                <a:t>SEED OPTIMIZATION SYSTEM</a:t>
              </a:r>
            </a:p>
          </p:txBody>
        </p:sp>
        <p:sp>
          <p:nvSpPr>
            <p:cNvPr id="49" name="TextBox 48"/>
            <p:cNvSpPr txBox="1"/>
            <p:nvPr/>
          </p:nvSpPr>
          <p:spPr>
            <a:xfrm>
              <a:off x="8865805" y="2825894"/>
              <a:ext cx="1302712" cy="276999"/>
            </a:xfrm>
            <a:prstGeom prst="rect">
              <a:avLst/>
            </a:prstGeom>
            <a:noFill/>
          </p:spPr>
          <p:txBody>
            <a:bodyPr wrap="square" lIns="0" tIns="0" rIns="0" bIns="0" rtlCol="0">
              <a:spAutoFit/>
            </a:bodyPr>
            <a:lstStyle/>
            <a:p>
              <a:pPr algn="ctr" defTabSz="1086775">
                <a:lnSpc>
                  <a:spcPct val="90000"/>
                </a:lnSpc>
              </a:pPr>
              <a:r>
                <a:rPr lang="en-US" sz="1000" dirty="0"/>
                <a:t>FARM EQUIPMENT</a:t>
              </a:r>
              <a:br>
                <a:rPr lang="en-US" sz="1000" dirty="0"/>
              </a:br>
              <a:r>
                <a:rPr lang="en-US" sz="1000" dirty="0"/>
                <a:t>SYSTEM</a:t>
              </a:r>
            </a:p>
          </p:txBody>
        </p:sp>
        <p:sp>
          <p:nvSpPr>
            <p:cNvPr id="60" name="Rounded Rectangle 59"/>
            <p:cNvSpPr/>
            <p:nvPr/>
          </p:nvSpPr>
          <p:spPr>
            <a:xfrm>
              <a:off x="7742055" y="2089768"/>
              <a:ext cx="3761687" cy="3529921"/>
            </a:xfrm>
            <a:prstGeom prst="roundRect">
              <a:avLst>
                <a:gd name="adj" fmla="val 4996"/>
              </a:avLst>
            </a:prstGeom>
            <a:noFill/>
            <a:ln w="12700" cap="flat" cmpd="sng" algn="ctr">
              <a:solidFill>
                <a:schemeClr val="bg1">
                  <a:lumMod val="75000"/>
                </a:schemeClr>
              </a:solidFill>
              <a:prstDash val="solid"/>
            </a:ln>
            <a:effectLst/>
          </p:spPr>
          <p:txBody>
            <a:bodyPr rtlCol="0" anchor="ctr"/>
            <a:lstStyle/>
            <a:p>
              <a:pPr algn="ctr" defTabSz="1086775">
                <a:lnSpc>
                  <a:spcPct val="90000"/>
                </a:lnSpc>
                <a:defRPr/>
              </a:pPr>
              <a:endParaRPr lang="en-US" sz="1600" kern="0" dirty="0">
                <a:solidFill>
                  <a:srgbClr val="FFFFFF"/>
                </a:solidFill>
              </a:endParaRPr>
            </a:p>
          </p:txBody>
        </p:sp>
        <p:pic>
          <p:nvPicPr>
            <p:cNvPr id="61" name="Picture 6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145356" y="3552701"/>
              <a:ext cx="261504" cy="278374"/>
            </a:xfrm>
            <a:prstGeom prst="rect">
              <a:avLst/>
            </a:prstGeom>
          </p:spPr>
        </p:pic>
        <p:pic>
          <p:nvPicPr>
            <p:cNvPr id="62" name="Picture 6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78797" y="5284473"/>
              <a:ext cx="486454" cy="168710"/>
            </a:xfrm>
            <a:prstGeom prst="rect">
              <a:avLst/>
            </a:prstGeom>
          </p:spPr>
        </p:pic>
        <p:pic>
          <p:nvPicPr>
            <p:cNvPr id="63" name="Picture 6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631997" y="3503697"/>
              <a:ext cx="475202" cy="348668"/>
            </a:xfrm>
            <a:prstGeom prst="rect">
              <a:avLst/>
            </a:prstGeom>
          </p:spPr>
        </p:pic>
        <p:grpSp>
          <p:nvGrpSpPr>
            <p:cNvPr id="45" name="Group 44"/>
            <p:cNvGrpSpPr/>
            <p:nvPr/>
          </p:nvGrpSpPr>
          <p:grpSpPr>
            <a:xfrm>
              <a:off x="8683355" y="3196772"/>
              <a:ext cx="1686672" cy="1685810"/>
              <a:chOff x="9025673" y="3213968"/>
              <a:chExt cx="1238003" cy="1237371"/>
            </a:xfrm>
          </p:grpSpPr>
          <p:cxnSp>
            <p:nvCxnSpPr>
              <p:cNvPr id="42" name="Straight Connector 41"/>
              <p:cNvCxnSpPr>
                <a:endCxn id="64" idx="4"/>
              </p:cNvCxnSpPr>
              <p:nvPr/>
            </p:nvCxnSpPr>
            <p:spPr>
              <a:xfrm flipH="1" flipV="1">
                <a:off x="9640008" y="4309749"/>
                <a:ext cx="1" cy="141590"/>
              </a:xfrm>
              <a:prstGeom prst="line">
                <a:avLst/>
              </a:prstGeom>
              <a:noFill/>
              <a:ln w="12700" cap="flat" cmpd="sng" algn="ctr">
                <a:solidFill>
                  <a:schemeClr val="tx1"/>
                </a:solidFill>
                <a:prstDash val="solid"/>
              </a:ln>
              <a:effectLst/>
            </p:spPr>
          </p:cxnSp>
          <p:sp>
            <p:nvSpPr>
              <p:cNvPr id="64" name="Oval 63"/>
              <p:cNvSpPr/>
              <p:nvPr/>
            </p:nvSpPr>
            <p:spPr>
              <a:xfrm>
                <a:off x="9164246" y="3358226"/>
                <a:ext cx="951524" cy="951524"/>
              </a:xfrm>
              <a:prstGeom prst="ellipse">
                <a:avLst/>
              </a:prstGeom>
              <a:noFill/>
              <a:ln w="12700" cap="flat" cmpd="sng" algn="ctr">
                <a:solidFill>
                  <a:schemeClr val="tx1"/>
                </a:solidFill>
                <a:prstDash val="solid"/>
              </a:ln>
              <a:effectLst/>
            </p:spPr>
            <p:txBody>
              <a:bodyPr rtlCol="0" anchor="ctr"/>
              <a:lstStyle/>
              <a:p>
                <a:pPr algn="ctr" defTabSz="1086775">
                  <a:lnSpc>
                    <a:spcPct val="90000"/>
                  </a:lnSpc>
                  <a:defRPr/>
                </a:pPr>
                <a:endParaRPr lang="en-US" sz="1800" kern="0" dirty="0">
                  <a:solidFill>
                    <a:srgbClr val="FFFFFF"/>
                  </a:solidFill>
                </a:endParaRPr>
              </a:p>
            </p:txBody>
          </p:sp>
          <p:cxnSp>
            <p:nvCxnSpPr>
              <p:cNvPr id="65" name="Straight Connector 64"/>
              <p:cNvCxnSpPr/>
              <p:nvPr/>
            </p:nvCxnSpPr>
            <p:spPr>
              <a:xfrm flipH="1">
                <a:off x="9025673" y="3833988"/>
                <a:ext cx="138573" cy="0"/>
              </a:xfrm>
              <a:prstGeom prst="line">
                <a:avLst/>
              </a:prstGeom>
              <a:noFill/>
              <a:ln w="12700" cap="flat" cmpd="sng" algn="ctr">
                <a:solidFill>
                  <a:schemeClr val="tx1"/>
                </a:solidFill>
                <a:prstDash val="solid"/>
              </a:ln>
              <a:effectLst/>
            </p:spPr>
          </p:cxnSp>
          <p:cxnSp>
            <p:nvCxnSpPr>
              <p:cNvPr id="66" name="Straight Connector 65"/>
              <p:cNvCxnSpPr>
                <a:endCxn id="64" idx="6"/>
              </p:cNvCxnSpPr>
              <p:nvPr/>
            </p:nvCxnSpPr>
            <p:spPr>
              <a:xfrm flipH="1">
                <a:off x="10115769" y="3833988"/>
                <a:ext cx="147907" cy="0"/>
              </a:xfrm>
              <a:prstGeom prst="line">
                <a:avLst/>
              </a:prstGeom>
              <a:noFill/>
              <a:ln w="12700" cap="flat" cmpd="sng" algn="ctr">
                <a:solidFill>
                  <a:schemeClr val="tx1"/>
                </a:solidFill>
                <a:prstDash val="solid"/>
              </a:ln>
              <a:effectLst/>
            </p:spPr>
          </p:cxnSp>
          <p:cxnSp>
            <p:nvCxnSpPr>
              <p:cNvPr id="67" name="Straight Connector 66"/>
              <p:cNvCxnSpPr>
                <a:stCxn id="64" idx="0"/>
              </p:cNvCxnSpPr>
              <p:nvPr/>
            </p:nvCxnSpPr>
            <p:spPr>
              <a:xfrm flipV="1">
                <a:off x="9640008" y="3213968"/>
                <a:ext cx="1" cy="144258"/>
              </a:xfrm>
              <a:prstGeom prst="line">
                <a:avLst/>
              </a:prstGeom>
              <a:noFill/>
              <a:ln w="12700" cap="flat" cmpd="sng" algn="ctr">
                <a:solidFill>
                  <a:schemeClr val="tx1"/>
                </a:solidFill>
                <a:prstDash val="solid"/>
              </a:ln>
              <a:effectLst/>
            </p:spPr>
          </p:cxnSp>
        </p:grpSp>
        <p:pic>
          <p:nvPicPr>
            <p:cNvPr id="72" name="Picture 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48104" y="2378067"/>
              <a:ext cx="547838" cy="376136"/>
            </a:xfrm>
            <a:prstGeom prst="rect">
              <a:avLst/>
            </a:prstGeom>
          </p:spPr>
        </p:pic>
        <p:sp>
          <p:nvSpPr>
            <p:cNvPr id="80" name="Chevron 79"/>
            <p:cNvSpPr/>
            <p:nvPr/>
          </p:nvSpPr>
          <p:spPr>
            <a:xfrm>
              <a:off x="7560211" y="1188935"/>
              <a:ext cx="4124638" cy="647115"/>
            </a:xfrm>
            <a:prstGeom prst="chevron">
              <a:avLst>
                <a:gd name="adj" fmla="val 64804"/>
              </a:avLst>
            </a:prstGeom>
            <a:solidFill>
              <a:schemeClr val="accent1"/>
            </a:solidFill>
            <a:ln w="25400" cap="flat" cmpd="sng" algn="ctr">
              <a:noFill/>
              <a:prstDash val="solid"/>
            </a:ln>
            <a:effectLst/>
          </p:spPr>
          <p:txBody>
            <a:bodyPr rtlCol="0" anchor="ctr"/>
            <a:lstStyle/>
            <a:p>
              <a:pPr algn="ctr" defTabSz="1086775">
                <a:lnSpc>
                  <a:spcPct val="90000"/>
                </a:lnSpc>
                <a:defRPr/>
              </a:pPr>
              <a:endParaRPr lang="en-US" sz="1100" kern="0" dirty="0">
                <a:solidFill>
                  <a:srgbClr val="FFFFFF"/>
                </a:solidFill>
              </a:endParaRPr>
            </a:p>
          </p:txBody>
        </p:sp>
        <p:sp>
          <p:nvSpPr>
            <p:cNvPr id="81" name="Right Arrow 80"/>
            <p:cNvSpPr/>
            <p:nvPr/>
          </p:nvSpPr>
          <p:spPr>
            <a:xfrm>
              <a:off x="10655494" y="1083364"/>
              <a:ext cx="1067523" cy="871293"/>
            </a:xfrm>
            <a:prstGeom prst="rightArrow">
              <a:avLst>
                <a:gd name="adj1" fmla="val 50000"/>
                <a:gd name="adj2" fmla="val 63491"/>
              </a:avLst>
            </a:prstGeom>
            <a:solidFill>
              <a:schemeClr val="accent1"/>
            </a:solidFill>
            <a:ln w="25400" cap="flat" cmpd="sng" algn="ctr">
              <a:noFill/>
              <a:prstDash val="solid"/>
            </a:ln>
            <a:effectLst/>
          </p:spPr>
          <p:txBody>
            <a:bodyPr rtlCol="0" anchor="ctr"/>
            <a:lstStyle/>
            <a:p>
              <a:pPr algn="ctr" defTabSz="1086775">
                <a:lnSpc>
                  <a:spcPct val="90000"/>
                </a:lnSpc>
                <a:defRPr/>
              </a:pPr>
              <a:endParaRPr lang="en-US" sz="1100" kern="0" dirty="0">
                <a:solidFill>
                  <a:srgbClr val="FFFFFF"/>
                </a:solidFill>
              </a:endParaRPr>
            </a:p>
          </p:txBody>
        </p:sp>
        <p:sp>
          <p:nvSpPr>
            <p:cNvPr id="82" name="TextBox 81"/>
            <p:cNvSpPr txBox="1"/>
            <p:nvPr/>
          </p:nvSpPr>
          <p:spPr>
            <a:xfrm>
              <a:off x="8130885" y="1415543"/>
              <a:ext cx="2815800" cy="193899"/>
            </a:xfrm>
            <a:prstGeom prst="rect">
              <a:avLst/>
            </a:prstGeom>
            <a:noFill/>
          </p:spPr>
          <p:txBody>
            <a:bodyPr wrap="square" lIns="0" tIns="0" rIns="0" bIns="0" rtlCol="0" anchor="ctr">
              <a:spAutoFit/>
            </a:bodyPr>
            <a:lstStyle/>
            <a:p>
              <a:pPr algn="ctr" defTabSz="1086775">
                <a:lnSpc>
                  <a:spcPct val="90000"/>
                </a:lnSpc>
                <a:defRPr/>
              </a:pPr>
              <a:r>
                <a:rPr lang="en-US" sz="1400" kern="0" dirty="0">
                  <a:solidFill>
                    <a:srgbClr val="FFFFFF"/>
                  </a:solidFill>
                </a:rPr>
                <a:t>System Of Systems</a:t>
              </a:r>
            </a:p>
          </p:txBody>
        </p:sp>
        <p:grpSp>
          <p:nvGrpSpPr>
            <p:cNvPr id="107" name="Group 106"/>
            <p:cNvGrpSpPr/>
            <p:nvPr/>
          </p:nvGrpSpPr>
          <p:grpSpPr>
            <a:xfrm>
              <a:off x="9300441" y="2185672"/>
              <a:ext cx="226592" cy="158178"/>
              <a:chOff x="4127018" y="2336516"/>
              <a:chExt cx="226592" cy="158178"/>
            </a:xfrm>
            <a:solidFill>
              <a:schemeClr val="tx1"/>
            </a:solidFill>
          </p:grpSpPr>
          <p:sp>
            <p:nvSpPr>
              <p:cNvPr id="108" name="Freeform 107"/>
              <p:cNvSpPr/>
              <p:nvPr/>
            </p:nvSpPr>
            <p:spPr>
              <a:xfrm>
                <a:off x="4127018" y="2336516"/>
                <a:ext cx="226592" cy="74416"/>
              </a:xfrm>
              <a:custGeom>
                <a:avLst/>
                <a:gdLst>
                  <a:gd name="connsiteX0" fmla="*/ 3708708 w 7423131"/>
                  <a:gd name="connsiteY0" fmla="*/ 0 h 2437858"/>
                  <a:gd name="connsiteX1" fmla="*/ 7210905 w 7423131"/>
                  <a:gd name="connsiteY1" fmla="*/ 1319683 h 2437858"/>
                  <a:gd name="connsiteX2" fmla="*/ 7423131 w 7423131"/>
                  <a:gd name="connsiteY2" fmla="*/ 1546450 h 2437858"/>
                  <a:gd name="connsiteX3" fmla="*/ 6537206 w 7423131"/>
                  <a:gd name="connsiteY3" fmla="*/ 2437858 h 2437858"/>
                  <a:gd name="connsiteX4" fmla="*/ 6434358 w 7423131"/>
                  <a:gd name="connsiteY4" fmla="*/ 2331396 h 2437858"/>
                  <a:gd name="connsiteX5" fmla="*/ 3708708 w 7423131"/>
                  <a:gd name="connsiteY5" fmla="*/ 1269240 h 2437858"/>
                  <a:gd name="connsiteX6" fmla="*/ 983058 w 7423131"/>
                  <a:gd name="connsiteY6" fmla="*/ 2331396 h 2437858"/>
                  <a:gd name="connsiteX7" fmla="*/ 886018 w 7423131"/>
                  <a:gd name="connsiteY7" fmla="*/ 2431846 h 2437858"/>
                  <a:gd name="connsiteX8" fmla="*/ 0 w 7423131"/>
                  <a:gd name="connsiteY8" fmla="*/ 1540344 h 2437858"/>
                  <a:gd name="connsiteX9" fmla="*/ 206512 w 7423131"/>
                  <a:gd name="connsiteY9" fmla="*/ 1319683 h 2437858"/>
                  <a:gd name="connsiteX10" fmla="*/ 3708708 w 7423131"/>
                  <a:gd name="connsiteY10" fmla="*/ 0 h 2437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3131" h="2437858">
                    <a:moveTo>
                      <a:pt x="3708708" y="0"/>
                    </a:moveTo>
                    <a:cubicBezTo>
                      <a:pt x="5118667" y="0"/>
                      <a:pt x="6378460" y="513720"/>
                      <a:pt x="7210905" y="1319683"/>
                    </a:cubicBezTo>
                    <a:lnTo>
                      <a:pt x="7423131" y="1546450"/>
                    </a:lnTo>
                    <a:lnTo>
                      <a:pt x="6537206" y="2437858"/>
                    </a:lnTo>
                    <a:lnTo>
                      <a:pt x="6434358" y="2331396"/>
                    </a:lnTo>
                    <a:cubicBezTo>
                      <a:pt x="5736804" y="1675142"/>
                      <a:pt x="4773141" y="1269240"/>
                      <a:pt x="3708708" y="1269240"/>
                    </a:cubicBezTo>
                    <a:cubicBezTo>
                      <a:pt x="2644276" y="1269240"/>
                      <a:pt x="1680613" y="1675142"/>
                      <a:pt x="983058" y="2331396"/>
                    </a:cubicBezTo>
                    <a:lnTo>
                      <a:pt x="886018" y="2431846"/>
                    </a:lnTo>
                    <a:lnTo>
                      <a:pt x="0" y="1540344"/>
                    </a:lnTo>
                    <a:lnTo>
                      <a:pt x="206512" y="1319683"/>
                    </a:lnTo>
                    <a:cubicBezTo>
                      <a:pt x="1038956" y="513720"/>
                      <a:pt x="2298749" y="0"/>
                      <a:pt x="3708708"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solidFill>
                    <a:schemeClr val="bg1"/>
                  </a:solidFill>
                </a:endParaRPr>
              </a:p>
            </p:txBody>
          </p:sp>
          <p:sp>
            <p:nvSpPr>
              <p:cNvPr id="109" name="Freeform 108"/>
              <p:cNvSpPr/>
              <p:nvPr/>
            </p:nvSpPr>
            <p:spPr>
              <a:xfrm>
                <a:off x="4161128" y="2392892"/>
                <a:ext cx="158373" cy="60734"/>
              </a:xfrm>
              <a:custGeom>
                <a:avLst/>
                <a:gdLst>
                  <a:gd name="connsiteX0" fmla="*/ 2594564 w 5188277"/>
                  <a:gd name="connsiteY0" fmla="*/ 0 h 1989641"/>
                  <a:gd name="connsiteX1" fmla="*/ 5156157 w 5188277"/>
                  <a:gd name="connsiteY1" fmla="*/ 1062156 h 1989641"/>
                  <a:gd name="connsiteX2" fmla="*/ 5188277 w 5188277"/>
                  <a:gd name="connsiteY2" fmla="*/ 1097535 h 1989641"/>
                  <a:gd name="connsiteX3" fmla="*/ 4302520 w 5188277"/>
                  <a:gd name="connsiteY3" fmla="*/ 1988775 h 1989641"/>
                  <a:gd name="connsiteX4" fmla="*/ 4207964 w 5188277"/>
                  <a:gd name="connsiteY4" fmla="*/ 1899916 h 1989641"/>
                  <a:gd name="connsiteX5" fmla="*/ 2594564 w 5188277"/>
                  <a:gd name="connsiteY5" fmla="*/ 1280580 h 1989641"/>
                  <a:gd name="connsiteX6" fmla="*/ 981164 w 5188277"/>
                  <a:gd name="connsiteY6" fmla="*/ 1899916 h 1989641"/>
                  <a:gd name="connsiteX7" fmla="*/ 885686 w 5188277"/>
                  <a:gd name="connsiteY7" fmla="*/ 1989641 h 1989641"/>
                  <a:gd name="connsiteX8" fmla="*/ 0 w 5188277"/>
                  <a:gd name="connsiteY8" fmla="*/ 1098473 h 1989641"/>
                  <a:gd name="connsiteX9" fmla="*/ 32972 w 5188277"/>
                  <a:gd name="connsiteY9" fmla="*/ 1062156 h 1989641"/>
                  <a:gd name="connsiteX10" fmla="*/ 2594564 w 5188277"/>
                  <a:gd name="connsiteY10" fmla="*/ 0 h 198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88277" h="1989641">
                    <a:moveTo>
                      <a:pt x="2594564" y="0"/>
                    </a:moveTo>
                    <a:cubicBezTo>
                      <a:pt x="3594928" y="0"/>
                      <a:pt x="4500588" y="405902"/>
                      <a:pt x="5156157" y="1062156"/>
                    </a:cubicBezTo>
                    <a:lnTo>
                      <a:pt x="5188277" y="1097535"/>
                    </a:lnTo>
                    <a:lnTo>
                      <a:pt x="4302520" y="1988775"/>
                    </a:lnTo>
                    <a:lnTo>
                      <a:pt x="4207964" y="1899916"/>
                    </a:lnTo>
                    <a:cubicBezTo>
                      <a:pt x="3747410" y="1508899"/>
                      <a:pt x="3192204" y="1280580"/>
                      <a:pt x="2594564" y="1280580"/>
                    </a:cubicBezTo>
                    <a:cubicBezTo>
                      <a:pt x="1996925" y="1280580"/>
                      <a:pt x="1441719" y="1508899"/>
                      <a:pt x="981164" y="1899916"/>
                    </a:cubicBezTo>
                    <a:lnTo>
                      <a:pt x="885686" y="1989641"/>
                    </a:lnTo>
                    <a:lnTo>
                      <a:pt x="0" y="1098473"/>
                    </a:lnTo>
                    <a:lnTo>
                      <a:pt x="32972" y="1062156"/>
                    </a:lnTo>
                    <a:cubicBezTo>
                      <a:pt x="688541" y="405902"/>
                      <a:pt x="1594200" y="0"/>
                      <a:pt x="2594564"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solidFill>
                    <a:schemeClr val="bg1"/>
                  </a:solidFill>
                </a:endParaRPr>
              </a:p>
            </p:txBody>
          </p:sp>
          <p:sp>
            <p:nvSpPr>
              <p:cNvPr id="110" name="Freeform 109"/>
              <p:cNvSpPr/>
              <p:nvPr/>
            </p:nvSpPr>
            <p:spPr>
              <a:xfrm>
                <a:off x="4194626" y="2448145"/>
                <a:ext cx="91375" cy="46549"/>
              </a:xfrm>
              <a:custGeom>
                <a:avLst/>
                <a:gdLst>
                  <a:gd name="connsiteX0" fmla="*/ 1497211 w 2993437"/>
                  <a:gd name="connsiteY0" fmla="*/ 0 h 1524940"/>
                  <a:gd name="connsiteX1" fmla="*/ 2788119 w 2993437"/>
                  <a:gd name="connsiteY1" fmla="*/ 437690 h 1524940"/>
                  <a:gd name="connsiteX2" fmla="*/ 2993437 w 2993437"/>
                  <a:gd name="connsiteY2" fmla="*/ 604713 h 1524940"/>
                  <a:gd name="connsiteX3" fmla="*/ 2079687 w 2993437"/>
                  <a:gd name="connsiteY3" fmla="*/ 1524119 h 1524940"/>
                  <a:gd name="connsiteX4" fmla="*/ 1961651 w 2993437"/>
                  <a:gd name="connsiteY4" fmla="*/ 1423807 h 1524940"/>
                  <a:gd name="connsiteX5" fmla="*/ 1497211 w 2993437"/>
                  <a:gd name="connsiteY5" fmla="*/ 1260770 h 1524940"/>
                  <a:gd name="connsiteX6" fmla="*/ 1032772 w 2993437"/>
                  <a:gd name="connsiteY6" fmla="*/ 1423807 h 1524940"/>
                  <a:gd name="connsiteX7" fmla="*/ 913769 w 2993437"/>
                  <a:gd name="connsiteY7" fmla="*/ 1524940 h 1524940"/>
                  <a:gd name="connsiteX8" fmla="*/ 0 w 2993437"/>
                  <a:gd name="connsiteY8" fmla="*/ 605515 h 1524940"/>
                  <a:gd name="connsiteX9" fmla="*/ 206304 w 2993437"/>
                  <a:gd name="connsiteY9" fmla="*/ 437690 h 1524940"/>
                  <a:gd name="connsiteX10" fmla="*/ 1497211 w 2993437"/>
                  <a:gd name="connsiteY10" fmla="*/ 0 h 152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93437" h="1524940">
                    <a:moveTo>
                      <a:pt x="1497211" y="0"/>
                    </a:moveTo>
                    <a:cubicBezTo>
                      <a:pt x="1964624" y="0"/>
                      <a:pt x="2404380" y="158555"/>
                      <a:pt x="2788119" y="437690"/>
                    </a:cubicBezTo>
                    <a:lnTo>
                      <a:pt x="2993437" y="604713"/>
                    </a:lnTo>
                    <a:lnTo>
                      <a:pt x="2079687" y="1524119"/>
                    </a:lnTo>
                    <a:lnTo>
                      <a:pt x="1961651" y="1423807"/>
                    </a:lnTo>
                    <a:cubicBezTo>
                      <a:pt x="1814934" y="1317850"/>
                      <a:pt x="1658944" y="1260770"/>
                      <a:pt x="1497211" y="1260770"/>
                    </a:cubicBezTo>
                    <a:cubicBezTo>
                      <a:pt x="1335479" y="1260770"/>
                      <a:pt x="1179488" y="1317850"/>
                      <a:pt x="1032772" y="1423807"/>
                    </a:cubicBezTo>
                    <a:lnTo>
                      <a:pt x="913769" y="1524940"/>
                    </a:lnTo>
                    <a:lnTo>
                      <a:pt x="0" y="605515"/>
                    </a:lnTo>
                    <a:lnTo>
                      <a:pt x="206304" y="437690"/>
                    </a:lnTo>
                    <a:cubicBezTo>
                      <a:pt x="590043" y="158555"/>
                      <a:pt x="1029799" y="0"/>
                      <a:pt x="1497211" y="0"/>
                    </a:cubicBezTo>
                    <a:close/>
                  </a:path>
                </a:pathLst>
              </a:cu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solidFill>
                    <a:schemeClr val="bg1"/>
                  </a:solidFill>
                </a:endParaRPr>
              </a:p>
            </p:txBody>
          </p:sp>
        </p:grpSp>
      </p:grpSp>
      <p:sp>
        <p:nvSpPr>
          <p:cNvPr id="50" name="Title 49"/>
          <p:cNvSpPr>
            <a:spLocks noGrp="1"/>
          </p:cNvSpPr>
          <p:nvPr>
            <p:ph type="title"/>
          </p:nvPr>
        </p:nvSpPr>
        <p:spPr/>
        <p:txBody>
          <a:bodyPr/>
          <a:lstStyle/>
          <a:p>
            <a:r>
              <a:rPr lang="en-US" dirty="0"/>
              <a:t>Things are changing</a:t>
            </a:r>
          </a:p>
        </p:txBody>
      </p:sp>
      <p:grpSp>
        <p:nvGrpSpPr>
          <p:cNvPr id="28" name="Group 27"/>
          <p:cNvGrpSpPr/>
          <p:nvPr/>
        </p:nvGrpSpPr>
        <p:grpSpPr>
          <a:xfrm>
            <a:off x="465364" y="1197293"/>
            <a:ext cx="1418645" cy="1867665"/>
            <a:chOff x="465364" y="1197293"/>
            <a:chExt cx="1418645" cy="1867665"/>
          </a:xfrm>
        </p:grpSpPr>
        <p:sp>
          <p:nvSpPr>
            <p:cNvPr id="4" name="Rounded Rectangle 3"/>
            <p:cNvSpPr/>
            <p:nvPr/>
          </p:nvSpPr>
          <p:spPr>
            <a:xfrm>
              <a:off x="465366" y="2089769"/>
              <a:ext cx="1127184" cy="975189"/>
            </a:xfrm>
            <a:prstGeom prst="roundRect">
              <a:avLst>
                <a:gd name="adj" fmla="val 8072"/>
              </a:avLst>
            </a:prstGeom>
            <a:noFill/>
            <a:ln w="12700" cap="flat" cmpd="sng" algn="ctr">
              <a:solidFill>
                <a:schemeClr val="bg1">
                  <a:lumMod val="75000"/>
                </a:schemeClr>
              </a:solidFill>
              <a:prstDash val="solid"/>
            </a:ln>
            <a:effectLst/>
          </p:spPr>
          <p:txBody>
            <a:bodyPr rtlCol="0" anchor="ctr"/>
            <a:lstStyle/>
            <a:p>
              <a:pPr algn="ctr" defTabSz="1086775">
                <a:lnSpc>
                  <a:spcPct val="90000"/>
                </a:lnSpc>
                <a:defRPr/>
              </a:pPr>
              <a:endParaRPr lang="en-US" sz="1600" kern="0" dirty="0">
                <a:solidFill>
                  <a:srgbClr val="FFFFFF"/>
                </a:solidFill>
              </a:endParaRPr>
            </a:p>
          </p:txBody>
        </p:sp>
        <p:sp>
          <p:nvSpPr>
            <p:cNvPr id="78" name="Pentagon 77"/>
            <p:cNvSpPr/>
            <p:nvPr/>
          </p:nvSpPr>
          <p:spPr>
            <a:xfrm>
              <a:off x="465364" y="1197293"/>
              <a:ext cx="1418645" cy="647115"/>
            </a:xfrm>
            <a:prstGeom prst="homePlate">
              <a:avLst>
                <a:gd name="adj" fmla="val 60574"/>
              </a:avLst>
            </a:prstGeom>
            <a:solidFill>
              <a:schemeClr val="accent1"/>
            </a:solidFill>
            <a:ln w="25400" cap="flat" cmpd="sng" algn="ctr">
              <a:noFill/>
              <a:prstDash val="solid"/>
            </a:ln>
            <a:effectLst/>
          </p:spPr>
          <p:txBody>
            <a:bodyPr rtlCol="0" anchor="ctr"/>
            <a:lstStyle/>
            <a:p>
              <a:pPr algn="ctr" defTabSz="1086775">
                <a:lnSpc>
                  <a:spcPct val="90000"/>
                </a:lnSpc>
                <a:defRPr/>
              </a:pPr>
              <a:endParaRPr lang="en-US" sz="900" kern="0" dirty="0">
                <a:solidFill>
                  <a:srgbClr val="FFFFFF"/>
                </a:solidFill>
              </a:endParaRPr>
            </a:p>
          </p:txBody>
        </p:sp>
        <p:sp>
          <p:nvSpPr>
            <p:cNvPr id="86" name="TextBox 85"/>
            <p:cNvSpPr txBox="1"/>
            <p:nvPr/>
          </p:nvSpPr>
          <p:spPr>
            <a:xfrm>
              <a:off x="700823" y="1415543"/>
              <a:ext cx="686086" cy="193899"/>
            </a:xfrm>
            <a:prstGeom prst="rect">
              <a:avLst/>
            </a:prstGeom>
            <a:noFill/>
          </p:spPr>
          <p:txBody>
            <a:bodyPr wrap="none" lIns="0" tIns="0" rIns="0" bIns="0" rtlCol="0" anchor="ctr">
              <a:spAutoFit/>
            </a:bodyPr>
            <a:lstStyle/>
            <a:p>
              <a:pPr algn="ctr" defTabSz="1086775">
                <a:lnSpc>
                  <a:spcPct val="90000"/>
                </a:lnSpc>
                <a:defRPr/>
              </a:pPr>
              <a:r>
                <a:rPr lang="en-US" sz="1400" kern="0" dirty="0">
                  <a:solidFill>
                    <a:srgbClr val="FFFFFF"/>
                  </a:solidFill>
                </a:rPr>
                <a:t>Product</a:t>
              </a:r>
            </a:p>
          </p:txBody>
        </p:sp>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084" y="2396941"/>
              <a:ext cx="525564" cy="360843"/>
            </a:xfrm>
            <a:prstGeom prst="rect">
              <a:avLst/>
            </a:prstGeom>
          </p:spPr>
        </p:pic>
      </p:grpSp>
    </p:spTree>
    <p:extLst>
      <p:ext uri="{BB962C8B-B14F-4D97-AF65-F5344CB8AC3E}">
        <p14:creationId xmlns:p14="http://schemas.microsoft.com/office/powerpoint/2010/main" val="207348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NC grinding machines manufacturer</a:t>
            </a:r>
            <a:endParaRPr lang="en-SG" dirty="0"/>
          </a:p>
        </p:txBody>
      </p:sp>
      <p:sp>
        <p:nvSpPr>
          <p:cNvPr id="3" name="Rectangle 2"/>
          <p:cNvSpPr/>
          <p:nvPr/>
        </p:nvSpPr>
        <p:spPr>
          <a:xfrm>
            <a:off x="228600" y="797771"/>
            <a:ext cx="11613648" cy="830997"/>
          </a:xfrm>
          <a:prstGeom prst="rect">
            <a:avLst/>
          </a:prstGeom>
        </p:spPr>
        <p:txBody>
          <a:bodyPr wrap="squar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D4647"/>
                </a:solidFill>
                <a:effectLst/>
                <a:uLnTx/>
                <a:uFillTx/>
                <a:latin typeface="Century Gothic" panose="020F0302020204030204"/>
                <a:ea typeface="+mn-ea"/>
                <a:cs typeface="+mn-cs"/>
              </a:rPr>
              <a:t>Coverage across Australia, New Zealand and New Caledonia with branches in China, USA, Taiwan, Europe, Germany</a:t>
            </a:r>
          </a:p>
        </p:txBody>
      </p:sp>
      <p:sp>
        <p:nvSpPr>
          <p:cNvPr id="4" name="TextBox 3"/>
          <p:cNvSpPr txBox="1"/>
          <p:nvPr/>
        </p:nvSpPr>
        <p:spPr>
          <a:xfrm>
            <a:off x="312744" y="4703599"/>
            <a:ext cx="11237572" cy="1723549"/>
          </a:xfrm>
          <a:prstGeom prst="rect">
            <a:avLst/>
          </a:prstGeom>
          <a:noFill/>
        </p:spPr>
        <p:txBody>
          <a:bodyPr wrap="square" lIns="0" tIns="0" rIns="0" bIns="0" rtlCol="0">
            <a:spAutoFit/>
          </a:bodyPr>
          <a:lstStyle>
            <a:defPPr>
              <a:defRPr lang="en-US"/>
            </a:defPPr>
            <a:lvl1pPr>
              <a:defRPr sz="1600" i="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So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err="1">
                <a:ln>
                  <a:noFill/>
                </a:ln>
                <a:solidFill>
                  <a:srgbClr val="3D4647"/>
                </a:solidFill>
                <a:effectLst/>
                <a:uLnTx/>
                <a:uFillTx/>
                <a:latin typeface="Century Gothic" panose="020F0302020204030204"/>
                <a:ea typeface="+mn-ea"/>
                <a:cs typeface="+mn-cs"/>
              </a:rPr>
              <a:t>ThingWorx</a:t>
            </a:r>
            <a:r>
              <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rPr>
              <a:t> Industrial Connectivity was selected to connect to machine and motion controll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err="1">
                <a:ln>
                  <a:noFill/>
                </a:ln>
                <a:solidFill>
                  <a:srgbClr val="3D4647"/>
                </a:solidFill>
                <a:effectLst/>
                <a:uLnTx/>
                <a:uFillTx/>
                <a:latin typeface="Century Gothic" panose="020F0302020204030204"/>
                <a:ea typeface="+mn-ea"/>
                <a:cs typeface="+mn-cs"/>
              </a:rPr>
              <a:t>Thingworx</a:t>
            </a:r>
            <a:r>
              <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rPr>
              <a:t> Foundation is used to develop an role based application to aggregate the 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3D4647"/>
              </a:solidFill>
              <a:effectLst/>
              <a:uLnTx/>
              <a:uFillTx/>
              <a:latin typeface="Century Gothic"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Benef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Market differentiator, visibility into product parameters while i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Improving design and service quality</a:t>
            </a:r>
          </a:p>
        </p:txBody>
      </p:sp>
      <p:sp>
        <p:nvSpPr>
          <p:cNvPr id="5" name="TextBox 4"/>
          <p:cNvSpPr txBox="1"/>
          <p:nvPr/>
        </p:nvSpPr>
        <p:spPr>
          <a:xfrm>
            <a:off x="312745" y="2131442"/>
            <a:ext cx="8141444" cy="2462213"/>
          </a:xfrm>
          <a:prstGeom prst="rect">
            <a:avLst/>
          </a:prstGeom>
          <a:noFill/>
        </p:spPr>
        <p:txBody>
          <a:bodyPr wrap="square" lIns="0" tIns="0" rIns="0" bIns="0" rtlCol="0">
            <a:spAutoFit/>
          </a:bodyPr>
          <a:lstStyle>
            <a:defPPr>
              <a:defRPr lang="en-US"/>
            </a:defPPr>
            <a:lvl1pPr>
              <a:defRPr sz="1600" i="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Challen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Non-connected asse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Unable to access data for machines and motion controllers that are in operation at customers’ si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6CC04A"/>
                </a:solidFill>
                <a:effectLst/>
                <a:uLnTx/>
                <a:uFillTx/>
                <a:latin typeface="Century Gothic" panose="020B0502020202020204" pitchFamily="34" charset="0"/>
                <a:ea typeface="+mn-ea"/>
                <a:cs typeface="+mn-cs"/>
              </a:rPr>
              <a:t>Go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To remotely track/report issues of the machines and motion controll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To use the data collected to improve, machine, controller and service qua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0" cap="none" spc="0" normalizeH="0" baseline="0" noProof="0" dirty="0">
                <a:ln>
                  <a:noFill/>
                </a:ln>
                <a:solidFill>
                  <a:srgbClr val="3D4647"/>
                </a:solidFill>
                <a:effectLst/>
                <a:uLnTx/>
                <a:uFillTx/>
                <a:latin typeface="Century Gothic" panose="020B0502020202020204" pitchFamily="34" charset="0"/>
                <a:ea typeface="+mn-ea"/>
                <a:cs typeface="+mn-cs"/>
              </a:rPr>
              <a:t>To sell App usage to their customers that see benefit in understanding machine data</a:t>
            </a:r>
          </a:p>
        </p:txBody>
      </p:sp>
      <p:pic>
        <p:nvPicPr>
          <p:cNvPr id="10" name="Picture 9">
            <a:extLst>
              <a:ext uri="{FF2B5EF4-FFF2-40B4-BE49-F238E27FC236}">
                <a16:creationId xmlns:a16="http://schemas.microsoft.com/office/drawing/2014/main" id="{1A6A8C8C-0A14-41D3-9BB8-54C1D0E52C0A}"/>
              </a:ext>
            </a:extLst>
          </p:cNvPr>
          <p:cNvPicPr>
            <a:picLocks noChangeAspect="1"/>
          </p:cNvPicPr>
          <p:nvPr/>
        </p:nvPicPr>
        <p:blipFill>
          <a:blip r:embed="rId3"/>
          <a:stretch>
            <a:fillRect/>
          </a:stretch>
        </p:blipFill>
        <p:spPr>
          <a:xfrm>
            <a:off x="8454189" y="2131442"/>
            <a:ext cx="3601696" cy="2349836"/>
          </a:xfrm>
          <a:prstGeom prst="rect">
            <a:avLst/>
          </a:prstGeom>
        </p:spPr>
      </p:pic>
    </p:spTree>
    <p:extLst>
      <p:ext uri="{BB962C8B-B14F-4D97-AF65-F5344CB8AC3E}">
        <p14:creationId xmlns:p14="http://schemas.microsoft.com/office/powerpoint/2010/main" val="409341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3073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2595777" y="3504819"/>
            <a:ext cx="9179747" cy="866531"/>
          </a:xfrm>
          <a:prstGeom prst="rect">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spcBef>
                <a:spcPts val="599"/>
              </a:spcBef>
              <a:defRPr/>
            </a:pPr>
            <a:endParaRPr lang="en-US" sz="1995" kern="0" dirty="0">
              <a:solidFill>
                <a:srgbClr val="FFFFFF"/>
              </a:solidFill>
            </a:endParaRPr>
          </a:p>
        </p:txBody>
      </p:sp>
      <p:grpSp>
        <p:nvGrpSpPr>
          <p:cNvPr id="23" name="Group 22"/>
          <p:cNvGrpSpPr/>
          <p:nvPr/>
        </p:nvGrpSpPr>
        <p:grpSpPr>
          <a:xfrm>
            <a:off x="459284" y="4640399"/>
            <a:ext cx="11316241" cy="986829"/>
            <a:chOff x="533658" y="4515325"/>
            <a:chExt cx="11344306" cy="989276"/>
          </a:xfrm>
        </p:grpSpPr>
        <p:grpSp>
          <p:nvGrpSpPr>
            <p:cNvPr id="19" name="Group 18"/>
            <p:cNvGrpSpPr/>
            <p:nvPr/>
          </p:nvGrpSpPr>
          <p:grpSpPr>
            <a:xfrm>
              <a:off x="2675450" y="4515325"/>
              <a:ext cx="9202514" cy="989275"/>
              <a:chOff x="2675450" y="4515325"/>
              <a:chExt cx="9202514" cy="989275"/>
            </a:xfrm>
          </p:grpSpPr>
          <p:sp>
            <p:nvSpPr>
              <p:cNvPr id="47" name="Rectangle 46"/>
              <p:cNvSpPr/>
              <p:nvPr/>
            </p:nvSpPr>
            <p:spPr>
              <a:xfrm>
                <a:off x="2675450" y="4515325"/>
                <a:ext cx="9202514" cy="989275"/>
              </a:xfrm>
              <a:prstGeom prst="rect">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spcBef>
                    <a:spcPts val="599"/>
                  </a:spcBef>
                  <a:defRPr/>
                </a:pPr>
                <a:endParaRPr lang="en-US" sz="1995" kern="0" dirty="0">
                  <a:solidFill>
                    <a:srgbClr val="FFFFFF"/>
                  </a:solidFil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113473" y="4824160"/>
                <a:ext cx="1101697" cy="371603"/>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212046" y="4820881"/>
                <a:ext cx="1578225" cy="37816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468994" y="4816509"/>
                <a:ext cx="1967316" cy="386905"/>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893893" y="4820881"/>
                <a:ext cx="1639430" cy="378161"/>
              </a:xfrm>
              <a:prstGeom prst="rect">
                <a:avLst/>
              </a:prstGeom>
            </p:spPr>
          </p:pic>
        </p:grpSp>
        <p:sp>
          <p:nvSpPr>
            <p:cNvPr id="58" name="Rectangle 57"/>
            <p:cNvSpPr/>
            <p:nvPr/>
          </p:nvSpPr>
          <p:spPr>
            <a:xfrm>
              <a:off x="533658" y="4517624"/>
              <a:ext cx="2141792" cy="986977"/>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spcBef>
                  <a:spcPts val="599"/>
                </a:spcBef>
                <a:defRPr/>
              </a:pPr>
              <a:r>
                <a:rPr lang="en-US" sz="1995" kern="0" dirty="0">
                  <a:solidFill>
                    <a:srgbClr val="FFFFFF"/>
                  </a:solidFill>
                </a:rPr>
                <a:t>E2E PRODUCT LIFECYCLE MANAGEMENT</a:t>
              </a:r>
            </a:p>
          </p:txBody>
        </p:sp>
      </p:grpSp>
      <p:grpSp>
        <p:nvGrpSpPr>
          <p:cNvPr id="21" name="Group 20"/>
          <p:cNvGrpSpPr/>
          <p:nvPr/>
        </p:nvGrpSpPr>
        <p:grpSpPr>
          <a:xfrm>
            <a:off x="2595777" y="2504430"/>
            <a:ext cx="9179747" cy="866531"/>
            <a:chOff x="2675450" y="2374058"/>
            <a:chExt cx="9202514" cy="868680"/>
          </a:xfrm>
        </p:grpSpPr>
        <p:sp>
          <p:nvSpPr>
            <p:cNvPr id="52" name="Rectangle 51"/>
            <p:cNvSpPr/>
            <p:nvPr/>
          </p:nvSpPr>
          <p:spPr>
            <a:xfrm>
              <a:off x="2675450" y="2374058"/>
              <a:ext cx="9202514" cy="868680"/>
            </a:xfrm>
            <a:prstGeom prst="rect">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spcBef>
                  <a:spcPts val="599"/>
                </a:spcBef>
                <a:defRPr/>
              </a:pPr>
              <a:endParaRPr lang="en-US" sz="1995" kern="0" dirty="0">
                <a:solidFill>
                  <a:srgbClr val="FFFFFF"/>
                </a:solidFill>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201064" y="2910004"/>
              <a:ext cx="2831659" cy="240467"/>
            </a:xfrm>
            <a:prstGeom prst="rect">
              <a:avLst/>
            </a:prstGeom>
          </p:spPr>
        </p:pic>
        <p:pic>
          <p:nvPicPr>
            <p:cNvPr id="6" name="Picture 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673521" y="2909282"/>
              <a:ext cx="3469975" cy="241911"/>
            </a:xfrm>
            <a:prstGeom prst="rect">
              <a:avLst/>
            </a:prstGeom>
          </p:spPr>
        </p:pic>
        <p:pic>
          <p:nvPicPr>
            <p:cNvPr id="7" name="Picture 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434087" y="2526615"/>
              <a:ext cx="2365613" cy="240414"/>
            </a:xfrm>
            <a:prstGeom prst="rect">
              <a:avLst/>
            </a:prstGeom>
          </p:spPr>
        </p:pic>
      </p:grpSp>
      <p:sp>
        <p:nvSpPr>
          <p:cNvPr id="49" name="Rectangle 48"/>
          <p:cNvSpPr/>
          <p:nvPr/>
        </p:nvSpPr>
        <p:spPr>
          <a:xfrm>
            <a:off x="459284" y="2504429"/>
            <a:ext cx="2136493" cy="1866920"/>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spcBef>
                <a:spcPts val="599"/>
              </a:spcBef>
              <a:defRPr/>
            </a:pPr>
            <a:r>
              <a:rPr lang="en-US" sz="1995" kern="0" dirty="0">
                <a:solidFill>
                  <a:srgbClr val="FFFFFF"/>
                </a:solidFill>
              </a:rPr>
              <a:t>INDUSTRIAL INNOVATION PLATFORM</a:t>
            </a:r>
          </a:p>
        </p:txBody>
      </p:sp>
      <p:pic>
        <p:nvPicPr>
          <p:cNvPr id="40" name="Picture 39"/>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026930" y="3749470"/>
            <a:ext cx="1811992" cy="377226"/>
          </a:xfrm>
          <a:prstGeom prst="rect">
            <a:avLst/>
          </a:prstGeom>
        </p:spPr>
      </p:pic>
      <p:pic>
        <p:nvPicPr>
          <p:cNvPr id="41" name="Picture 4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581482" y="2656610"/>
            <a:ext cx="2058492" cy="250097"/>
          </a:xfrm>
          <a:prstGeom prst="rect">
            <a:avLst/>
          </a:prstGeom>
        </p:spPr>
      </p:pic>
      <p:pic>
        <p:nvPicPr>
          <p:cNvPr id="43" name="Picture 42"/>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490701" y="3749470"/>
            <a:ext cx="1628830" cy="377226"/>
          </a:xfrm>
          <a:prstGeom prst="rect">
            <a:avLst/>
          </a:prstGeom>
        </p:spPr>
      </p:pic>
      <p:sp>
        <p:nvSpPr>
          <p:cNvPr id="12" name="Title 11"/>
          <p:cNvSpPr>
            <a:spLocks noGrp="1"/>
          </p:cNvSpPr>
          <p:nvPr>
            <p:ph type="title"/>
          </p:nvPr>
        </p:nvSpPr>
        <p:spPr/>
        <p:txBody>
          <a:bodyPr>
            <a:normAutofit/>
          </a:bodyPr>
          <a:lstStyle/>
          <a:p>
            <a:r>
              <a:rPr lang="en-US" dirty="0"/>
              <a:t>unique portfolio to enable Industrial Innovation</a:t>
            </a:r>
          </a:p>
        </p:txBody>
      </p:sp>
      <p:sp>
        <p:nvSpPr>
          <p:cNvPr id="22" name="TextBox 21"/>
          <p:cNvSpPr txBox="1"/>
          <p:nvPr/>
        </p:nvSpPr>
        <p:spPr>
          <a:xfrm>
            <a:off x="4656964" y="5892969"/>
            <a:ext cx="3587522" cy="307007"/>
          </a:xfrm>
          <a:prstGeom prst="rect">
            <a:avLst/>
          </a:prstGeom>
          <a:noFill/>
        </p:spPr>
        <p:txBody>
          <a:bodyPr wrap="none" lIns="0" tIns="0" rIns="0" bIns="0" rtlCol="0">
            <a:spAutoFit/>
          </a:bodyPr>
          <a:lstStyle/>
          <a:p>
            <a:pPr algn="ctr"/>
            <a:r>
              <a:rPr lang="en-US" sz="1995" kern="0" dirty="0">
                <a:solidFill>
                  <a:schemeClr val="accent3"/>
                </a:solidFill>
              </a:rPr>
              <a:t>CLOUD | HYBRID | ON-PREM</a:t>
            </a:r>
            <a:endParaRPr lang="en-US" sz="1995" dirty="0">
              <a:solidFill>
                <a:schemeClr val="accent3"/>
              </a:solidFill>
            </a:endParaRPr>
          </a:p>
        </p:txBody>
      </p:sp>
      <p:sp>
        <p:nvSpPr>
          <p:cNvPr id="27" name="Rectangle 26"/>
          <p:cNvSpPr/>
          <p:nvPr/>
        </p:nvSpPr>
        <p:spPr>
          <a:xfrm>
            <a:off x="2571958" y="1248553"/>
            <a:ext cx="9179747" cy="984535"/>
          </a:xfrm>
          <a:prstGeom prst="rect">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114">
              <a:spcBef>
                <a:spcPts val="599"/>
              </a:spcBef>
              <a:defRPr/>
            </a:pPr>
            <a:endParaRPr lang="en-US" sz="1995" kern="0" dirty="0">
              <a:solidFill>
                <a:srgbClr val="FFFFFF"/>
              </a:solidFill>
            </a:endParaRPr>
          </a:p>
        </p:txBody>
      </p:sp>
      <p:sp>
        <p:nvSpPr>
          <p:cNvPr id="28" name="Rectangle 27"/>
          <p:cNvSpPr/>
          <p:nvPr/>
        </p:nvSpPr>
        <p:spPr>
          <a:xfrm>
            <a:off x="459284" y="1248553"/>
            <a:ext cx="2136493" cy="984535"/>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2114">
              <a:defRPr/>
            </a:pPr>
            <a:r>
              <a:rPr lang="en-US" sz="1995" kern="0" dirty="0">
                <a:solidFill>
                  <a:schemeClr val="bg1"/>
                </a:solidFill>
              </a:rPr>
              <a:t>PARTNER SOLUTIONS</a:t>
            </a:r>
          </a:p>
        </p:txBody>
      </p:sp>
      <p:pic>
        <p:nvPicPr>
          <p:cNvPr id="31" name="Picture 30"/>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688467" y="1602108"/>
            <a:ext cx="859926" cy="397285"/>
          </a:xfrm>
          <a:prstGeom prst="rect">
            <a:avLst/>
          </a:prstGeom>
        </p:spPr>
      </p:pic>
      <p:pic>
        <p:nvPicPr>
          <p:cNvPr id="32" name="Picture 31"/>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499261" y="1467513"/>
            <a:ext cx="614034" cy="614034"/>
          </a:xfrm>
          <a:prstGeom prst="rect">
            <a:avLst/>
          </a:prstGeom>
        </p:spPr>
      </p:pic>
      <p:pic>
        <p:nvPicPr>
          <p:cNvPr id="34" name="Picture 33"/>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2789313" y="1466677"/>
            <a:ext cx="872985" cy="627854"/>
          </a:xfrm>
          <a:prstGeom prst="rect">
            <a:avLst/>
          </a:prstGeom>
        </p:spPr>
      </p:pic>
      <p:pic>
        <p:nvPicPr>
          <p:cNvPr id="37" name="Picture 36"/>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760400" y="1657121"/>
            <a:ext cx="1279842" cy="307961"/>
          </a:xfrm>
          <a:prstGeom prst="rect">
            <a:avLst/>
          </a:prstGeom>
        </p:spPr>
      </p:pic>
      <p:pic>
        <p:nvPicPr>
          <p:cNvPr id="2" name="Picture 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461603" y="3749470"/>
            <a:ext cx="1406419" cy="377226"/>
          </a:xfrm>
          <a:prstGeom prst="rect">
            <a:avLst/>
          </a:prstGeom>
        </p:spPr>
      </p:pic>
      <p:pic>
        <p:nvPicPr>
          <p:cNvPr id="38" name="Picture 37">
            <a:extLst>
              <a:ext uri="{FF2B5EF4-FFF2-40B4-BE49-F238E27FC236}">
                <a16:creationId xmlns:a16="http://schemas.microsoft.com/office/drawing/2014/main" id="{7DC65ABD-79ED-714F-BFDB-502C40D68AE9}"/>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9065" t="21120" r="8825" b="23613"/>
          <a:stretch/>
        </p:blipFill>
        <p:spPr>
          <a:xfrm>
            <a:off x="3874304" y="1614649"/>
            <a:ext cx="1415368" cy="350433"/>
          </a:xfrm>
          <a:prstGeom prst="rect">
            <a:avLst/>
          </a:prstGeom>
        </p:spPr>
      </p:pic>
      <p:pic>
        <p:nvPicPr>
          <p:cNvPr id="39" name="Picture 38">
            <a:extLst>
              <a:ext uri="{FF2B5EF4-FFF2-40B4-BE49-F238E27FC236}">
                <a16:creationId xmlns:a16="http://schemas.microsoft.com/office/drawing/2014/main" id="{7788513D-5475-A04D-B3D4-AD30064F6C80}"/>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247639" y="1519038"/>
            <a:ext cx="1249045" cy="484704"/>
          </a:xfrm>
          <a:prstGeom prst="rect">
            <a:avLst/>
          </a:prstGeom>
        </p:spPr>
      </p:pic>
      <p:pic>
        <p:nvPicPr>
          <p:cNvPr id="42" name="Picture 41" descr="Afficher l'image d'origine">
            <a:extLst>
              <a:ext uri="{FF2B5EF4-FFF2-40B4-BE49-F238E27FC236}">
                <a16:creationId xmlns:a16="http://schemas.microsoft.com/office/drawing/2014/main" id="{0E78D951-DF09-7742-9F72-8DECA45E5E84}"/>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l="12826" t="23319" r="15073" b="40911"/>
          <a:stretch/>
        </p:blipFill>
        <p:spPr bwMode="auto">
          <a:xfrm>
            <a:off x="6325302" y="1583473"/>
            <a:ext cx="1151158" cy="342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903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par>
                                <p:cTn id="11" presetID="10" presetClass="entr" presetSubtype="0"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500"/>
                                        <p:tgtEl>
                                          <p:spTgt spid="4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par>
                                <p:cTn id="25" presetID="10" presetClass="entr" presetSubtype="0" fill="hold"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500"/>
                                        <p:tgtEl>
                                          <p:spTgt spid="28"/>
                                        </p:tgtEl>
                                      </p:cBhvr>
                                    </p:animEffect>
                                  </p:childTnLst>
                                </p:cTn>
                              </p:par>
                              <p:par>
                                <p:cTn id="36" presetID="10" presetClass="entr" presetSubtype="0" fill="hold"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par>
                                <p:cTn id="39" presetID="10" presetClass="entr" presetSubtype="0" fill="hold" nodeType="with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500"/>
                                        <p:tgtEl>
                                          <p:spTgt spid="32"/>
                                        </p:tgtEl>
                                      </p:cBhvr>
                                    </p:animEffect>
                                  </p:childTnLst>
                                </p:cTn>
                              </p:par>
                              <p:par>
                                <p:cTn id="42" presetID="10" presetClass="entr" presetSubtype="0" fill="hold" nodeType="with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500"/>
                                        <p:tgtEl>
                                          <p:spTgt spid="34"/>
                                        </p:tgtEl>
                                      </p:cBhvr>
                                    </p:animEffect>
                                  </p:childTnLst>
                                </p:cTn>
                              </p:par>
                              <p:par>
                                <p:cTn id="45" presetID="10" presetClass="entr" presetSubtype="0" fill="hold" nodeType="with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10" presetClass="entr" presetSubtype="0" fill="hold" nodeType="withEffect">
                                  <p:stCondLst>
                                    <p:cond delay="0"/>
                                  </p:stCondLst>
                                  <p:childTnLst>
                                    <p:set>
                                      <p:cBhvr>
                                        <p:cTn id="49" dur="1" fill="hold">
                                          <p:stCondLst>
                                            <p:cond delay="0"/>
                                          </p:stCondLst>
                                        </p:cTn>
                                        <p:tgtEl>
                                          <p:spTgt spid="38"/>
                                        </p:tgtEl>
                                        <p:attrNameLst>
                                          <p:attrName>style.visibility</p:attrName>
                                        </p:attrNameLst>
                                      </p:cBhvr>
                                      <p:to>
                                        <p:strVal val="visible"/>
                                      </p:to>
                                    </p:set>
                                    <p:animEffect transition="in" filter="fade">
                                      <p:cBhvr>
                                        <p:cTn id="50" dur="500"/>
                                        <p:tgtEl>
                                          <p:spTgt spid="38"/>
                                        </p:tgtEl>
                                      </p:cBhvr>
                                    </p:animEffect>
                                  </p:childTnLst>
                                </p:cTn>
                              </p:par>
                              <p:par>
                                <p:cTn id="51" presetID="10" presetClass="entr" presetSubtype="0" fill="hold" nodeType="with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49" grpId="0" animBg="1"/>
      <p:bldP spid="22" grpId="0"/>
      <p:bldP spid="27" grpId="0" animBg="1"/>
      <p:bldP spid="2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5"/>
          <p:cNvPicPr>
            <a:picLocks noChangeAspect="1"/>
          </p:cNvPicPr>
          <p:nvPr/>
        </p:nvPicPr>
        <p:blipFill>
          <a:blip r:embed="rId2">
            <a:extLst>
              <a:ext uri="{28A0092B-C50C-407E-A947-70E740481C1C}">
                <a14:useLocalDpi xmlns:a14="http://schemas.microsoft.com/office/drawing/2010/main" val="0"/>
              </a:ext>
            </a:extLst>
          </a:blip>
          <a:srcRect t="5944" b="5944"/>
          <a:stretch>
            <a:fillRect/>
          </a:stretch>
        </p:blipFill>
        <p:spPr>
          <a:xfrm>
            <a:off x="5557" y="782053"/>
            <a:ext cx="12171363" cy="6075947"/>
          </a:xfrm>
          <a:prstGeom prst="rect">
            <a:avLst/>
          </a:prstGeom>
        </p:spPr>
      </p:pic>
      <p:sp>
        <p:nvSpPr>
          <p:cNvPr id="4" name="Title 3"/>
          <p:cNvSpPr>
            <a:spLocks noGrp="1"/>
          </p:cNvSpPr>
          <p:nvPr>
            <p:ph type="title"/>
          </p:nvPr>
        </p:nvSpPr>
        <p:spPr>
          <a:xfrm>
            <a:off x="302498" y="179081"/>
            <a:ext cx="11584702" cy="457200"/>
          </a:xfrm>
        </p:spPr>
        <p:txBody>
          <a:bodyPr/>
          <a:lstStyle/>
          <a:p>
            <a:r>
              <a:rPr lang="en-US" dirty="0"/>
              <a:t>NEW REALITY: integrating digital and physical world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7389" y="1178007"/>
            <a:ext cx="6425821" cy="5004133"/>
          </a:xfrm>
          <a:prstGeom prst="rect">
            <a:avLst/>
          </a:prstGeom>
        </p:spPr>
      </p:pic>
      <p:sp>
        <p:nvSpPr>
          <p:cNvPr id="11" name="TextBox 10"/>
          <p:cNvSpPr txBox="1"/>
          <p:nvPr/>
        </p:nvSpPr>
        <p:spPr>
          <a:xfrm>
            <a:off x="4572000" y="5923002"/>
            <a:ext cx="3149146" cy="553998"/>
          </a:xfrm>
          <a:prstGeom prst="rect">
            <a:avLst/>
          </a:prstGeom>
          <a:noFill/>
        </p:spPr>
        <p:txBody>
          <a:bodyPr wrap="square" lIns="0" tIns="0" rIns="0" bIns="0" rtlCol="0">
            <a:spAutoFit/>
          </a:bodyPr>
          <a:lstStyle/>
          <a:p>
            <a:pPr algn="ctr"/>
            <a:r>
              <a:rPr lang="en-US" sz="1800" dirty="0">
                <a:solidFill>
                  <a:schemeClr val="bg1"/>
                </a:solidFill>
              </a:rPr>
              <a:t>Digital </a:t>
            </a:r>
            <a:r>
              <a:rPr lang="en-US" sz="1800">
                <a:solidFill>
                  <a:schemeClr val="bg1"/>
                </a:solidFill>
              </a:rPr>
              <a:t>&amp; Physical Worlds Combined</a:t>
            </a:r>
            <a:endParaRPr lang="en-US" sz="1800" dirty="0">
              <a:solidFill>
                <a:schemeClr val="bg1"/>
              </a:solidFill>
            </a:endParaRPr>
          </a:p>
        </p:txBody>
      </p:sp>
      <p:sp>
        <p:nvSpPr>
          <p:cNvPr id="13" name="TextBox 12"/>
          <p:cNvSpPr txBox="1"/>
          <p:nvPr/>
        </p:nvSpPr>
        <p:spPr>
          <a:xfrm>
            <a:off x="269010" y="3473898"/>
            <a:ext cx="3352800" cy="830997"/>
          </a:xfrm>
          <a:prstGeom prst="rect">
            <a:avLst/>
          </a:prstGeom>
          <a:noFill/>
        </p:spPr>
        <p:txBody>
          <a:bodyPr wrap="square" lIns="0" tIns="0" rIns="0" bIns="0" rtlCol="0">
            <a:spAutoFit/>
          </a:bodyPr>
          <a:lstStyle/>
          <a:p>
            <a:pPr algn="r"/>
            <a:r>
              <a:rPr lang="en-US" sz="5400" b="1" dirty="0">
                <a:solidFill>
                  <a:schemeClr val="bg1"/>
                </a:solidFill>
                <a:latin typeface="Franklin Gothic Book" charset="0"/>
              </a:rPr>
              <a:t>INTERNET</a:t>
            </a:r>
          </a:p>
        </p:txBody>
      </p:sp>
      <p:sp>
        <p:nvSpPr>
          <p:cNvPr id="14" name="TextBox 13"/>
          <p:cNvSpPr txBox="1"/>
          <p:nvPr/>
        </p:nvSpPr>
        <p:spPr>
          <a:xfrm>
            <a:off x="5706639" y="3473898"/>
            <a:ext cx="887877" cy="830997"/>
          </a:xfrm>
          <a:prstGeom prst="rect">
            <a:avLst/>
          </a:prstGeom>
          <a:noFill/>
        </p:spPr>
        <p:txBody>
          <a:bodyPr wrap="square" lIns="0" tIns="0" rIns="0" bIns="0" rtlCol="0" anchor="ctr">
            <a:spAutoFit/>
          </a:bodyPr>
          <a:lstStyle/>
          <a:p>
            <a:pPr algn="ctr"/>
            <a:r>
              <a:rPr lang="en-US" sz="5400" b="1" dirty="0">
                <a:solidFill>
                  <a:schemeClr val="bg1"/>
                </a:solidFill>
                <a:latin typeface="Franklin Gothic Book" charset="0"/>
              </a:rPr>
              <a:t>OF</a:t>
            </a:r>
          </a:p>
        </p:txBody>
      </p:sp>
      <p:sp>
        <p:nvSpPr>
          <p:cNvPr id="15" name="TextBox 14"/>
          <p:cNvSpPr txBox="1"/>
          <p:nvPr/>
        </p:nvSpPr>
        <p:spPr>
          <a:xfrm>
            <a:off x="8679342" y="3473898"/>
            <a:ext cx="2979258" cy="830997"/>
          </a:xfrm>
          <a:prstGeom prst="rect">
            <a:avLst/>
          </a:prstGeom>
          <a:noFill/>
        </p:spPr>
        <p:txBody>
          <a:bodyPr wrap="square" lIns="0" tIns="0" rIns="0" bIns="0" rtlCol="0">
            <a:spAutoFit/>
          </a:bodyPr>
          <a:lstStyle/>
          <a:p>
            <a:r>
              <a:rPr lang="en-US" sz="5400" b="1" dirty="0">
                <a:solidFill>
                  <a:schemeClr val="accent4"/>
                </a:solidFill>
                <a:latin typeface="Franklin Gothic Book" charset="0"/>
              </a:rPr>
              <a:t>THINGS</a:t>
            </a:r>
          </a:p>
        </p:txBody>
      </p:sp>
      <p:sp>
        <p:nvSpPr>
          <p:cNvPr id="16" name="Rectangle 6"/>
          <p:cNvSpPr txBox="1">
            <a:spLocks noChangeArrowheads="1"/>
          </p:cNvSpPr>
          <p:nvPr/>
        </p:nvSpPr>
        <p:spPr bwMode="auto">
          <a:xfrm>
            <a:off x="11296000" y="6629401"/>
            <a:ext cx="591200"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algn="r" eaLnBrk="0" fontAlgn="base" hangingPunct="0">
              <a:spcBef>
                <a:spcPct val="0"/>
              </a:spcBef>
              <a:spcAft>
                <a:spcPct val="0"/>
              </a:spcAft>
              <a:defRPr/>
            </a:pPr>
            <a:fld id="{8D7874BA-B114-4D1F-A449-70AD1C45E88A}" type="slidenum">
              <a:rPr lang="en-US" sz="900">
                <a:solidFill>
                  <a:schemeClr val="bg1"/>
                </a:solidFill>
                <a:ea typeface="MS PGothic" pitchFamily="34" charset="-128"/>
              </a:rPr>
              <a:pPr algn="r" eaLnBrk="0" fontAlgn="base" hangingPunct="0">
                <a:spcBef>
                  <a:spcPct val="0"/>
                </a:spcBef>
                <a:spcAft>
                  <a:spcPct val="0"/>
                </a:spcAft>
                <a:defRPr/>
              </a:pPr>
              <a:t>8</a:t>
            </a:fld>
            <a:endParaRPr lang="en-US" sz="900" dirty="0">
              <a:solidFill>
                <a:schemeClr val="bg1"/>
              </a:solidFill>
              <a:ea typeface="MS PGothic" pitchFamily="34" charset="-128"/>
            </a:endParaRPr>
          </a:p>
        </p:txBody>
      </p:sp>
    </p:spTree>
    <p:extLst>
      <p:ext uri="{BB962C8B-B14F-4D97-AF65-F5344CB8AC3E}">
        <p14:creationId xmlns:p14="http://schemas.microsoft.com/office/powerpoint/2010/main" val="263638661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p:bldP spid="1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170747" y="2415852"/>
            <a:ext cx="7784077" cy="1350867"/>
          </a:xfrm>
          <a:prstGeom prst="rect">
            <a:avLst/>
          </a:prstGeom>
          <a:noFill/>
        </p:spPr>
        <p:txBody>
          <a:bodyPr wrap="square" lIns="0" tIns="0" rIns="0" bIns="0" rtlCol="0">
            <a:spAutoFit/>
          </a:bodyPr>
          <a:lstStyle/>
          <a:p>
            <a:r>
              <a:rPr lang="en-US" sz="3192" dirty="0">
                <a:solidFill>
                  <a:schemeClr val="bg1"/>
                </a:solidFill>
                <a:effectLst>
                  <a:outerShdw blurRad="38100" dist="38100" dir="2700000" algn="tl">
                    <a:srgbClr val="000000">
                      <a:alpha val="43137"/>
                    </a:srgbClr>
                  </a:outerShdw>
                </a:effectLst>
              </a:rPr>
              <a:t>Fundamentally the </a:t>
            </a:r>
            <a:r>
              <a:rPr lang="en-US" sz="4389" b="1" dirty="0">
                <a:solidFill>
                  <a:schemeClr val="bg1"/>
                </a:solidFill>
                <a:effectLst>
                  <a:outerShdw blurRad="38100" dist="38100" dir="2700000" algn="tl">
                    <a:srgbClr val="000000">
                      <a:alpha val="43137"/>
                    </a:srgbClr>
                  </a:outerShdw>
                </a:effectLst>
              </a:rPr>
              <a:t>PHYSICAL and DIGITAL </a:t>
            </a:r>
            <a:r>
              <a:rPr lang="en-US" sz="3192" dirty="0">
                <a:solidFill>
                  <a:schemeClr val="bg1"/>
                </a:solidFill>
                <a:effectLst>
                  <a:outerShdw blurRad="38100" dist="38100" dir="2700000" algn="tl">
                    <a:srgbClr val="000000">
                      <a:alpha val="43137"/>
                    </a:srgbClr>
                  </a:outerShdw>
                </a:effectLst>
              </a:rPr>
              <a:t>worlds have </a:t>
            </a:r>
            <a:r>
              <a:rPr lang="en-US" sz="4389" b="1" dirty="0">
                <a:solidFill>
                  <a:schemeClr val="bg1"/>
                </a:solidFill>
                <a:effectLst>
                  <a:outerShdw blurRad="38100" dist="38100" dir="2700000" algn="tl">
                    <a:srgbClr val="000000">
                      <a:alpha val="43137"/>
                    </a:srgbClr>
                  </a:outerShdw>
                </a:effectLst>
              </a:rPr>
              <a:t>converged</a:t>
            </a:r>
            <a:endParaRPr lang="en-US" sz="1995" dirty="0">
              <a:solidFill>
                <a:schemeClr val="bg1"/>
              </a:solidFill>
              <a:effectLst>
                <a:outerShdw blurRad="38100" dist="38100" dir="2700000" algn="tl">
                  <a:srgbClr val="000000">
                    <a:alpha val="43137"/>
                  </a:srgbClr>
                </a:outerShdw>
              </a:effectLst>
            </a:endParaRPr>
          </a:p>
        </p:txBody>
      </p:sp>
      <p:sp>
        <p:nvSpPr>
          <p:cNvPr id="2" name="Rectangle 1"/>
          <p:cNvSpPr/>
          <p:nvPr/>
        </p:nvSpPr>
        <p:spPr>
          <a:xfrm>
            <a:off x="7782964" y="346858"/>
            <a:ext cx="3942790" cy="117695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95" dirty="0">
                <a:solidFill>
                  <a:schemeClr val="bg1"/>
                </a:solidFill>
              </a:rPr>
              <a:t>Need resized image</a:t>
            </a: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082" y="8483"/>
            <a:ext cx="12165870" cy="6849638"/>
          </a:xfrm>
          <a:prstGeom prst="rect">
            <a:avLst/>
          </a:prstGeom>
        </p:spPr>
      </p:pic>
      <p:sp>
        <p:nvSpPr>
          <p:cNvPr id="9" name="Circular Arrow 8"/>
          <p:cNvSpPr/>
          <p:nvPr/>
        </p:nvSpPr>
        <p:spPr>
          <a:xfrm rot="16375264">
            <a:off x="3296026" y="526930"/>
            <a:ext cx="5787181" cy="5823515"/>
          </a:xfrm>
          <a:prstGeom prst="circularArrow">
            <a:avLst>
              <a:gd name="adj1" fmla="val 3541"/>
              <a:gd name="adj2" fmla="val 451637"/>
              <a:gd name="adj3" fmla="val 20342707"/>
              <a:gd name="adj4" fmla="val 20814254"/>
              <a:gd name="adj5" fmla="val 4229"/>
            </a:avLst>
          </a:prstGeom>
          <a:solidFill>
            <a:schemeClr val="bg1">
              <a:alpha val="33000"/>
            </a:schemeClr>
          </a:solidFill>
          <a:ln>
            <a:solidFill>
              <a:schemeClr val="bg1"/>
            </a:solidFill>
          </a:ln>
          <a:scene3d>
            <a:camera prst="orthographicFront">
              <a:rot lat="0" lon="0" rev="2099999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9" dirty="0">
              <a:solidFill>
                <a:schemeClr val="bg1"/>
              </a:solidFill>
              <a:latin typeface="TeX Gyre Adventor Regular" charset="0"/>
            </a:endParaRPr>
          </a:p>
        </p:txBody>
      </p:sp>
      <p:sp>
        <p:nvSpPr>
          <p:cNvPr id="10" name="TextBox 9"/>
          <p:cNvSpPr txBox="1"/>
          <p:nvPr/>
        </p:nvSpPr>
        <p:spPr>
          <a:xfrm>
            <a:off x="5456401" y="5825367"/>
            <a:ext cx="1509866" cy="277774"/>
          </a:xfrm>
          <a:prstGeom prst="rect">
            <a:avLst/>
          </a:prstGeom>
          <a:noFill/>
          <a:scene3d>
            <a:camera prst="orthographicFront"/>
            <a:lightRig rig="threePt" dir="t"/>
          </a:scene3d>
        </p:spPr>
        <p:txBody>
          <a:bodyPr spcFirstLastPara="1" wrap="square" lIns="0" tIns="0" rIns="0" bIns="0" numCol="1" rtlCol="0">
            <a:prstTxWarp prst="textArchDown">
              <a:avLst/>
            </a:prstTxWarp>
            <a:spAutoFit/>
          </a:bodyPr>
          <a:lstStyle/>
          <a:p>
            <a:pPr algn="ctr"/>
            <a:r>
              <a:rPr lang="en-US" sz="1995" b="1" dirty="0">
                <a:solidFill>
                  <a:schemeClr val="bg1"/>
                </a:solidFill>
              </a:rPr>
              <a:t>Digital Thread</a:t>
            </a:r>
          </a:p>
        </p:txBody>
      </p:sp>
      <p:sp>
        <p:nvSpPr>
          <p:cNvPr id="19" name="TextBox 18"/>
          <p:cNvSpPr txBox="1"/>
          <p:nvPr/>
        </p:nvSpPr>
        <p:spPr>
          <a:xfrm>
            <a:off x="4502860" y="1269860"/>
            <a:ext cx="3196386" cy="589469"/>
          </a:xfrm>
          <a:prstGeom prst="rect">
            <a:avLst/>
          </a:prstGeom>
          <a:noFill/>
        </p:spPr>
        <p:txBody>
          <a:bodyPr wrap="square" lIns="0" tIns="0" rIns="0" bIns="0" rtlCol="0">
            <a:spAutoFit/>
          </a:bodyPr>
          <a:lstStyle/>
          <a:p>
            <a:pPr algn="ctr">
              <a:lnSpc>
                <a:spcPct val="80000"/>
              </a:lnSpc>
            </a:pPr>
            <a:r>
              <a:rPr lang="en-US" sz="2394" b="1" dirty="0">
                <a:solidFill>
                  <a:schemeClr val="bg1"/>
                </a:solidFill>
              </a:rPr>
              <a:t>PHYSICAL THING/ENVIRONMENT</a:t>
            </a:r>
          </a:p>
        </p:txBody>
      </p:sp>
      <p:sp>
        <p:nvSpPr>
          <p:cNvPr id="20" name="TextBox 19"/>
          <p:cNvSpPr txBox="1"/>
          <p:nvPr/>
        </p:nvSpPr>
        <p:spPr>
          <a:xfrm>
            <a:off x="4888065" y="5350091"/>
            <a:ext cx="2431792" cy="349997"/>
          </a:xfrm>
          <a:prstGeom prst="rect">
            <a:avLst/>
          </a:prstGeom>
          <a:noFill/>
        </p:spPr>
        <p:txBody>
          <a:bodyPr wrap="square" lIns="27364" tIns="27364" rIns="27364" bIns="27364" rtlCol="0" anchor="ctr">
            <a:spAutoFit/>
          </a:bodyPr>
          <a:lstStyle>
            <a:defPPr>
              <a:defRPr lang="en-US"/>
            </a:defPPr>
            <a:lvl1pPr algn="ctr">
              <a:lnSpc>
                <a:spcPct val="80000"/>
              </a:lnSpc>
              <a:defRPr sz="1600" b="1">
                <a:solidFill>
                  <a:schemeClr val="bg1"/>
                </a:solidFill>
                <a:effectLst>
                  <a:glow rad="139700">
                    <a:schemeClr val="accent6">
                      <a:satMod val="175000"/>
                      <a:alpha val="40000"/>
                    </a:schemeClr>
                  </a:glow>
                </a:effectLst>
              </a:defRPr>
            </a:lvl1pPr>
          </a:lstStyle>
          <a:p>
            <a:r>
              <a:rPr lang="en-US" sz="2394" dirty="0">
                <a:effectLst/>
              </a:rPr>
              <a:t>DIGITAL TWIN</a:t>
            </a:r>
          </a:p>
        </p:txBody>
      </p:sp>
      <p:grpSp>
        <p:nvGrpSpPr>
          <p:cNvPr id="16" name="Group 15"/>
          <p:cNvGrpSpPr/>
          <p:nvPr/>
        </p:nvGrpSpPr>
        <p:grpSpPr>
          <a:xfrm>
            <a:off x="3789471" y="1378805"/>
            <a:ext cx="3580129" cy="4175501"/>
            <a:chOff x="3783750" y="1373719"/>
            <a:chExt cx="3589008" cy="4185857"/>
          </a:xfrm>
        </p:grpSpPr>
        <p:sp>
          <p:nvSpPr>
            <p:cNvPr id="8" name="TextBox 7"/>
            <p:cNvSpPr txBox="1"/>
            <p:nvPr/>
          </p:nvSpPr>
          <p:spPr>
            <a:xfrm>
              <a:off x="4304201" y="3867718"/>
              <a:ext cx="1324946" cy="492443"/>
            </a:xfrm>
            <a:prstGeom prst="rect">
              <a:avLst/>
            </a:prstGeom>
            <a:noFill/>
          </p:spPr>
          <p:txBody>
            <a:bodyPr wrap="square" lIns="0" tIns="0" rIns="0" bIns="0" rtlCol="0">
              <a:spAutoFit/>
            </a:bodyPr>
            <a:lstStyle/>
            <a:p>
              <a:r>
                <a:rPr lang="en-US" sz="3192" dirty="0">
                  <a:solidFill>
                    <a:schemeClr val="bg1"/>
                  </a:solidFill>
                  <a:effectLst>
                    <a:outerShdw blurRad="38100" dist="38100" dir="2700000" algn="tl">
                      <a:srgbClr val="000000">
                        <a:alpha val="43137"/>
                      </a:srgbClr>
                    </a:outerShdw>
                  </a:effectLst>
                </a:rPr>
                <a:t>AR/VR</a:t>
              </a:r>
              <a:endParaRPr lang="en-US" sz="1995" dirty="0">
                <a:solidFill>
                  <a:schemeClr val="bg1"/>
                </a:solidFill>
                <a:effectLst>
                  <a:outerShdw blurRad="38100" dist="38100" dir="2700000" algn="tl">
                    <a:srgbClr val="000000">
                      <a:alpha val="43137"/>
                    </a:srgbClr>
                  </a:outerShdw>
                </a:effectLst>
              </a:endParaRPr>
            </a:p>
          </p:txBody>
        </p:sp>
        <p:sp>
          <p:nvSpPr>
            <p:cNvPr id="23" name="Circular Arrow 22"/>
            <p:cNvSpPr/>
            <p:nvPr/>
          </p:nvSpPr>
          <p:spPr>
            <a:xfrm rot="14344678">
              <a:off x="3485325" y="1672144"/>
              <a:ext cx="4185857" cy="3589008"/>
            </a:xfrm>
            <a:prstGeom prst="circularArrow">
              <a:avLst>
                <a:gd name="adj1" fmla="val 5650"/>
                <a:gd name="adj2" fmla="val 1121959"/>
                <a:gd name="adj3" fmla="val 20332681"/>
                <a:gd name="adj4" fmla="val 14207090"/>
                <a:gd name="adj5" fmla="val 5662"/>
              </a:avLst>
            </a:prstGeom>
            <a:solidFill>
              <a:schemeClr val="bg1">
                <a:alpha val="33000"/>
              </a:schemeClr>
            </a:solidFill>
            <a:ln>
              <a:solidFill>
                <a:schemeClr val="bg1"/>
              </a:solidFill>
            </a:ln>
            <a:scene3d>
              <a:camera prst="orthographicFront">
                <a:rot lat="0" lon="0" rev="2099999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9" dirty="0">
                <a:solidFill>
                  <a:schemeClr val="bg1"/>
                </a:solidFill>
                <a:latin typeface="TeX Gyre Adventor Regular" charset="0"/>
              </a:endParaRPr>
            </a:p>
          </p:txBody>
        </p:sp>
      </p:grpSp>
      <p:grpSp>
        <p:nvGrpSpPr>
          <p:cNvPr id="15" name="Group 14"/>
          <p:cNvGrpSpPr/>
          <p:nvPr/>
        </p:nvGrpSpPr>
        <p:grpSpPr>
          <a:xfrm>
            <a:off x="4988172" y="1378805"/>
            <a:ext cx="3580129" cy="4175501"/>
            <a:chOff x="4985424" y="1373719"/>
            <a:chExt cx="3589008" cy="4185857"/>
          </a:xfrm>
        </p:grpSpPr>
        <p:sp>
          <p:nvSpPr>
            <p:cNvPr id="7" name="TextBox 6"/>
            <p:cNvSpPr txBox="1"/>
            <p:nvPr/>
          </p:nvSpPr>
          <p:spPr>
            <a:xfrm>
              <a:off x="7383277" y="2407781"/>
              <a:ext cx="737118" cy="492443"/>
            </a:xfrm>
            <a:prstGeom prst="rect">
              <a:avLst/>
            </a:prstGeom>
            <a:noFill/>
          </p:spPr>
          <p:txBody>
            <a:bodyPr wrap="square" lIns="0" tIns="0" rIns="0" bIns="0" rtlCol="0">
              <a:spAutoFit/>
            </a:bodyPr>
            <a:lstStyle/>
            <a:p>
              <a:pPr algn="ctr"/>
              <a:r>
                <a:rPr lang="en-US" sz="3192" dirty="0" err="1">
                  <a:solidFill>
                    <a:schemeClr val="bg1"/>
                  </a:solidFill>
                  <a:effectLst>
                    <a:outerShdw blurRad="38100" dist="38100" dir="2700000" algn="tl">
                      <a:srgbClr val="000000">
                        <a:alpha val="43137"/>
                      </a:srgbClr>
                    </a:outerShdw>
                  </a:effectLst>
                </a:rPr>
                <a:t>IoT</a:t>
              </a:r>
              <a:endParaRPr lang="en-US" sz="1995" dirty="0">
                <a:solidFill>
                  <a:schemeClr val="bg1"/>
                </a:solidFill>
                <a:effectLst>
                  <a:outerShdw blurRad="38100" dist="38100" dir="2700000" algn="tl">
                    <a:srgbClr val="000000">
                      <a:alpha val="43137"/>
                    </a:srgbClr>
                  </a:outerShdw>
                </a:effectLst>
              </a:endParaRPr>
            </a:p>
          </p:txBody>
        </p:sp>
        <p:sp>
          <p:nvSpPr>
            <p:cNvPr id="24" name="Circular Arrow 23"/>
            <p:cNvSpPr/>
            <p:nvPr/>
          </p:nvSpPr>
          <p:spPr>
            <a:xfrm rot="14344678" flipH="1" flipV="1">
              <a:off x="4686999" y="1672144"/>
              <a:ext cx="4185857" cy="3589008"/>
            </a:xfrm>
            <a:prstGeom prst="circularArrow">
              <a:avLst>
                <a:gd name="adj1" fmla="val 5650"/>
                <a:gd name="adj2" fmla="val 1121959"/>
                <a:gd name="adj3" fmla="val 20332681"/>
                <a:gd name="adj4" fmla="val 14207090"/>
                <a:gd name="adj5" fmla="val 5662"/>
              </a:avLst>
            </a:prstGeom>
            <a:solidFill>
              <a:schemeClr val="bg1">
                <a:alpha val="33000"/>
              </a:schemeClr>
            </a:solidFill>
            <a:ln>
              <a:solidFill>
                <a:schemeClr val="bg1"/>
              </a:solidFill>
            </a:ln>
            <a:scene3d>
              <a:camera prst="orthographicFront">
                <a:rot lat="0" lon="0" rev="2099999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9" dirty="0">
                <a:solidFill>
                  <a:schemeClr val="bg1"/>
                </a:solidFill>
                <a:latin typeface="TeX Gyre Adventor Regular" charset="0"/>
              </a:endParaRPr>
            </a:p>
          </p:txBody>
        </p:sp>
      </p:grpSp>
      <p:sp>
        <p:nvSpPr>
          <p:cNvPr id="3" name="Rectangle 2"/>
          <p:cNvSpPr/>
          <p:nvPr/>
        </p:nvSpPr>
        <p:spPr>
          <a:xfrm>
            <a:off x="9815944" y="-831168"/>
            <a:ext cx="1014440" cy="4067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grpSp>
        <p:nvGrpSpPr>
          <p:cNvPr id="14" name="Group 13"/>
          <p:cNvGrpSpPr/>
          <p:nvPr/>
        </p:nvGrpSpPr>
        <p:grpSpPr>
          <a:xfrm>
            <a:off x="4831623" y="1894928"/>
            <a:ext cx="2548470" cy="2491993"/>
            <a:chOff x="4828487" y="1891122"/>
            <a:chExt cx="2554790" cy="2498173"/>
          </a:xfrm>
        </p:grpSpPr>
        <p:sp>
          <p:nvSpPr>
            <p:cNvPr id="5" name="TextBox 4"/>
            <p:cNvSpPr txBox="1"/>
            <p:nvPr/>
          </p:nvSpPr>
          <p:spPr>
            <a:xfrm>
              <a:off x="4828487" y="2775007"/>
              <a:ext cx="2554790" cy="492443"/>
            </a:xfrm>
            <a:prstGeom prst="rect">
              <a:avLst/>
            </a:prstGeom>
            <a:noFill/>
          </p:spPr>
          <p:txBody>
            <a:bodyPr wrap="square" lIns="0" tIns="0" rIns="0" bIns="0" rtlCol="0">
              <a:spAutoFit/>
            </a:bodyPr>
            <a:lstStyle/>
            <a:p>
              <a:pPr algn="ctr"/>
              <a:r>
                <a:rPr lang="en-US" sz="3192" dirty="0">
                  <a:solidFill>
                    <a:schemeClr val="bg1"/>
                  </a:solidFill>
                  <a:effectLst>
                    <a:outerShdw blurRad="38100" dist="38100" dir="2700000" algn="tl">
                      <a:srgbClr val="000000">
                        <a:alpha val="43137"/>
                      </a:srgbClr>
                    </a:outerShdw>
                  </a:effectLst>
                </a:rPr>
                <a:t>Additive </a:t>
              </a:r>
              <a:r>
                <a:rPr lang="en-US" sz="3192" dirty="0" err="1">
                  <a:solidFill>
                    <a:schemeClr val="bg1"/>
                  </a:solidFill>
                  <a:effectLst>
                    <a:outerShdw blurRad="38100" dist="38100" dir="2700000" algn="tl">
                      <a:srgbClr val="000000">
                        <a:alpha val="43137"/>
                      </a:srgbClr>
                    </a:outerShdw>
                  </a:effectLst>
                </a:rPr>
                <a:t>Mfg</a:t>
              </a:r>
              <a:endParaRPr lang="en-US" sz="1995" dirty="0">
                <a:solidFill>
                  <a:schemeClr val="bg1"/>
                </a:solidFill>
                <a:effectLst>
                  <a:outerShdw blurRad="38100" dist="38100" dir="2700000" algn="tl">
                    <a:srgbClr val="000000">
                      <a:alpha val="43137"/>
                    </a:srgbClr>
                  </a:outerShdw>
                </a:effectLst>
              </a:endParaRPr>
            </a:p>
          </p:txBody>
        </p:sp>
        <p:grpSp>
          <p:nvGrpSpPr>
            <p:cNvPr id="13" name="Group 12"/>
            <p:cNvGrpSpPr/>
            <p:nvPr/>
          </p:nvGrpSpPr>
          <p:grpSpPr>
            <a:xfrm>
              <a:off x="5839914" y="1891122"/>
              <a:ext cx="527140" cy="2498173"/>
              <a:chOff x="10209380" y="1982029"/>
              <a:chExt cx="527140" cy="2498173"/>
            </a:xfrm>
          </p:grpSpPr>
          <p:sp>
            <p:nvSpPr>
              <p:cNvPr id="12" name="Up Arrow 11"/>
              <p:cNvSpPr/>
              <p:nvPr/>
            </p:nvSpPr>
            <p:spPr>
              <a:xfrm>
                <a:off x="10209380" y="1982029"/>
                <a:ext cx="527140" cy="883885"/>
              </a:xfrm>
              <a:prstGeom prst="upArrow">
                <a:avLst>
                  <a:gd name="adj1" fmla="val 50000"/>
                  <a:gd name="adj2" fmla="val 97286"/>
                </a:avLst>
              </a:prstGeom>
              <a:solidFill>
                <a:schemeClr val="bg1">
                  <a:alpha val="3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sp>
            <p:nvSpPr>
              <p:cNvPr id="11" name="Rectangle 10"/>
              <p:cNvSpPr/>
              <p:nvPr/>
            </p:nvSpPr>
            <p:spPr>
              <a:xfrm>
                <a:off x="10341633" y="3382922"/>
                <a:ext cx="262635" cy="1097280"/>
              </a:xfrm>
              <a:prstGeom prst="rect">
                <a:avLst/>
              </a:prstGeom>
              <a:solidFill>
                <a:schemeClr val="bg1">
                  <a:alpha val="3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grpSp>
      </p:grpSp>
    </p:spTree>
    <p:extLst>
      <p:ext uri="{BB962C8B-B14F-4D97-AF65-F5344CB8AC3E}">
        <p14:creationId xmlns:p14="http://schemas.microsoft.com/office/powerpoint/2010/main" val="169474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wipe(up)">
                                      <p:cBhvr>
                                        <p:cTn id="16" dur="500"/>
                                        <p:tgtEl>
                                          <p:spTgt spid="15"/>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wipe(down)">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50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1" presetClass="entr" presetSubtype="1"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wheel(1)">
                                      <p:cBhvr>
                                        <p:cTn id="31" dur="2000"/>
                                        <p:tgtEl>
                                          <p:spTgt spid="9"/>
                                        </p:tgtEl>
                                      </p:cBhvr>
                                    </p:animEffect>
                                  </p:childTnLst>
                                </p:cTn>
                              </p:par>
                              <p:par>
                                <p:cTn id="32" presetID="22" presetClass="entr" presetSubtype="2" fill="hold" grpId="0" nodeType="withEffect">
                                  <p:stCondLst>
                                    <p:cond delay="800"/>
                                  </p:stCondLst>
                                  <p:childTnLst>
                                    <p:set>
                                      <p:cBhvr>
                                        <p:cTn id="33" dur="1" fill="hold">
                                          <p:stCondLst>
                                            <p:cond delay="0"/>
                                          </p:stCondLst>
                                        </p:cTn>
                                        <p:tgtEl>
                                          <p:spTgt spid="10"/>
                                        </p:tgtEl>
                                        <p:attrNameLst>
                                          <p:attrName>style.visibility</p:attrName>
                                        </p:attrNameLst>
                                      </p:cBhvr>
                                      <p:to>
                                        <p:strVal val="visible"/>
                                      </p:to>
                                    </p:set>
                                    <p:animEffect transition="in" filter="wipe(right)">
                                      <p:cBhvr>
                                        <p:cTn id="3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9" grpId="0"/>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TC Template">
  <a:themeElements>
    <a:clrScheme name="PTC 2016">
      <a:dk1>
        <a:srgbClr val="3D4647"/>
      </a:dk1>
      <a:lt1>
        <a:srgbClr val="FFFFFF"/>
      </a:lt1>
      <a:dk2>
        <a:srgbClr val="C8C9C7"/>
      </a:dk2>
      <a:lt2>
        <a:srgbClr val="6CC04A"/>
      </a:lt2>
      <a:accent1>
        <a:srgbClr val="236192"/>
      </a:accent1>
      <a:accent2>
        <a:srgbClr val="00ACC8"/>
      </a:accent2>
      <a:accent3>
        <a:srgbClr val="F38B00"/>
      </a:accent3>
      <a:accent4>
        <a:srgbClr val="007A3E"/>
      </a:accent4>
      <a:accent5>
        <a:srgbClr val="F1B434"/>
      </a:accent5>
      <a:accent6>
        <a:srgbClr val="912F46"/>
      </a:accent6>
      <a:hlink>
        <a:srgbClr val="8A204B"/>
      </a:hlink>
      <a:folHlink>
        <a:srgbClr val="8331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extLst>
    <a:ext uri="{05A4C25C-085E-4340-85A3-A5531E510DB2}">
      <thm15:themeFamily xmlns:thm15="http://schemas.microsoft.com/office/thememl/2012/main" name="PTC Template" id="{C7E9D898-7BD4-4049-BC28-E051ED544E48}" vid="{34A20156-F36B-4198-8A7F-37800D687D8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PTC Template">
  <a:themeElements>
    <a:clrScheme name="PTC 2016">
      <a:dk1>
        <a:srgbClr val="3D4647"/>
      </a:dk1>
      <a:lt1>
        <a:srgbClr val="FFFFFF"/>
      </a:lt1>
      <a:dk2>
        <a:srgbClr val="C8C9C7"/>
      </a:dk2>
      <a:lt2>
        <a:srgbClr val="6CC04A"/>
      </a:lt2>
      <a:accent1>
        <a:srgbClr val="236192"/>
      </a:accent1>
      <a:accent2>
        <a:srgbClr val="00ACC8"/>
      </a:accent2>
      <a:accent3>
        <a:srgbClr val="F38B00"/>
      </a:accent3>
      <a:accent4>
        <a:srgbClr val="007A3E"/>
      </a:accent4>
      <a:accent5>
        <a:srgbClr val="F1B434"/>
      </a:accent5>
      <a:accent6>
        <a:srgbClr val="912F46"/>
      </a:accent6>
      <a:hlink>
        <a:srgbClr val="8A204B"/>
      </a:hlink>
      <a:folHlink>
        <a:srgbClr val="8331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extLst>
    <a:ext uri="{05A4C25C-085E-4340-85A3-A5531E510DB2}">
      <thm15:themeFamily xmlns:thm15="http://schemas.microsoft.com/office/thememl/2012/main" name="PTC Template" id="{C7E9D898-7BD4-4049-BC28-E051ED544E48}" vid="{34A20156-F36B-4198-8A7F-37800D687D84}"/>
    </a:ext>
  </a:extLst>
</a:theme>
</file>

<file path=ppt/theme/theme3.xml><?xml version="1.0" encoding="utf-8"?>
<a:theme xmlns:a="http://schemas.openxmlformats.org/drawingml/2006/main" name="9_PTC Template">
  <a:themeElements>
    <a:clrScheme name="PTC 2016">
      <a:dk1>
        <a:srgbClr val="3D4647"/>
      </a:dk1>
      <a:lt1>
        <a:srgbClr val="FFFFFF"/>
      </a:lt1>
      <a:dk2>
        <a:srgbClr val="C8C9C7"/>
      </a:dk2>
      <a:lt2>
        <a:srgbClr val="6CC04A"/>
      </a:lt2>
      <a:accent1>
        <a:srgbClr val="236192"/>
      </a:accent1>
      <a:accent2>
        <a:srgbClr val="00ACC8"/>
      </a:accent2>
      <a:accent3>
        <a:srgbClr val="F38B00"/>
      </a:accent3>
      <a:accent4>
        <a:srgbClr val="007A3E"/>
      </a:accent4>
      <a:accent5>
        <a:srgbClr val="F1B434"/>
      </a:accent5>
      <a:accent6>
        <a:srgbClr val="912F46"/>
      </a:accent6>
      <a:hlink>
        <a:srgbClr val="8A204B"/>
      </a:hlink>
      <a:folHlink>
        <a:srgbClr val="833177"/>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extLst>
    <a:ext uri="{05A4C25C-085E-4340-85A3-A5531E510DB2}">
      <thm15:themeFamily xmlns:thm15="http://schemas.microsoft.com/office/thememl/2012/main" name="PTC PPT Template_MM.pptx" id="{04EF5F89-F697-46AC-A4A1-6A9B2E66A9B9}" vid="{C5CE8B8C-194C-441F-AE57-B6260DDA28AE}"/>
    </a:ext>
  </a:extLst>
</a:theme>
</file>

<file path=ppt/theme/theme4.xml><?xml version="1.0" encoding="utf-8"?>
<a:theme xmlns:a="http://schemas.openxmlformats.org/drawingml/2006/main" name="8_PTC Template">
  <a:themeElements>
    <a:clrScheme name="PTC 2016">
      <a:dk1>
        <a:srgbClr val="3D4647"/>
      </a:dk1>
      <a:lt1>
        <a:srgbClr val="FFFFFF"/>
      </a:lt1>
      <a:dk2>
        <a:srgbClr val="C8C9C7"/>
      </a:dk2>
      <a:lt2>
        <a:srgbClr val="6CC04A"/>
      </a:lt2>
      <a:accent1>
        <a:srgbClr val="236192"/>
      </a:accent1>
      <a:accent2>
        <a:srgbClr val="00ACC8"/>
      </a:accent2>
      <a:accent3>
        <a:srgbClr val="F38B00"/>
      </a:accent3>
      <a:accent4>
        <a:srgbClr val="007A3E"/>
      </a:accent4>
      <a:accent5>
        <a:srgbClr val="F1B434"/>
      </a:accent5>
      <a:accent6>
        <a:srgbClr val="912F46"/>
      </a:accent6>
      <a:hlink>
        <a:srgbClr val="8A204B"/>
      </a:hlink>
      <a:folHlink>
        <a:srgbClr val="8331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extLst>
    <a:ext uri="{05A4C25C-085E-4340-85A3-A5531E510DB2}">
      <thm15:themeFamily xmlns:thm15="http://schemas.microsoft.com/office/thememl/2012/main" name="PTC Template" id="{C7E9D898-7BD4-4049-BC28-E051ED544E48}" vid="{34A20156-F36B-4198-8A7F-37800D687D84}"/>
    </a:ext>
  </a:extLst>
</a:theme>
</file>

<file path=ppt/theme/theme5.xml><?xml version="1.0" encoding="utf-8"?>
<a:theme xmlns:a="http://schemas.openxmlformats.org/drawingml/2006/main" name="7_PTC Template">
  <a:themeElements>
    <a:clrScheme name="PTC 2016">
      <a:dk1>
        <a:srgbClr val="3D4647"/>
      </a:dk1>
      <a:lt1>
        <a:srgbClr val="FFFFFF"/>
      </a:lt1>
      <a:dk2>
        <a:srgbClr val="C8C9C7"/>
      </a:dk2>
      <a:lt2>
        <a:srgbClr val="6CC04A"/>
      </a:lt2>
      <a:accent1>
        <a:srgbClr val="236192"/>
      </a:accent1>
      <a:accent2>
        <a:srgbClr val="00ACC8"/>
      </a:accent2>
      <a:accent3>
        <a:srgbClr val="F38B00"/>
      </a:accent3>
      <a:accent4>
        <a:srgbClr val="007A3E"/>
      </a:accent4>
      <a:accent5>
        <a:srgbClr val="F1B434"/>
      </a:accent5>
      <a:accent6>
        <a:srgbClr val="912F46"/>
      </a:accent6>
      <a:hlink>
        <a:srgbClr val="8A204B"/>
      </a:hlink>
      <a:folHlink>
        <a:srgbClr val="8331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extLst>
    <a:ext uri="{05A4C25C-085E-4340-85A3-A5531E510DB2}">
      <thm15:themeFamily xmlns:thm15="http://schemas.microsoft.com/office/thememl/2012/main" name="PTC Template" id="{C7E9D898-7BD4-4049-BC28-E051ED544E48}" vid="{34A20156-F36B-4198-8A7F-37800D687D84}"/>
    </a:ext>
  </a:extLst>
</a:theme>
</file>

<file path=ppt/theme/theme6.xml><?xml version="1.0" encoding="utf-8"?>
<a:theme xmlns:a="http://schemas.openxmlformats.org/drawingml/2006/main" name="1_PTC PPT Template">
  <a:themeElements>
    <a:clrScheme name="PTC 2016">
      <a:dk1>
        <a:srgbClr val="3D4647"/>
      </a:dk1>
      <a:lt1>
        <a:srgbClr val="FFFFFF"/>
      </a:lt1>
      <a:dk2>
        <a:srgbClr val="C8C9C7"/>
      </a:dk2>
      <a:lt2>
        <a:srgbClr val="6CC04A"/>
      </a:lt2>
      <a:accent1>
        <a:srgbClr val="236192"/>
      </a:accent1>
      <a:accent2>
        <a:srgbClr val="00ACC8"/>
      </a:accent2>
      <a:accent3>
        <a:srgbClr val="F38B00"/>
      </a:accent3>
      <a:accent4>
        <a:srgbClr val="007A3E"/>
      </a:accent4>
      <a:accent5>
        <a:srgbClr val="F1B434"/>
      </a:accent5>
      <a:accent6>
        <a:srgbClr val="912F46"/>
      </a:accent6>
      <a:hlink>
        <a:srgbClr val="8A204B"/>
      </a:hlink>
      <a:folHlink>
        <a:srgbClr val="8331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extLst>
    <a:ext uri="{05A4C25C-085E-4340-85A3-A5531E510DB2}">
      <thm15:themeFamily xmlns:thm15="http://schemas.microsoft.com/office/thememl/2012/main" name="PTC PPT Template" id="{5281375E-A3E8-4A11-86FE-396579024A83}" vid="{3E38EDBE-89E6-401A-A759-7E9510EC0A2A}"/>
    </a:ext>
  </a:extLst>
</a:theme>
</file>

<file path=ppt/theme/theme7.xml><?xml version="1.0" encoding="utf-8"?>
<a:theme xmlns:a="http://schemas.openxmlformats.org/drawingml/2006/main" name="Default Theme">
  <a:themeElements>
    <a:clrScheme name="PTC 2018">
      <a:dk1>
        <a:srgbClr val="3D4647"/>
      </a:dk1>
      <a:lt1>
        <a:srgbClr val="FFFFFF"/>
      </a:lt1>
      <a:dk2>
        <a:srgbClr val="C8C9C7"/>
      </a:dk2>
      <a:lt2>
        <a:srgbClr val="6CC04A"/>
      </a:lt2>
      <a:accent1>
        <a:srgbClr val="236192"/>
      </a:accent1>
      <a:accent2>
        <a:srgbClr val="00ACC8"/>
      </a:accent2>
      <a:accent3>
        <a:srgbClr val="F38B00"/>
      </a:accent3>
      <a:accent4>
        <a:srgbClr val="007A3E"/>
      </a:accent4>
      <a:accent5>
        <a:srgbClr val="F1B434"/>
      </a:accent5>
      <a:accent6>
        <a:srgbClr val="912F46"/>
      </a:accent6>
      <a:hlink>
        <a:srgbClr val="F1B434"/>
      </a:hlink>
      <a:folHlink>
        <a:srgbClr val="F1B434"/>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lnSpc>
            <a:spcPct val="90000"/>
          </a:lnSpc>
          <a:spcBef>
            <a:spcPts val="800"/>
          </a:spcBef>
          <a:defRPr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oAutofit/>
      </a:bodyPr>
      <a:lstStyle>
        <a:defPPr algn="l">
          <a:lnSpc>
            <a:spcPct val="90000"/>
          </a:lnSpc>
          <a:spcBef>
            <a:spcPts val="800"/>
          </a:spcBef>
          <a:defRPr smtClean="0"/>
        </a:defPPr>
      </a:lstStyle>
    </a:txDef>
  </a:objectDefaults>
  <a:extraClrSchemeLst/>
  <a:extLst>
    <a:ext uri="{05A4C25C-085E-4340-85A3-A5531E510DB2}">
      <thm15:themeFamily xmlns:thm15="http://schemas.microsoft.com/office/thememl/2012/main" name="Default Theme" id="{42F38A97-2FA8-42BB-92DE-E3D173FB20C4}" vid="{FB5F436E-3939-41F8-B1B6-D75DA452DDDE}"/>
    </a:ext>
  </a:extLst>
</a:theme>
</file>

<file path=ppt/theme/theme8.xml><?xml version="1.0" encoding="utf-8"?>
<a:theme xmlns:a="http://schemas.openxmlformats.org/drawingml/2006/main" name="6_PTC Template">
  <a:themeElements>
    <a:clrScheme name="PTC 2016">
      <a:dk1>
        <a:srgbClr val="3D4647"/>
      </a:dk1>
      <a:lt1>
        <a:srgbClr val="FFFFFF"/>
      </a:lt1>
      <a:dk2>
        <a:srgbClr val="C8C9C7"/>
      </a:dk2>
      <a:lt2>
        <a:srgbClr val="6CC04A"/>
      </a:lt2>
      <a:accent1>
        <a:srgbClr val="236192"/>
      </a:accent1>
      <a:accent2>
        <a:srgbClr val="00ACC8"/>
      </a:accent2>
      <a:accent3>
        <a:srgbClr val="F38B00"/>
      </a:accent3>
      <a:accent4>
        <a:srgbClr val="007A3E"/>
      </a:accent4>
      <a:accent5>
        <a:srgbClr val="F1B434"/>
      </a:accent5>
      <a:accent6>
        <a:srgbClr val="912F46"/>
      </a:accent6>
      <a:hlink>
        <a:srgbClr val="8A204B"/>
      </a:hlink>
      <a:folHlink>
        <a:srgbClr val="833177"/>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extLst>
    <a:ext uri="{05A4C25C-085E-4340-85A3-A5531E510DB2}">
      <thm15:themeFamily xmlns:thm15="http://schemas.microsoft.com/office/thememl/2012/main" name="PTC Template" id="{C7E9D898-7BD4-4049-BC28-E051ED544E48}" vid="{34A20156-F36B-4198-8A7F-37800D687D84}"/>
    </a:ext>
  </a:extLst>
</a:theme>
</file>

<file path=ppt/theme/theme9.xml><?xml version="1.0" encoding="utf-8"?>
<a:theme xmlns:a="http://schemas.openxmlformats.org/drawingml/2006/main" name="5_PTC Template">
  <a:themeElements>
    <a:clrScheme name="PTC 2018">
      <a:dk1>
        <a:srgbClr val="3D4647"/>
      </a:dk1>
      <a:lt1>
        <a:srgbClr val="FFFFFF"/>
      </a:lt1>
      <a:dk2>
        <a:srgbClr val="C8C9C7"/>
      </a:dk2>
      <a:lt2>
        <a:srgbClr val="6CC04A"/>
      </a:lt2>
      <a:accent1>
        <a:srgbClr val="236192"/>
      </a:accent1>
      <a:accent2>
        <a:srgbClr val="00ACC8"/>
      </a:accent2>
      <a:accent3>
        <a:srgbClr val="F38B00"/>
      </a:accent3>
      <a:accent4>
        <a:srgbClr val="007A3E"/>
      </a:accent4>
      <a:accent5>
        <a:srgbClr val="F1B434"/>
      </a:accent5>
      <a:accent6>
        <a:srgbClr val="912F46"/>
      </a:accent6>
      <a:hlink>
        <a:srgbClr val="F1B434"/>
      </a:hlink>
      <a:folHlink>
        <a:srgbClr val="F1B434"/>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lnSpc>
            <a:spcPct val="90000"/>
          </a:lnSpc>
          <a:spcBef>
            <a:spcPts val="800"/>
          </a:spcBef>
          <a:defRPr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oAutofit/>
      </a:bodyPr>
      <a:lstStyle>
        <a:defPPr algn="l">
          <a:lnSpc>
            <a:spcPct val="90000"/>
          </a:lnSpc>
          <a:spcBef>
            <a:spcPts val="800"/>
          </a:spcBef>
          <a:defRPr smtClean="0"/>
        </a:defPPr>
      </a:lstStyle>
    </a:txDef>
  </a:objectDefaults>
  <a:extraClrSchemeLst/>
  <a:extLst>
    <a:ext uri="{05A4C25C-085E-4340-85A3-A5531E510DB2}">
      <thm15:themeFamily xmlns:thm15="http://schemas.microsoft.com/office/thememl/2012/main" name="PTC PPT Template_MM.pptx" id="{04EF5F89-F697-46AC-A4A1-6A9B2E66A9B9}" vid="{C5CE8B8C-194C-441F-AE57-B6260DDA28AE}"/>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7700</Words>
  <Application>Microsoft Office PowerPoint</Application>
  <PresentationFormat>Widescreen</PresentationFormat>
  <Paragraphs>1024</Paragraphs>
  <Slides>61</Slides>
  <Notes>42</Notes>
  <HiddenSlides>5</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61</vt:i4>
      </vt:variant>
    </vt:vector>
  </HeadingPairs>
  <TitlesOfParts>
    <vt:vector size="81" baseType="lpstr">
      <vt:lpstr>Arial</vt:lpstr>
      <vt:lpstr>Arial Narrow</vt:lpstr>
      <vt:lpstr>Calibri</vt:lpstr>
      <vt:lpstr>Century Gothic</vt:lpstr>
      <vt:lpstr>Franklin Gothic Book</vt:lpstr>
      <vt:lpstr>Futura Std Medium</vt:lpstr>
      <vt:lpstr>Myriad Pro</vt:lpstr>
      <vt:lpstr>Segoe UI Light</vt:lpstr>
      <vt:lpstr>TeX Gyre Adventor Regular</vt:lpstr>
      <vt:lpstr>Times New Roman</vt:lpstr>
      <vt:lpstr>PTC Template</vt:lpstr>
      <vt:lpstr>2_PTC Template</vt:lpstr>
      <vt:lpstr>9_PTC Template</vt:lpstr>
      <vt:lpstr>8_PTC Template</vt:lpstr>
      <vt:lpstr>7_PTC Template</vt:lpstr>
      <vt:lpstr>1_PTC PPT Template</vt:lpstr>
      <vt:lpstr>Default Theme</vt:lpstr>
      <vt:lpstr>6_PTC Template</vt:lpstr>
      <vt:lpstr>5_PTC Template</vt:lpstr>
      <vt:lpstr>think-cell Slide</vt:lpstr>
      <vt:lpstr>ThingWorx Industrial Innovation Platform </vt:lpstr>
      <vt:lpstr>AGENDA</vt:lpstr>
      <vt:lpstr>Ptc is uniquely positioned to help you succeed</vt:lpstr>
      <vt:lpstr>Who we are</vt:lpstr>
      <vt:lpstr>We are a Global technology company</vt:lpstr>
      <vt:lpstr>Things are changing</vt:lpstr>
      <vt:lpstr>unique portfolio to enable Industrial Innovation</vt:lpstr>
      <vt:lpstr>NEW REALITY: integrating digital and physical worlds</vt:lpstr>
      <vt:lpstr>PowerPoint Presentation</vt:lpstr>
      <vt:lpstr>Industry Awards &amp; recognition</vt:lpstr>
      <vt:lpstr>Industry Analysts Endorse PTC’s IOT Leadership</vt:lpstr>
      <vt:lpstr>PowerPoint Presentation</vt:lpstr>
      <vt:lpstr>PowerPoint Presentation</vt:lpstr>
      <vt:lpstr>Breadth of Platform Customers</vt:lpstr>
      <vt:lpstr>Breadth of our partner ecosystem</vt:lpstr>
      <vt:lpstr>Value proposition in iot with thingworx</vt:lpstr>
      <vt:lpstr>PowerPoint Presentation</vt:lpstr>
      <vt:lpstr>PTC thingworx INDUSTRIAL IOT PLATFORM</vt:lpstr>
      <vt:lpstr>PTC thingworx INDUSTRIAL IOT PLATFORM</vt:lpstr>
      <vt:lpstr>Thingworx Mashup builder</vt:lpstr>
      <vt:lpstr>PTC thingworx for Intelligent Monitoring</vt:lpstr>
      <vt:lpstr>Mashup 2.0 and ptc design system</vt:lpstr>
      <vt:lpstr>widgets</vt:lpstr>
      <vt:lpstr>Responsive layout advanced</vt:lpstr>
      <vt:lpstr>ThingWorx Analytics for Predictive Maintenance</vt:lpstr>
      <vt:lpstr>ThingWorx applications</vt:lpstr>
      <vt:lpstr>Complete iot platform capabilities</vt:lpstr>
      <vt:lpstr>Example Plant Performance Metrics</vt:lpstr>
      <vt:lpstr>ThingWorx Platform</vt:lpstr>
      <vt:lpstr>PTC Service Parts Management</vt:lpstr>
      <vt:lpstr>PowerPoint Presentation</vt:lpstr>
      <vt:lpstr>Connect anything</vt:lpstr>
      <vt:lpstr>ThingWorx architecture</vt:lpstr>
      <vt:lpstr>ThingWorx flow – Deployment configurations</vt:lpstr>
      <vt:lpstr>Reference architecture – high Availability (HA)</vt:lpstr>
      <vt:lpstr>PowerPoint Presentation</vt:lpstr>
      <vt:lpstr>PowerPoint Presentation</vt:lpstr>
      <vt:lpstr>ThingWorx Solutions Span Technology layers</vt:lpstr>
      <vt:lpstr>PowerPoint Presentation</vt:lpstr>
      <vt:lpstr>ThingWorx extending existing investments </vt:lpstr>
      <vt:lpstr>PowerPoint Presentation</vt:lpstr>
      <vt:lpstr>Thingworx Connectivity to data sources</vt:lpstr>
      <vt:lpstr>ThingWorx Manufacturing Apps</vt:lpstr>
      <vt:lpstr>PowerPoint Presentation</vt:lpstr>
      <vt:lpstr>A few business cases</vt:lpstr>
      <vt:lpstr>Complete iot platform capabilities</vt:lpstr>
      <vt:lpstr>Demo thingworx platform</vt:lpstr>
      <vt:lpstr>Understanding Industrial digital innovation</vt:lpstr>
      <vt:lpstr>PowerPoint Presentation</vt:lpstr>
      <vt:lpstr>PowerPoint Presentation</vt:lpstr>
      <vt:lpstr>A global FOOD leader increases productivity</vt:lpstr>
      <vt:lpstr>A CPG leader improves operational performance </vt:lpstr>
      <vt:lpstr>PowerPoint Presentation</vt:lpstr>
      <vt:lpstr>Smart, connected assembly line for improved quality</vt:lpstr>
      <vt:lpstr>Leading Oil-Rigs Builder</vt:lpstr>
      <vt:lpstr>Leading Semiconductor</vt:lpstr>
      <vt:lpstr>Leading Cement company</vt:lpstr>
      <vt:lpstr>Leading Rubber Glove Manufacturer</vt:lpstr>
      <vt:lpstr>Leading marker of aircraft engines</vt:lpstr>
      <vt:lpstr>CNC grinding machines manufactur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5-05T17:34:22Z</dcterms:created>
  <dcterms:modified xsi:type="dcterms:W3CDTF">2020-06-26T09:33:15Z</dcterms:modified>
</cp:coreProperties>
</file>